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vtt" ContentType="text/vtt"/>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tags/tag1.xml" ContentType="application/vnd.openxmlformats-officedocument.presentationml.tags+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4068" r:id="rId5"/>
    <p:sldMasterId id="2147484086" r:id="rId6"/>
  </p:sldMasterIdLst>
  <p:notesMasterIdLst>
    <p:notesMasterId r:id="rId78"/>
  </p:notesMasterIdLst>
  <p:sldIdLst>
    <p:sldId id="2147483647" r:id="rId7"/>
    <p:sldId id="256" r:id="rId8"/>
    <p:sldId id="291" r:id="rId9"/>
    <p:sldId id="567" r:id="rId10"/>
    <p:sldId id="300" r:id="rId11"/>
    <p:sldId id="275" r:id="rId12"/>
    <p:sldId id="296" r:id="rId13"/>
    <p:sldId id="281" r:id="rId14"/>
    <p:sldId id="283" r:id="rId15"/>
    <p:sldId id="2147483504" r:id="rId16"/>
    <p:sldId id="297" r:id="rId17"/>
    <p:sldId id="380" r:id="rId18"/>
    <p:sldId id="2147482555" r:id="rId19"/>
    <p:sldId id="2147483462" r:id="rId20"/>
    <p:sldId id="287" r:id="rId21"/>
    <p:sldId id="2147483512" r:id="rId22"/>
    <p:sldId id="353" r:id="rId23"/>
    <p:sldId id="362" r:id="rId24"/>
    <p:sldId id="365" r:id="rId25"/>
    <p:sldId id="368" r:id="rId26"/>
    <p:sldId id="367" r:id="rId27"/>
    <p:sldId id="270" r:id="rId28"/>
    <p:sldId id="354" r:id="rId29"/>
    <p:sldId id="305" r:id="rId30"/>
    <p:sldId id="384" r:id="rId31"/>
    <p:sldId id="306" r:id="rId32"/>
    <p:sldId id="307" r:id="rId33"/>
    <p:sldId id="311" r:id="rId34"/>
    <p:sldId id="375" r:id="rId35"/>
    <p:sldId id="388" r:id="rId36"/>
    <p:sldId id="389" r:id="rId37"/>
    <p:sldId id="391" r:id="rId38"/>
    <p:sldId id="374" r:id="rId39"/>
    <p:sldId id="301" r:id="rId40"/>
    <p:sldId id="2147482615" r:id="rId41"/>
    <p:sldId id="292" r:id="rId42"/>
    <p:sldId id="288" r:id="rId43"/>
    <p:sldId id="2147483492" r:id="rId44"/>
    <p:sldId id="2147483478" r:id="rId45"/>
    <p:sldId id="2147483493" r:id="rId46"/>
    <p:sldId id="259" r:id="rId47"/>
    <p:sldId id="290" r:id="rId48"/>
    <p:sldId id="2147483435" r:id="rId49"/>
    <p:sldId id="2147483488" r:id="rId50"/>
    <p:sldId id="2147483489" r:id="rId51"/>
    <p:sldId id="2147483490" r:id="rId52"/>
    <p:sldId id="2147483491" r:id="rId53"/>
    <p:sldId id="267" r:id="rId54"/>
    <p:sldId id="2147483443" r:id="rId55"/>
    <p:sldId id="2147483458" r:id="rId56"/>
    <p:sldId id="2147483498" r:id="rId57"/>
    <p:sldId id="2147483463" r:id="rId58"/>
    <p:sldId id="2147483494" r:id="rId59"/>
    <p:sldId id="284" r:id="rId60"/>
    <p:sldId id="2147483453" r:id="rId61"/>
    <p:sldId id="2147483454" r:id="rId62"/>
    <p:sldId id="315" r:id="rId63"/>
    <p:sldId id="302" r:id="rId64"/>
    <p:sldId id="261" r:id="rId65"/>
    <p:sldId id="303" r:id="rId66"/>
    <p:sldId id="2147483646" r:id="rId67"/>
    <p:sldId id="2147483503" r:id="rId68"/>
    <p:sldId id="304" r:id="rId69"/>
    <p:sldId id="257" r:id="rId70"/>
    <p:sldId id="258" r:id="rId71"/>
    <p:sldId id="2147481947" r:id="rId72"/>
    <p:sldId id="2147483590" r:id="rId73"/>
    <p:sldId id="278" r:id="rId74"/>
    <p:sldId id="2147480288" r:id="rId75"/>
    <p:sldId id="566" r:id="rId76"/>
    <p:sldId id="269" r:id="rId7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3C4D597-F7A6-4303-BE6D-6F333180800A}">
          <p14:sldIdLst>
            <p14:sldId id="2147483647"/>
          </p14:sldIdLst>
        </p14:section>
        <p14:section name="Intro and mandatory" id="{10BB4437-7F59-48C2-9E72-EDAA9DA2C28C}">
          <p14:sldIdLst>
            <p14:sldId id="256"/>
            <p14:sldId id="291"/>
            <p14:sldId id="567"/>
            <p14:sldId id="300"/>
            <p14:sldId id="275"/>
          </p14:sldIdLst>
        </p14:section>
        <p14:section name="Section 1:  What is Purview" id="{04B2CA2D-66B0-46D9-BF46-75831EE90E1E}">
          <p14:sldIdLst>
            <p14:sldId id="296"/>
            <p14:sldId id="281"/>
            <p14:sldId id="283"/>
            <p14:sldId id="2147483504"/>
          </p14:sldIdLst>
        </p14:section>
        <p14:section name="Section 2:  M365 Copilot + Purview" id="{0728D496-7C07-4AE1-8D69-806C5C9D5A6F}">
          <p14:sldIdLst>
            <p14:sldId id="297"/>
            <p14:sldId id="380"/>
            <p14:sldId id="2147482555"/>
            <p14:sldId id="2147483462"/>
            <p14:sldId id="287"/>
            <p14:sldId id="2147483512"/>
            <p14:sldId id="353"/>
            <p14:sldId id="362"/>
            <p14:sldId id="365"/>
            <p14:sldId id="368"/>
            <p14:sldId id="367"/>
            <p14:sldId id="270"/>
            <p14:sldId id="354"/>
            <p14:sldId id="305"/>
            <p14:sldId id="384"/>
            <p14:sldId id="306"/>
            <p14:sldId id="307"/>
            <p14:sldId id="311"/>
            <p14:sldId id="375"/>
            <p14:sldId id="388"/>
            <p14:sldId id="389"/>
            <p14:sldId id="391"/>
            <p14:sldId id="374"/>
          </p14:sldIdLst>
        </p14:section>
        <p14:section name="Section 3: Agents + Purview" id="{CBB4CFB6-7255-4A58-92DF-06177AC4DD87}">
          <p14:sldIdLst>
            <p14:sldId id="301"/>
            <p14:sldId id="2147482615"/>
            <p14:sldId id="292"/>
            <p14:sldId id="288"/>
          </p14:sldIdLst>
        </p14:section>
        <p14:section name="3.1 Maker demo" id="{ED7FAC09-E054-461E-85A5-FB9A4292B8D3}">
          <p14:sldIdLst>
            <p14:sldId id="2147483492"/>
            <p14:sldId id="2147483478"/>
            <p14:sldId id="2147483493"/>
            <p14:sldId id="259"/>
          </p14:sldIdLst>
        </p14:section>
        <p14:section name="3.2 apps and agents" id="{DBDF2655-97A6-4EA0-A045-2A1ABB14D06B}">
          <p14:sldIdLst>
            <p14:sldId id="290"/>
            <p14:sldId id="2147483435"/>
            <p14:sldId id="2147483488"/>
            <p14:sldId id="2147483489"/>
            <p14:sldId id="2147483490"/>
            <p14:sldId id="2147483491"/>
          </p14:sldIdLst>
        </p14:section>
        <p14:section name="3.3 dlp + agent" id="{C343E9D7-D45D-465A-95A5-FCD1C571341A}">
          <p14:sldIdLst>
            <p14:sldId id="267"/>
            <p14:sldId id="2147483443"/>
            <p14:sldId id="2147483458"/>
            <p14:sldId id="2147483498"/>
            <p14:sldId id="2147483463"/>
            <p14:sldId id="2147483494"/>
          </p14:sldIdLst>
        </p14:section>
        <p14:section name="3.4 compliance + agents" id="{B7725E6D-28F0-47AE-9828-7CBDF4515C38}">
          <p14:sldIdLst>
            <p14:sldId id="284"/>
            <p14:sldId id="2147483453"/>
            <p14:sldId id="2147483454"/>
            <p14:sldId id="315"/>
          </p14:sldIdLst>
        </p14:section>
        <p14:section name="Section 4: Purview for all AI" id="{36D7173A-39A3-45D5-90BC-AC2F22E3A8D2}">
          <p14:sldIdLst>
            <p14:sldId id="302"/>
            <p14:sldId id="261"/>
          </p14:sldIdLst>
        </p14:section>
        <p14:section name="Section 4: Microsoft tenant approach" id="{B21E105F-95ED-4DA6-9912-032486D5B452}">
          <p14:sldIdLst>
            <p14:sldId id="303"/>
            <p14:sldId id="2147483646"/>
            <p14:sldId id="2147483503"/>
          </p14:sldIdLst>
        </p14:section>
        <p14:section name="Section 5: resources, customer stories and closing" id="{51FB0D73-E022-44E4-AC06-51CDDEABB72C}">
          <p14:sldIdLst>
            <p14:sldId id="304"/>
          </p14:sldIdLst>
        </p14:section>
        <p14:section name="Partner Showcase" id="{2E3CE0B6-0B50-4321-B0B0-AA75739C1DB1}">
          <p14:sldIdLst>
            <p14:sldId id="257"/>
            <p14:sldId id="258"/>
            <p14:sldId id="2147481947"/>
          </p14:sldIdLst>
        </p14:section>
        <p14:section name="5.2 Call to Action" id="{29E1507E-09CD-4DBB-924B-5E691953CA80}">
          <p14:sldIdLst>
            <p14:sldId id="2147483590"/>
          </p14:sldIdLst>
        </p14:section>
        <p14:section name="5.3 Additional Resources" id="{35D200EC-0F98-47EF-A538-725374A5F882}">
          <p14:sldIdLst>
            <p14:sldId id="278"/>
          </p14:sldIdLst>
        </p14:section>
        <p14:section name="Closing and mandatory" id="{52E2780B-84A4-495C-B68E-FBB147BFE3AF}">
          <p14:sldIdLst>
            <p14:sldId id="2147480288"/>
            <p14:sldId id="566"/>
            <p14:sldId id="26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377533-BF1A-B526-F515-3A52C2C42899}" name="Ben Truelove" initials="BT" userId="S::betrue@microsoft.com::bef7a77c-4986-4f9a-b8de-7533b20cbe09" providerId="AD"/>
  <p188:author id="{52D33846-4AEE-714B-102F-FCB7AE2A5E60}" name="Wende Copfer" initials="WC" userId="S::wendecopfer@microsoft.com::a22bd392-d879-4e22-8ce0-82a2bf26aa00" providerId="AD"/>
  <p188:author id="{7DC1B14C-FD7B-BDE5-31CA-42B08BC45C82}" name="Heather Cook" initials="HC" userId="S::henewman@microsoft.com::d1eb30f2-355b-4c6f-9309-2798410e6011" providerId="AD"/>
  <p188:author id="{C595B65F-F337-93A8-131F-7849F43004DA}" name="Aubrey Dwyer (OPUS Solutions LLC)" initials="AL" userId="S::v-ajimerson@microsoft.com::39d87f80-7e76-45d7-b7c4-bfbad3eefc91" providerId="AD"/>
  <p188:author id="{8A09AA77-009E-BF0B-3FA3-BDD34C938C54}" name="Aashish Ramdas" initials="AR" userId="S::aashishr@microsoft.com::58210aff-8d50-4a30-b819-63f7dcb02310" providerId="AD"/>
  <p188:author id="{E744AB91-67A8-5BDE-510F-94DD2F91F23E}" name="Maxime Bombardier" initials="MB" userId="S::maximeb@microsoft.com::aab7abe9-f933-4c4d-96cd-30328a3f7c19" providerId="AD"/>
  <p188:author id="{03067BE9-E0BC-4E95-1734-68DB85D76808}" name="Sophie Ke" initials="SKe" userId="Sophie Ke" providerId="None"/>
  <p188:author id="{60DD76EE-6F68-EA0F-BF3C-603D9275EB96}" name="Bryan Wofford" initials="BW" userId="S::brwoff@microsoft.com::af037bd5-f592-429c-a009-a6626d67a49c" providerId="AD"/>
  <p188:author id="{0E96D3F8-999A-36F9-9616-6E51908CC356}" name="Lou Adesida" initials="LA" userId="S::louadesida@microsoft.com::8587a8d6-e353-4c48-833f-5cf2cf5cc938"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B87DE"/>
    <a:srgbClr val="DCEEFB"/>
    <a:srgbClr val="091F2C"/>
    <a:srgbClr val="D962FA"/>
    <a:srgbClr val="F69991"/>
    <a:srgbClr val="E77DC6"/>
    <a:srgbClr val="08609C"/>
    <a:srgbClr val="2DB6FF"/>
    <a:srgbClr val="2CB6FF"/>
    <a:srgbClr val="23AA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23B349-49CB-0AB8-40BC-C7271900678D}" v="3" dt="2025-05-13T15:36:45.89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varScale="1">
        <p:scale>
          <a:sx n="66" d="100"/>
          <a:sy n="66" d="100"/>
        </p:scale>
        <p:origin x="0" y="0"/>
      </p:cViewPr>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microsoft.com/office/2015/10/relationships/revisionInfo" Target="revisionInfo.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presProps" Target="presProps.xml"/><Relationship Id="rId5" Type="http://schemas.openxmlformats.org/officeDocument/2006/relationships/slideMaster" Target="slideMasters/slideMaster2.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viewProps" Target="viewProps.xml"/><Relationship Id="rId85"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notesMaster" Target="notesMasters/notesMaster1.xml"/><Relationship Id="rId8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61" Type="http://schemas.openxmlformats.org/officeDocument/2006/relationships/slide" Target="slides/slide55.xml"/><Relationship Id="rId8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shan DeSilva" userId="0cb92d5b-95e7-4fdb-8368-d8b705e6de06" providerId="ADAL" clId="{5469A312-3150-4A49-BE18-1588663B9031}"/>
    <pc:docChg chg="undo custSel addSld delSld modSld sldOrd modSection">
      <pc:chgData name="Nishan DeSilva" userId="0cb92d5b-95e7-4fdb-8368-d8b705e6de06" providerId="ADAL" clId="{5469A312-3150-4A49-BE18-1588663B9031}" dt="2025-05-08T16:16:51.254" v="125" actId="47"/>
      <pc:docMkLst>
        <pc:docMk/>
      </pc:docMkLst>
      <pc:sldChg chg="addSp modSp mod">
        <pc:chgData name="Nishan DeSilva" userId="0cb92d5b-95e7-4fdb-8368-d8b705e6de06" providerId="ADAL" clId="{5469A312-3150-4A49-BE18-1588663B9031}" dt="2025-05-07T16:20:28.104" v="102" actId="14100"/>
        <pc:sldMkLst>
          <pc:docMk/>
          <pc:sldMk cId="3661599669" sldId="257"/>
        </pc:sldMkLst>
        <pc:spChg chg="mod">
          <ac:chgData name="Nishan DeSilva" userId="0cb92d5b-95e7-4fdb-8368-d8b705e6de06" providerId="ADAL" clId="{5469A312-3150-4A49-BE18-1588663B9031}" dt="2025-05-07T16:20:17.424" v="101" actId="1076"/>
          <ac:spMkLst>
            <pc:docMk/>
            <pc:sldMk cId="3661599669" sldId="257"/>
            <ac:spMk id="2" creationId="{3E6CF670-CCE2-5919-7732-B397C1E255EA}"/>
          </ac:spMkLst>
        </pc:spChg>
        <pc:picChg chg="add mod">
          <ac:chgData name="Nishan DeSilva" userId="0cb92d5b-95e7-4fdb-8368-d8b705e6de06" providerId="ADAL" clId="{5469A312-3150-4A49-BE18-1588663B9031}" dt="2025-05-07T16:20:28.104" v="102" actId="14100"/>
          <ac:picMkLst>
            <pc:docMk/>
            <pc:sldMk cId="3661599669" sldId="257"/>
            <ac:picMk id="4" creationId="{66C544C2-CA27-4724-F88E-666BB523C2DD}"/>
          </ac:picMkLst>
        </pc:picChg>
      </pc:sldChg>
      <pc:sldChg chg="modSp mod">
        <pc:chgData name="Nishan DeSilva" userId="0cb92d5b-95e7-4fdb-8368-d8b705e6de06" providerId="ADAL" clId="{5469A312-3150-4A49-BE18-1588663B9031}" dt="2025-05-07T16:20:42.053" v="104" actId="1076"/>
        <pc:sldMkLst>
          <pc:docMk/>
          <pc:sldMk cId="2181194867" sldId="258"/>
        </pc:sldMkLst>
        <pc:picChg chg="mod">
          <ac:chgData name="Nishan DeSilva" userId="0cb92d5b-95e7-4fdb-8368-d8b705e6de06" providerId="ADAL" clId="{5469A312-3150-4A49-BE18-1588663B9031}" dt="2025-05-07T16:20:42.053" v="104" actId="1076"/>
          <ac:picMkLst>
            <pc:docMk/>
            <pc:sldMk cId="2181194867" sldId="258"/>
            <ac:picMk id="124" creationId="{44757E4F-79A4-E09C-DFBF-D33C16A8B580}"/>
          </ac:picMkLst>
        </pc:picChg>
      </pc:sldChg>
      <pc:sldChg chg="add del">
        <pc:chgData name="Nishan DeSilva" userId="0cb92d5b-95e7-4fdb-8368-d8b705e6de06" providerId="ADAL" clId="{5469A312-3150-4A49-BE18-1588663B9031}" dt="2025-05-08T16:16:51.254" v="125" actId="47"/>
        <pc:sldMkLst>
          <pc:docMk/>
          <pc:sldMk cId="2883227314" sldId="260"/>
        </pc:sldMkLst>
      </pc:sldChg>
      <pc:sldChg chg="del">
        <pc:chgData name="Nishan DeSilva" userId="0cb92d5b-95e7-4fdb-8368-d8b705e6de06" providerId="ADAL" clId="{5469A312-3150-4A49-BE18-1588663B9031}" dt="2025-05-07T21:05:32.263" v="115" actId="2696"/>
        <pc:sldMkLst>
          <pc:docMk/>
          <pc:sldMk cId="3526042489" sldId="260"/>
        </pc:sldMkLst>
      </pc:sldChg>
      <pc:sldChg chg="modSp new del mod">
        <pc:chgData name="Nishan DeSilva" userId="0cb92d5b-95e7-4fdb-8368-d8b705e6de06" providerId="ADAL" clId="{5469A312-3150-4A49-BE18-1588663B9031}" dt="2025-05-07T16:29:59.188" v="105" actId="47"/>
        <pc:sldMkLst>
          <pc:docMk/>
          <pc:sldMk cId="4132820524" sldId="260"/>
        </pc:sldMkLst>
        <pc:spChg chg="mod">
          <ac:chgData name="Nishan DeSilva" userId="0cb92d5b-95e7-4fdb-8368-d8b705e6de06" providerId="ADAL" clId="{5469A312-3150-4A49-BE18-1588663B9031}" dt="2025-05-07T15:06:02.046" v="21" actId="5793"/>
          <ac:spMkLst>
            <pc:docMk/>
            <pc:sldMk cId="4132820524" sldId="260"/>
            <ac:spMk id="2" creationId="{5B1D76B0-0C8E-FF72-1F72-C47834509276}"/>
          </ac:spMkLst>
        </pc:spChg>
      </pc:sldChg>
      <pc:sldChg chg="add ord modNotes">
        <pc:chgData name="Nishan DeSilva" userId="0cb92d5b-95e7-4fdb-8368-d8b705e6de06" providerId="ADAL" clId="{5469A312-3150-4A49-BE18-1588663B9031}" dt="2025-05-07T21:54:58.211" v="123"/>
        <pc:sldMkLst>
          <pc:docMk/>
          <pc:sldMk cId="541528786" sldId="281"/>
        </pc:sldMkLst>
      </pc:sldChg>
      <pc:sldChg chg="add ord modNotes">
        <pc:chgData name="Nishan DeSilva" userId="0cb92d5b-95e7-4fdb-8368-d8b705e6de06" providerId="ADAL" clId="{5469A312-3150-4A49-BE18-1588663B9031}" dt="2025-05-07T21:54:54.864" v="119"/>
        <pc:sldMkLst>
          <pc:docMk/>
          <pc:sldMk cId="2171775338" sldId="283"/>
        </pc:sldMkLst>
      </pc:sldChg>
      <pc:sldChg chg="modSp mod">
        <pc:chgData name="Nishan DeSilva" userId="0cb92d5b-95e7-4fdb-8368-d8b705e6de06" providerId="ADAL" clId="{5469A312-3150-4A49-BE18-1588663B9031}" dt="2025-05-07T16:41:03.295" v="112" actId="20577"/>
        <pc:sldMkLst>
          <pc:docMk/>
          <pc:sldMk cId="3313817200" sldId="300"/>
        </pc:sldMkLst>
        <pc:spChg chg="mod">
          <ac:chgData name="Nishan DeSilva" userId="0cb92d5b-95e7-4fdb-8368-d8b705e6de06" providerId="ADAL" clId="{5469A312-3150-4A49-BE18-1588663B9031}" dt="2025-05-07T16:41:03.295" v="112" actId="20577"/>
          <ac:spMkLst>
            <pc:docMk/>
            <pc:sldMk cId="3313817200" sldId="300"/>
            <ac:spMk id="11" creationId="{FC2994F1-8D9D-C82A-300E-20CF5D55C568}"/>
          </ac:spMkLst>
        </pc:spChg>
        <pc:spChg chg="mod">
          <ac:chgData name="Nishan DeSilva" userId="0cb92d5b-95e7-4fdb-8368-d8b705e6de06" providerId="ADAL" clId="{5469A312-3150-4A49-BE18-1588663B9031}" dt="2025-05-07T16:10:54.435" v="46" actId="20577"/>
          <ac:spMkLst>
            <pc:docMk/>
            <pc:sldMk cId="3313817200" sldId="300"/>
            <ac:spMk id="23" creationId="{614CBEDC-A67B-F43B-E12E-1858F90EF0EA}"/>
          </ac:spMkLst>
        </pc:spChg>
      </pc:sldChg>
      <pc:sldChg chg="addSp modSp mod">
        <pc:chgData name="Nishan DeSilva" userId="0cb92d5b-95e7-4fdb-8368-d8b705e6de06" providerId="ADAL" clId="{5469A312-3150-4A49-BE18-1588663B9031}" dt="2025-05-07T16:17:22.799" v="95" actId="1076"/>
        <pc:sldMkLst>
          <pc:docMk/>
          <pc:sldMk cId="3179468848" sldId="303"/>
        </pc:sldMkLst>
        <pc:spChg chg="mod">
          <ac:chgData name="Nishan DeSilva" userId="0cb92d5b-95e7-4fdb-8368-d8b705e6de06" providerId="ADAL" clId="{5469A312-3150-4A49-BE18-1588663B9031}" dt="2025-05-07T16:14:45.542" v="63" actId="1076"/>
          <ac:spMkLst>
            <pc:docMk/>
            <pc:sldMk cId="3179468848" sldId="303"/>
            <ac:spMk id="2" creationId="{16F0952A-3EFB-79CC-7D2F-3224682D6878}"/>
          </ac:spMkLst>
        </pc:spChg>
        <pc:spChg chg="add mod">
          <ac:chgData name="Nishan DeSilva" userId="0cb92d5b-95e7-4fdb-8368-d8b705e6de06" providerId="ADAL" clId="{5469A312-3150-4A49-BE18-1588663B9031}" dt="2025-05-07T16:17:22.799" v="95" actId="1076"/>
          <ac:spMkLst>
            <pc:docMk/>
            <pc:sldMk cId="3179468848" sldId="303"/>
            <ac:spMk id="3" creationId="{830313D5-01A3-99CC-191B-587FBA8E590A}"/>
          </ac:spMkLst>
        </pc:spChg>
        <pc:spChg chg="mod">
          <ac:chgData name="Nishan DeSilva" userId="0cb92d5b-95e7-4fdb-8368-d8b705e6de06" providerId="ADAL" clId="{5469A312-3150-4A49-BE18-1588663B9031}" dt="2025-05-07T16:14:37.833" v="61" actId="1076"/>
          <ac:spMkLst>
            <pc:docMk/>
            <pc:sldMk cId="3179468848" sldId="303"/>
            <ac:spMk id="4" creationId="{CBAC4EB1-502D-11E1-F24C-10199F7196DB}"/>
          </ac:spMkLst>
        </pc:spChg>
        <pc:spChg chg="mod">
          <ac:chgData name="Nishan DeSilva" userId="0cb92d5b-95e7-4fdb-8368-d8b705e6de06" providerId="ADAL" clId="{5469A312-3150-4A49-BE18-1588663B9031}" dt="2025-05-07T16:14:51.689" v="65" actId="1076"/>
          <ac:spMkLst>
            <pc:docMk/>
            <pc:sldMk cId="3179468848" sldId="303"/>
            <ac:spMk id="8" creationId="{DF9F85C1-7CF0-2E61-F774-0DD9D2EF61C3}"/>
          </ac:spMkLst>
        </pc:spChg>
        <pc:spChg chg="mod">
          <ac:chgData name="Nishan DeSilva" userId="0cb92d5b-95e7-4fdb-8368-d8b705e6de06" providerId="ADAL" clId="{5469A312-3150-4A49-BE18-1588663B9031}" dt="2025-05-07T16:14:48.761" v="64" actId="1076"/>
          <ac:spMkLst>
            <pc:docMk/>
            <pc:sldMk cId="3179468848" sldId="303"/>
            <ac:spMk id="12" creationId="{2DCA1454-4337-6597-42CC-6CE9141405AA}"/>
          </ac:spMkLst>
        </pc:spChg>
      </pc:sldChg>
      <pc:sldChg chg="ord">
        <pc:chgData name="Nishan DeSilva" userId="0cb92d5b-95e7-4fdb-8368-d8b705e6de06" providerId="ADAL" clId="{5469A312-3150-4A49-BE18-1588663B9031}" dt="2025-05-07T21:54:56.735" v="121"/>
        <pc:sldMkLst>
          <pc:docMk/>
          <pc:sldMk cId="1952471886" sldId="2147483504"/>
        </pc:sldMkLst>
      </pc:sldChg>
      <pc:sldChg chg="modSp del mod">
        <pc:chgData name="Nishan DeSilva" userId="0cb92d5b-95e7-4fdb-8368-d8b705e6de06" providerId="ADAL" clId="{5469A312-3150-4A49-BE18-1588663B9031}" dt="2025-05-08T15:49:02.227" v="124" actId="47"/>
        <pc:sldMkLst>
          <pc:docMk/>
          <pc:sldMk cId="2009490182" sldId="2147483549"/>
        </pc:sldMkLst>
        <pc:spChg chg="mod">
          <ac:chgData name="Nishan DeSilva" userId="0cb92d5b-95e7-4fdb-8368-d8b705e6de06" providerId="ADAL" clId="{5469A312-3150-4A49-BE18-1588663B9031}" dt="2025-05-07T17:39:41.251" v="113" actId="207"/>
          <ac:spMkLst>
            <pc:docMk/>
            <pc:sldMk cId="2009490182" sldId="2147483549"/>
            <ac:spMk id="3" creationId="{5248E204-4BA0-CCA7-5B65-8535C370B18D}"/>
          </ac:spMkLst>
        </pc:spChg>
      </pc:sldChg>
      <pc:sldChg chg="add">
        <pc:chgData name="Nishan DeSilva" userId="0cb92d5b-95e7-4fdb-8368-d8b705e6de06" providerId="ADAL" clId="{5469A312-3150-4A49-BE18-1588663B9031}" dt="2025-05-07T17:40:05.672" v="114"/>
        <pc:sldMkLst>
          <pc:docMk/>
          <pc:sldMk cId="885042278" sldId="2147483647"/>
        </pc:sldMkLst>
      </pc:sldChg>
      <pc:sldChg chg="del">
        <pc:chgData name="Nishan DeSilva" userId="0cb92d5b-95e7-4fdb-8368-d8b705e6de06" providerId="ADAL" clId="{5469A312-3150-4A49-BE18-1588663B9031}" dt="2025-05-07T16:17:48.270" v="96" actId="47"/>
        <pc:sldMkLst>
          <pc:docMk/>
          <pc:sldMk cId="3080866343" sldId="2147483647"/>
        </pc:sldMkLst>
      </pc:sldChg>
      <pc:sldMasterChg chg="delSldLayout">
        <pc:chgData name="Nishan DeSilva" userId="0cb92d5b-95e7-4fdb-8368-d8b705e6de06" providerId="ADAL" clId="{5469A312-3150-4A49-BE18-1588663B9031}" dt="2025-05-08T15:49:02.227" v="124" actId="47"/>
        <pc:sldMasterMkLst>
          <pc:docMk/>
          <pc:sldMasterMk cId="74843748" sldId="2147483648"/>
        </pc:sldMasterMkLst>
        <pc:sldLayoutChg chg="del">
          <pc:chgData name="Nishan DeSilva" userId="0cb92d5b-95e7-4fdb-8368-d8b705e6de06" providerId="ADAL" clId="{5469A312-3150-4A49-BE18-1588663B9031}" dt="2025-05-08T15:49:02.227" v="124" actId="47"/>
          <pc:sldLayoutMkLst>
            <pc:docMk/>
            <pc:sldMasterMk cId="74843748" sldId="2147483648"/>
            <pc:sldLayoutMk cId="3290864036" sldId="2147484067"/>
          </pc:sldLayoutMkLst>
        </pc:sldLayoutChg>
      </pc:sldMasterChg>
    </pc:docChg>
  </pc:docChgLst>
  <pc:docChgLst>
    <pc:chgData name="Sophie Ke" userId="e539e9bb-1b72-4997-9908-c2f63daa4d85" providerId="ADAL" clId="{83038133-D07A-4D18-92B1-9FE9DEDD4F7B}"/>
    <pc:docChg chg="undo custSel addSld delSld modSld sldOrd addSection delSection modSection">
      <pc:chgData name="Sophie Ke" userId="e539e9bb-1b72-4997-9908-c2f63daa4d85" providerId="ADAL" clId="{83038133-D07A-4D18-92B1-9FE9DEDD4F7B}" dt="2025-05-02T05:17:39.910" v="714" actId="20577"/>
      <pc:docMkLst>
        <pc:docMk/>
      </pc:docMkLst>
      <pc:sldChg chg="addSp delSp modSp mod ord modClrScheme chgLayout">
        <pc:chgData name="Sophie Ke" userId="e539e9bb-1b72-4997-9908-c2f63daa4d85" providerId="ADAL" clId="{83038133-D07A-4D18-92B1-9FE9DEDD4F7B}" dt="2025-05-02T05:12:50.751" v="578" actId="179"/>
        <pc:sldMkLst>
          <pc:docMk/>
          <pc:sldMk cId="2058830108" sldId="257"/>
        </pc:sldMkLst>
      </pc:sldChg>
      <pc:sldChg chg="ord">
        <pc:chgData name="Sophie Ke" userId="e539e9bb-1b72-4997-9908-c2f63daa4d85" providerId="ADAL" clId="{83038133-D07A-4D18-92B1-9FE9DEDD4F7B}" dt="2025-04-28T23:40:09.152" v="555"/>
        <pc:sldMkLst>
          <pc:docMk/>
          <pc:sldMk cId="1317005661" sldId="268"/>
        </pc:sldMkLst>
      </pc:sldChg>
      <pc:sldChg chg="addSp modSp mod modClrScheme chgLayout">
        <pc:chgData name="Sophie Ke" userId="e539e9bb-1b72-4997-9908-c2f63daa4d85" providerId="ADAL" clId="{83038133-D07A-4D18-92B1-9FE9DEDD4F7B}" dt="2025-04-28T23:27:30.728" v="536" actId="20577"/>
        <pc:sldMkLst>
          <pc:docMk/>
          <pc:sldMk cId="3115850851" sldId="270"/>
        </pc:sldMkLst>
      </pc:sldChg>
      <pc:sldChg chg="ord">
        <pc:chgData name="Sophie Ke" userId="e539e9bb-1b72-4997-9908-c2f63daa4d85" providerId="ADAL" clId="{83038133-D07A-4D18-92B1-9FE9DEDD4F7B}" dt="2025-04-28T23:40:09.152" v="555"/>
        <pc:sldMkLst>
          <pc:docMk/>
          <pc:sldMk cId="2858225452" sldId="271"/>
        </pc:sldMkLst>
      </pc:sldChg>
      <pc:sldChg chg="ord">
        <pc:chgData name="Sophie Ke" userId="e539e9bb-1b72-4997-9908-c2f63daa4d85" providerId="ADAL" clId="{83038133-D07A-4D18-92B1-9FE9DEDD4F7B}" dt="2025-04-28T23:40:09.152" v="555"/>
        <pc:sldMkLst>
          <pc:docMk/>
          <pc:sldMk cId="75154034" sldId="273"/>
        </pc:sldMkLst>
      </pc:sldChg>
      <pc:sldChg chg="modSp add mod">
        <pc:chgData name="Sophie Ke" userId="e539e9bb-1b72-4997-9908-c2f63daa4d85" providerId="ADAL" clId="{83038133-D07A-4D18-92B1-9FE9DEDD4F7B}" dt="2025-04-28T21:09:54.304" v="34"/>
        <pc:sldMkLst>
          <pc:docMk/>
          <pc:sldMk cId="1415753022" sldId="275"/>
        </pc:sldMkLst>
        <pc:spChg chg="mod">
          <ac:chgData name="Sophie Ke" userId="e539e9bb-1b72-4997-9908-c2f63daa4d85" providerId="ADAL" clId="{83038133-D07A-4D18-92B1-9FE9DEDD4F7B}" dt="2025-04-28T21:09:41.851" v="32" actId="1076"/>
          <ac:spMkLst>
            <pc:docMk/>
            <pc:sldMk cId="1415753022" sldId="275"/>
            <ac:spMk id="3" creationId="{E221ACD2-832B-EC7D-1CB4-79FEFEBBBF2B}"/>
          </ac:spMkLst>
        </pc:spChg>
        <pc:spChg chg="mod">
          <ac:chgData name="Sophie Ke" userId="e539e9bb-1b72-4997-9908-c2f63daa4d85" providerId="ADAL" clId="{83038133-D07A-4D18-92B1-9FE9DEDD4F7B}" dt="2025-04-28T21:09:05.324" v="6" actId="14826"/>
          <ac:spMkLst>
            <pc:docMk/>
            <pc:sldMk cId="1415753022" sldId="275"/>
            <ac:spMk id="5" creationId="{B22BFE91-2C21-A66D-2030-1E143B0C27C6}"/>
          </ac:spMkLst>
        </pc:spChg>
        <pc:spChg chg="mod">
          <ac:chgData name="Sophie Ke" userId="e539e9bb-1b72-4997-9908-c2f63daa4d85" providerId="ADAL" clId="{83038133-D07A-4D18-92B1-9FE9DEDD4F7B}" dt="2025-04-28T21:09:54.304" v="34"/>
          <ac:spMkLst>
            <pc:docMk/>
            <pc:sldMk cId="1415753022" sldId="275"/>
            <ac:spMk id="10" creationId="{BAD370A4-745B-80A3-7798-722C430169E9}"/>
          </ac:spMkLst>
        </pc:spChg>
        <pc:spChg chg="mod">
          <ac:chgData name="Sophie Ke" userId="e539e9bb-1b72-4997-9908-c2f63daa4d85" providerId="ADAL" clId="{83038133-D07A-4D18-92B1-9FE9DEDD4F7B}" dt="2025-04-28T21:09:05.324" v="6" actId="14826"/>
          <ac:spMkLst>
            <pc:docMk/>
            <pc:sldMk cId="1415753022" sldId="275"/>
            <ac:spMk id="12" creationId="{C5D87860-11DB-4217-E8A7-607A4EFCA8AF}"/>
          </ac:spMkLst>
        </pc:spChg>
        <pc:grpChg chg="mod">
          <ac:chgData name="Sophie Ke" userId="e539e9bb-1b72-4997-9908-c2f63daa4d85" providerId="ADAL" clId="{83038133-D07A-4D18-92B1-9FE9DEDD4F7B}" dt="2025-04-28T21:09:05.324" v="6" actId="14826"/>
          <ac:grpSpMkLst>
            <pc:docMk/>
            <pc:sldMk cId="1415753022" sldId="275"/>
            <ac:grpSpMk id="11" creationId="{D85CA5B9-2A23-78A8-E65E-650D63C7815F}"/>
          </ac:grpSpMkLst>
        </pc:grpChg>
        <pc:picChg chg="mod">
          <ac:chgData name="Sophie Ke" userId="e539e9bb-1b72-4997-9908-c2f63daa4d85" providerId="ADAL" clId="{83038133-D07A-4D18-92B1-9FE9DEDD4F7B}" dt="2025-04-28T21:08:56.840" v="5" actId="14826"/>
          <ac:picMkLst>
            <pc:docMk/>
            <pc:sldMk cId="1415753022" sldId="275"/>
            <ac:picMk id="4" creationId="{DC560D86-B528-5243-B737-AE911681015A}"/>
          </ac:picMkLst>
        </pc:picChg>
        <pc:picChg chg="mod">
          <ac:chgData name="Sophie Ke" userId="e539e9bb-1b72-4997-9908-c2f63daa4d85" providerId="ADAL" clId="{83038133-D07A-4D18-92B1-9FE9DEDD4F7B}" dt="2025-04-28T21:09:05.324" v="6" actId="14826"/>
          <ac:picMkLst>
            <pc:docMk/>
            <pc:sldMk cId="1415753022" sldId="275"/>
            <ac:picMk id="13" creationId="{14E7D66A-8DE2-6EF0-3C1A-95DC68F490D6}"/>
          </ac:picMkLst>
        </pc:picChg>
      </pc:sldChg>
      <pc:sldChg chg="addSp delSp modSp add mod ord modClrScheme chgLayout">
        <pc:chgData name="Sophie Ke" userId="e539e9bb-1b72-4997-9908-c2f63daa4d85" providerId="ADAL" clId="{83038133-D07A-4D18-92B1-9FE9DEDD4F7B}" dt="2025-05-02T05:12:05.343" v="570" actId="2085"/>
        <pc:sldMkLst>
          <pc:docMk/>
          <pc:sldMk cId="1791441293" sldId="276"/>
        </pc:sldMkLst>
      </pc:sldChg>
      <pc:sldChg chg="addSp delSp modSp add mod modClrScheme chgLayout">
        <pc:chgData name="Sophie Ke" userId="e539e9bb-1b72-4997-9908-c2f63daa4d85" providerId="ADAL" clId="{83038133-D07A-4D18-92B1-9FE9DEDD4F7B}" dt="2025-05-02T05:13:19.303" v="583" actId="179"/>
        <pc:sldMkLst>
          <pc:docMk/>
          <pc:sldMk cId="3972483064" sldId="277"/>
        </pc:sldMkLst>
      </pc:sldChg>
      <pc:sldChg chg="modSp add mod modTransition">
        <pc:chgData name="Sophie Ke" userId="e539e9bb-1b72-4997-9908-c2f63daa4d85" providerId="ADAL" clId="{83038133-D07A-4D18-92B1-9FE9DEDD4F7B}" dt="2025-05-02T05:17:39.910" v="714" actId="20577"/>
        <pc:sldMkLst>
          <pc:docMk/>
          <pc:sldMk cId="3343947183" sldId="278"/>
        </pc:sldMkLst>
        <pc:spChg chg="mod">
          <ac:chgData name="Sophie Ke" userId="e539e9bb-1b72-4997-9908-c2f63daa4d85" providerId="ADAL" clId="{83038133-D07A-4D18-92B1-9FE9DEDD4F7B}" dt="2025-05-02T05:17:39.910" v="714" actId="20577"/>
          <ac:spMkLst>
            <pc:docMk/>
            <pc:sldMk cId="3343947183" sldId="278"/>
            <ac:spMk id="12" creationId="{F329E5D7-3FAA-887F-D0AC-DF5A8E7186F4}"/>
          </ac:spMkLst>
        </pc:spChg>
        <pc:spChg chg="mod">
          <ac:chgData name="Sophie Ke" userId="e539e9bb-1b72-4997-9908-c2f63daa4d85" providerId="ADAL" clId="{83038133-D07A-4D18-92B1-9FE9DEDD4F7B}" dt="2025-05-02T05:16:38.770" v="705" actId="27636"/>
          <ac:spMkLst>
            <pc:docMk/>
            <pc:sldMk cId="3343947183" sldId="278"/>
            <ac:spMk id="19" creationId="{B176D6A0-0D80-90DA-CAE4-4648241539C1}"/>
          </ac:spMkLst>
        </pc:spChg>
      </pc:sldChg>
      <pc:sldChg chg="mod ord modShow">
        <pc:chgData name="Sophie Ke" userId="e539e9bb-1b72-4997-9908-c2f63daa4d85" providerId="ADAL" clId="{83038133-D07A-4D18-92B1-9FE9DEDD4F7B}" dt="2025-04-28T23:37:07.185" v="546" actId="729"/>
        <pc:sldMkLst>
          <pc:docMk/>
          <pc:sldMk cId="3115881067" sldId="279"/>
        </pc:sldMkLst>
      </pc:sldChg>
      <pc:sldChg chg="add del">
        <pc:chgData name="Sophie Ke" userId="e539e9bb-1b72-4997-9908-c2f63daa4d85" providerId="ADAL" clId="{83038133-D07A-4D18-92B1-9FE9DEDD4F7B}" dt="2025-04-28T23:18:18.687" v="265"/>
        <pc:sldMkLst>
          <pc:docMk/>
          <pc:sldMk cId="2202970659" sldId="284"/>
        </pc:sldMkLst>
      </pc:sldChg>
      <pc:sldChg chg="modSp add del mod">
        <pc:chgData name="Sophie Ke" userId="e539e9bb-1b72-4997-9908-c2f63daa4d85" providerId="ADAL" clId="{83038133-D07A-4D18-92B1-9FE9DEDD4F7B}" dt="2025-04-28T23:18:43.215" v="276" actId="47"/>
        <pc:sldMkLst>
          <pc:docMk/>
          <pc:sldMk cId="2862082356" sldId="284"/>
        </pc:sldMkLst>
      </pc:sldChg>
      <pc:sldChg chg="addSp modSp add mod">
        <pc:chgData name="Sophie Ke" userId="e539e9bb-1b72-4997-9908-c2f63daa4d85" providerId="ADAL" clId="{83038133-D07A-4D18-92B1-9FE9DEDD4F7B}" dt="2025-05-02T05:14:29.392" v="593" actId="2085"/>
        <pc:sldMkLst>
          <pc:docMk/>
          <pc:sldMk cId="1093561080" sldId="286"/>
        </pc:sldMkLst>
      </pc:sldChg>
      <pc:sldChg chg="add del">
        <pc:chgData name="Sophie Ke" userId="e539e9bb-1b72-4997-9908-c2f63daa4d85" providerId="ADAL" clId="{83038133-D07A-4D18-92B1-9FE9DEDD4F7B}" dt="2025-04-28T23:18:39.285" v="274"/>
        <pc:sldMkLst>
          <pc:docMk/>
          <pc:sldMk cId="3215173005" sldId="286"/>
        </pc:sldMkLst>
      </pc:sldChg>
      <pc:sldChg chg="del mod modShow">
        <pc:chgData name="Sophie Ke" userId="e539e9bb-1b72-4997-9908-c2f63daa4d85" providerId="ADAL" clId="{83038133-D07A-4D18-92B1-9FE9DEDD4F7B}" dt="2025-04-28T23:36:34.835" v="543" actId="47"/>
        <pc:sldMkLst>
          <pc:docMk/>
          <pc:sldMk cId="634769557" sldId="294"/>
        </pc:sldMkLst>
      </pc:sldChg>
      <pc:sldChg chg="ord">
        <pc:chgData name="Sophie Ke" userId="e539e9bb-1b72-4997-9908-c2f63daa4d85" providerId="ADAL" clId="{83038133-D07A-4D18-92B1-9FE9DEDD4F7B}" dt="2025-04-28T22:47:56.504" v="133"/>
        <pc:sldMkLst>
          <pc:docMk/>
          <pc:sldMk cId="3144761593" sldId="308"/>
        </pc:sldMkLst>
      </pc:sldChg>
      <pc:sldChg chg="ord">
        <pc:chgData name="Sophie Ke" userId="e539e9bb-1b72-4997-9908-c2f63daa4d85" providerId="ADAL" clId="{83038133-D07A-4D18-92B1-9FE9DEDD4F7B}" dt="2025-04-28T22:47:56.504" v="133"/>
        <pc:sldMkLst>
          <pc:docMk/>
          <pc:sldMk cId="3574140323" sldId="309"/>
        </pc:sldMkLst>
      </pc:sldChg>
      <pc:sldChg chg="ord">
        <pc:chgData name="Sophie Ke" userId="e539e9bb-1b72-4997-9908-c2f63daa4d85" providerId="ADAL" clId="{83038133-D07A-4D18-92B1-9FE9DEDD4F7B}" dt="2025-04-28T22:47:56.504" v="133"/>
        <pc:sldMkLst>
          <pc:docMk/>
          <pc:sldMk cId="1289244679" sldId="310"/>
        </pc:sldMkLst>
      </pc:sldChg>
      <pc:sldChg chg="addSp delSp modSp mod modClrScheme chgLayout">
        <pc:chgData name="Sophie Ke" userId="e539e9bb-1b72-4997-9908-c2f63daa4d85" providerId="ADAL" clId="{83038133-D07A-4D18-92B1-9FE9DEDD4F7B}" dt="2025-05-02T05:13:43.863" v="587" actId="2085"/>
        <pc:sldMkLst>
          <pc:docMk/>
          <pc:sldMk cId="4013898040" sldId="313"/>
        </pc:sldMkLst>
      </pc:sldChg>
      <pc:sldChg chg="ord">
        <pc:chgData name="Sophie Ke" userId="e539e9bb-1b72-4997-9908-c2f63daa4d85" providerId="ADAL" clId="{83038133-D07A-4D18-92B1-9FE9DEDD4F7B}" dt="2025-04-28T23:40:09.152" v="555"/>
        <pc:sldMkLst>
          <pc:docMk/>
          <pc:sldMk cId="3213974891" sldId="315"/>
        </pc:sldMkLst>
      </pc:sldChg>
      <pc:sldChg chg="modSp del mod">
        <pc:chgData name="Sophie Ke" userId="e539e9bb-1b72-4997-9908-c2f63daa4d85" providerId="ADAL" clId="{83038133-D07A-4D18-92B1-9FE9DEDD4F7B}" dt="2025-04-28T23:21:27.634" v="378" actId="47"/>
        <pc:sldMkLst>
          <pc:docMk/>
          <pc:sldMk cId="583502269" sldId="316"/>
        </pc:sldMkLst>
      </pc:sldChg>
      <pc:sldChg chg="addSp delSp modSp add del mod modClrScheme chgLayout">
        <pc:chgData name="Sophie Ke" userId="e539e9bb-1b72-4997-9908-c2f63daa4d85" providerId="ADAL" clId="{83038133-D07A-4D18-92B1-9FE9DEDD4F7B}" dt="2025-04-28T22:50:29.787" v="164" actId="47"/>
        <pc:sldMkLst>
          <pc:docMk/>
          <pc:sldMk cId="2356075611" sldId="328"/>
        </pc:sldMkLst>
      </pc:sldChg>
      <pc:sldChg chg="delSp modSp del mod">
        <pc:chgData name="Sophie Ke" userId="e539e9bb-1b72-4997-9908-c2f63daa4d85" providerId="ADAL" clId="{83038133-D07A-4D18-92B1-9FE9DEDD4F7B}" dt="2025-04-28T21:09:56.638" v="35" actId="47"/>
        <pc:sldMkLst>
          <pc:docMk/>
          <pc:sldMk cId="2710205027" sldId="2147482552"/>
        </pc:sldMkLst>
      </pc:sldChg>
      <pc:sldChg chg="ord">
        <pc:chgData name="Sophie Ke" userId="e539e9bb-1b72-4997-9908-c2f63daa4d85" providerId="ADAL" clId="{83038133-D07A-4D18-92B1-9FE9DEDD4F7B}" dt="2025-04-28T23:40:09.152" v="555"/>
        <pc:sldMkLst>
          <pc:docMk/>
          <pc:sldMk cId="4198548696" sldId="2147482564"/>
        </pc:sldMkLst>
      </pc:sldChg>
      <pc:sldChg chg="add mod modShow">
        <pc:chgData name="Sophie Ke" userId="e539e9bb-1b72-4997-9908-c2f63daa4d85" providerId="ADAL" clId="{83038133-D07A-4D18-92B1-9FE9DEDD4F7B}" dt="2025-04-28T22:43:53.306" v="37" actId="729"/>
        <pc:sldMkLst>
          <pc:docMk/>
          <pc:sldMk cId="139756066" sldId="2147483505"/>
        </pc:sldMkLst>
      </pc:sldChg>
      <pc:sldChg chg="ord">
        <pc:chgData name="Sophie Ke" userId="e539e9bb-1b72-4997-9908-c2f63daa4d85" providerId="ADAL" clId="{83038133-D07A-4D18-92B1-9FE9DEDD4F7B}" dt="2025-04-28T22:49:18.785" v="139"/>
        <pc:sldMkLst>
          <pc:docMk/>
          <pc:sldMk cId="1328980405" sldId="2147483513"/>
        </pc:sldMkLst>
      </pc:sldChg>
      <pc:sldChg chg="delSp modSp add del mod modShow">
        <pc:chgData name="Sophie Ke" userId="e539e9bb-1b72-4997-9908-c2f63daa4d85" providerId="ADAL" clId="{83038133-D07A-4D18-92B1-9FE9DEDD4F7B}" dt="2025-04-28T23:38:45.435" v="553" actId="47"/>
        <pc:sldMkLst>
          <pc:docMk/>
          <pc:sldMk cId="4286397125" sldId="2147483517"/>
        </pc:sldMkLst>
      </pc:sldChg>
      <pc:sldChg chg="modSp">
        <pc:chgData name="Sophie Ke" userId="e539e9bb-1b72-4997-9908-c2f63daa4d85" providerId="ADAL" clId="{83038133-D07A-4D18-92B1-9FE9DEDD4F7B}" dt="2025-04-28T23:37:59.538" v="552" actId="207"/>
        <pc:sldMkLst>
          <pc:docMk/>
          <pc:sldMk cId="4107920972" sldId="2147483547"/>
        </pc:sldMkLst>
      </pc:sldChg>
      <pc:sldChg chg="add del ord">
        <pc:chgData name="Sophie Ke" userId="e539e9bb-1b72-4997-9908-c2f63daa4d85" providerId="ADAL" clId="{83038133-D07A-4D18-92B1-9FE9DEDD4F7B}" dt="2025-04-28T23:41:44.506" v="558" actId="47"/>
        <pc:sldMkLst>
          <pc:docMk/>
          <pc:sldMk cId="269135049" sldId="2147483554"/>
        </pc:sldMkLst>
      </pc:sldChg>
      <pc:sldChg chg="del">
        <pc:chgData name="Sophie Ke" userId="e539e9bb-1b72-4997-9908-c2f63daa4d85" providerId="ADAL" clId="{83038133-D07A-4D18-92B1-9FE9DEDD4F7B}" dt="2025-04-28T22:52:25.817" v="179" actId="47"/>
        <pc:sldMkLst>
          <pc:docMk/>
          <pc:sldMk cId="1402365295" sldId="2147483605"/>
        </pc:sldMkLst>
      </pc:sldChg>
      <pc:sldChg chg="addSp delSp modSp mod modClrScheme chgLayout">
        <pc:chgData name="Sophie Ke" userId="e539e9bb-1b72-4997-9908-c2f63daa4d85" providerId="ADAL" clId="{83038133-D07A-4D18-92B1-9FE9DEDD4F7B}" dt="2025-04-28T23:45:05.687" v="563" actId="13926"/>
        <pc:sldMkLst>
          <pc:docMk/>
          <pc:sldMk cId="2391138826" sldId="2147483615"/>
        </pc:sldMkLst>
      </pc:sldChg>
      <pc:sldChg chg="ord">
        <pc:chgData name="Sophie Ke" userId="e539e9bb-1b72-4997-9908-c2f63daa4d85" providerId="ADAL" clId="{83038133-D07A-4D18-92B1-9FE9DEDD4F7B}" dt="2025-04-28T23:40:09.152" v="555"/>
        <pc:sldMkLst>
          <pc:docMk/>
          <pc:sldMk cId="1369571920" sldId="2147483631"/>
        </pc:sldMkLst>
      </pc:sldChg>
      <pc:sldChg chg="ord">
        <pc:chgData name="Sophie Ke" userId="e539e9bb-1b72-4997-9908-c2f63daa4d85" providerId="ADAL" clId="{83038133-D07A-4D18-92B1-9FE9DEDD4F7B}" dt="2025-04-28T23:40:09.152" v="555"/>
        <pc:sldMkLst>
          <pc:docMk/>
          <pc:sldMk cId="2777278219" sldId="2147483632"/>
        </pc:sldMkLst>
      </pc:sldChg>
      <pc:sldChg chg="ord">
        <pc:chgData name="Sophie Ke" userId="e539e9bb-1b72-4997-9908-c2f63daa4d85" providerId="ADAL" clId="{83038133-D07A-4D18-92B1-9FE9DEDD4F7B}" dt="2025-04-28T23:40:09.152" v="555"/>
        <pc:sldMkLst>
          <pc:docMk/>
          <pc:sldMk cId="2638763787" sldId="2147483633"/>
        </pc:sldMkLst>
      </pc:sldChg>
      <pc:sldChg chg="ord">
        <pc:chgData name="Sophie Ke" userId="e539e9bb-1b72-4997-9908-c2f63daa4d85" providerId="ADAL" clId="{83038133-D07A-4D18-92B1-9FE9DEDD4F7B}" dt="2025-04-28T23:40:09.152" v="555"/>
        <pc:sldMkLst>
          <pc:docMk/>
          <pc:sldMk cId="610293252" sldId="2147483636"/>
        </pc:sldMkLst>
      </pc:sldChg>
      <pc:sldChg chg="ord">
        <pc:chgData name="Sophie Ke" userId="e539e9bb-1b72-4997-9908-c2f63daa4d85" providerId="ADAL" clId="{83038133-D07A-4D18-92B1-9FE9DEDD4F7B}" dt="2025-04-28T23:40:09.152" v="555"/>
        <pc:sldMkLst>
          <pc:docMk/>
          <pc:sldMk cId="1336338945" sldId="2147483638"/>
        </pc:sldMkLst>
      </pc:sldChg>
    </pc:docChg>
  </pc:docChgLst>
  <pc:docChgLst>
    <pc:chgData name="Safeena Begum Lepakshi" userId="44e4f0de-d6e7-461b-ab64-689bc756e204" providerId="ADAL" clId="{E3EE759B-C4FA-48FB-8678-9CCEE0847AAF}"/>
    <pc:docChg chg="undo redo custSel addSld delSld modSld sldOrd addMainMaster delMainMaster modMainMaster addSection delSection modSection">
      <pc:chgData name="Safeena Begum Lepakshi" userId="44e4f0de-d6e7-461b-ab64-689bc756e204" providerId="ADAL" clId="{E3EE759B-C4FA-48FB-8678-9CCEE0847AAF}" dt="2025-05-08T04:38:56.796" v="5424" actId="20577"/>
      <pc:docMkLst>
        <pc:docMk/>
      </pc:docMkLst>
      <pc:sldChg chg="delSp modSp mod">
        <pc:chgData name="Safeena Begum Lepakshi" userId="44e4f0de-d6e7-461b-ab64-689bc756e204" providerId="ADAL" clId="{E3EE759B-C4FA-48FB-8678-9CCEE0847AAF}" dt="2025-04-30T22:01:11.107" v="918" actId="20577"/>
        <pc:sldMkLst>
          <pc:docMk/>
          <pc:sldMk cId="662025445" sldId="256"/>
        </pc:sldMkLst>
        <pc:spChg chg="mod">
          <ac:chgData name="Safeena Begum Lepakshi" userId="44e4f0de-d6e7-461b-ab64-689bc756e204" providerId="ADAL" clId="{E3EE759B-C4FA-48FB-8678-9CCEE0847AAF}" dt="2025-04-30T22:01:11.107" v="918" actId="20577"/>
          <ac:spMkLst>
            <pc:docMk/>
            <pc:sldMk cId="662025445" sldId="256"/>
            <ac:spMk id="4" creationId="{DF029D6A-C075-7EF0-C6A2-07BC853E1898}"/>
          </ac:spMkLst>
        </pc:spChg>
        <pc:spChg chg="mod">
          <ac:chgData name="Safeena Begum Lepakshi" userId="44e4f0de-d6e7-461b-ab64-689bc756e204" providerId="ADAL" clId="{E3EE759B-C4FA-48FB-8678-9CCEE0847AAF}" dt="2025-04-17T19:17:21.576" v="49" actId="20577"/>
          <ac:spMkLst>
            <pc:docMk/>
            <pc:sldMk cId="662025445" sldId="256"/>
            <ac:spMk id="6" creationId="{B8D03424-982A-49AB-59D0-BF6E84BFE0D5}"/>
          </ac:spMkLst>
        </pc:spChg>
      </pc:sldChg>
      <pc:sldChg chg="addSp delSp modSp new mod modShow">
        <pc:chgData name="Safeena Begum Lepakshi" userId="44e4f0de-d6e7-461b-ab64-689bc756e204" providerId="ADAL" clId="{E3EE759B-C4FA-48FB-8678-9CCEE0847AAF}" dt="2025-05-02T17:36:51.208" v="1362" actId="729"/>
        <pc:sldMkLst>
          <pc:docMk/>
          <pc:sldMk cId="2058830108" sldId="257"/>
        </pc:sldMkLst>
      </pc:sldChg>
      <pc:sldChg chg="addSp delSp modSp add mod">
        <pc:chgData name="Safeena Begum Lepakshi" userId="44e4f0de-d6e7-461b-ab64-689bc756e204" providerId="ADAL" clId="{E3EE759B-C4FA-48FB-8678-9CCEE0847AAF}" dt="2025-05-06T02:08:57.903" v="4870" actId="478"/>
        <pc:sldMkLst>
          <pc:docMk/>
          <pc:sldMk cId="3661599669" sldId="257"/>
        </pc:sldMkLst>
        <pc:spChg chg="mod">
          <ac:chgData name="Safeena Begum Lepakshi" userId="44e4f0de-d6e7-461b-ab64-689bc756e204" providerId="ADAL" clId="{E3EE759B-C4FA-48FB-8678-9CCEE0847AAF}" dt="2025-05-03T09:16:01.202" v="2079" actId="20577"/>
          <ac:spMkLst>
            <pc:docMk/>
            <pc:sldMk cId="3661599669" sldId="257"/>
            <ac:spMk id="2" creationId="{3E6CF670-CCE2-5919-7732-B397C1E255EA}"/>
          </ac:spMkLst>
        </pc:spChg>
        <pc:spChg chg="add mod">
          <ac:chgData name="Safeena Begum Lepakshi" userId="44e4f0de-d6e7-461b-ab64-689bc756e204" providerId="ADAL" clId="{E3EE759B-C4FA-48FB-8678-9CCEE0847AAF}" dt="2025-05-03T09:18:06.105" v="2092" actId="1076"/>
          <ac:spMkLst>
            <pc:docMk/>
            <pc:sldMk cId="3661599669" sldId="257"/>
            <ac:spMk id="6" creationId="{D444AF95-DA83-9799-F914-89CBB5A5AAFC}"/>
          </ac:spMkLst>
        </pc:spChg>
        <pc:spChg chg="add mod">
          <ac:chgData name="Safeena Begum Lepakshi" userId="44e4f0de-d6e7-461b-ab64-689bc756e204" providerId="ADAL" clId="{E3EE759B-C4FA-48FB-8678-9CCEE0847AAF}" dt="2025-05-03T09:18:06.105" v="2092" actId="1076"/>
          <ac:spMkLst>
            <pc:docMk/>
            <pc:sldMk cId="3661599669" sldId="257"/>
            <ac:spMk id="8" creationId="{9B9401D0-8F78-1EA1-5C22-D470865427F6}"/>
          </ac:spMkLst>
        </pc:spChg>
        <pc:spChg chg="add mod">
          <ac:chgData name="Safeena Begum Lepakshi" userId="44e4f0de-d6e7-461b-ab64-689bc756e204" providerId="ADAL" clId="{E3EE759B-C4FA-48FB-8678-9CCEE0847AAF}" dt="2025-05-03T09:18:06.105" v="2092" actId="1076"/>
          <ac:spMkLst>
            <pc:docMk/>
            <pc:sldMk cId="3661599669" sldId="257"/>
            <ac:spMk id="12" creationId="{A89D6BEF-200E-FD78-4A2A-C6F944472D1A}"/>
          </ac:spMkLst>
        </pc:spChg>
        <pc:spChg chg="add mod">
          <ac:chgData name="Safeena Begum Lepakshi" userId="44e4f0de-d6e7-461b-ab64-689bc756e204" providerId="ADAL" clId="{E3EE759B-C4FA-48FB-8678-9CCEE0847AAF}" dt="2025-05-03T09:18:06.105" v="2092" actId="1076"/>
          <ac:spMkLst>
            <pc:docMk/>
            <pc:sldMk cId="3661599669" sldId="257"/>
            <ac:spMk id="15" creationId="{53675CF9-F48A-D735-094E-4926580BAD67}"/>
          </ac:spMkLst>
        </pc:spChg>
        <pc:spChg chg="add mod">
          <ac:chgData name="Safeena Begum Lepakshi" userId="44e4f0de-d6e7-461b-ab64-689bc756e204" providerId="ADAL" clId="{E3EE759B-C4FA-48FB-8678-9CCEE0847AAF}" dt="2025-05-03T09:18:06.105" v="2092" actId="1076"/>
          <ac:spMkLst>
            <pc:docMk/>
            <pc:sldMk cId="3661599669" sldId="257"/>
            <ac:spMk id="29" creationId="{F7ACA5FF-F986-A2AA-0E07-65349F555FE8}"/>
          </ac:spMkLst>
        </pc:spChg>
        <pc:spChg chg="add mod">
          <ac:chgData name="Safeena Begum Lepakshi" userId="44e4f0de-d6e7-461b-ab64-689bc756e204" providerId="ADAL" clId="{E3EE759B-C4FA-48FB-8678-9CCEE0847AAF}" dt="2025-05-03T09:19:13.519" v="2100" actId="122"/>
          <ac:spMkLst>
            <pc:docMk/>
            <pc:sldMk cId="3661599669" sldId="257"/>
            <ac:spMk id="34" creationId="{066451B4-27A0-D346-D910-F18CF657DDFD}"/>
          </ac:spMkLst>
        </pc:spChg>
        <pc:spChg chg="add mod">
          <ac:chgData name="Safeena Begum Lepakshi" userId="44e4f0de-d6e7-461b-ab64-689bc756e204" providerId="ADAL" clId="{E3EE759B-C4FA-48FB-8678-9CCEE0847AAF}" dt="2025-05-03T09:20:48.847" v="2121" actId="1076"/>
          <ac:spMkLst>
            <pc:docMk/>
            <pc:sldMk cId="3661599669" sldId="257"/>
            <ac:spMk id="37" creationId="{2E722DBC-3A02-2352-FB92-F32216C59067}"/>
          </ac:spMkLst>
        </pc:spChg>
        <pc:spChg chg="add mod">
          <ac:chgData name="Safeena Begum Lepakshi" userId="44e4f0de-d6e7-461b-ab64-689bc756e204" providerId="ADAL" clId="{E3EE759B-C4FA-48FB-8678-9CCEE0847AAF}" dt="2025-05-03T09:21:34.142" v="2124" actId="1076"/>
          <ac:spMkLst>
            <pc:docMk/>
            <pc:sldMk cId="3661599669" sldId="257"/>
            <ac:spMk id="39" creationId="{D3B3A68B-59C3-DE36-071F-13CF76894CF3}"/>
          </ac:spMkLst>
        </pc:spChg>
        <pc:spChg chg="add mod">
          <ac:chgData name="Safeena Begum Lepakshi" userId="44e4f0de-d6e7-461b-ab64-689bc756e204" providerId="ADAL" clId="{E3EE759B-C4FA-48FB-8678-9CCEE0847AAF}" dt="2025-05-03T09:22:41.507" v="2130"/>
          <ac:spMkLst>
            <pc:docMk/>
            <pc:sldMk cId="3661599669" sldId="257"/>
            <ac:spMk id="42" creationId="{C8A3847E-F584-9240-406A-B168254FEA61}"/>
          </ac:spMkLst>
        </pc:spChg>
        <pc:spChg chg="add mod">
          <ac:chgData name="Safeena Begum Lepakshi" userId="44e4f0de-d6e7-461b-ab64-689bc756e204" providerId="ADAL" clId="{E3EE759B-C4FA-48FB-8678-9CCEE0847AAF}" dt="2025-05-03T09:18:06.105" v="2092" actId="1076"/>
          <ac:spMkLst>
            <pc:docMk/>
            <pc:sldMk cId="3661599669" sldId="257"/>
            <ac:spMk id="43" creationId="{FB0AA624-013B-BC7F-F3F1-7D0DA5A44C5A}"/>
          </ac:spMkLst>
        </pc:spChg>
        <pc:spChg chg="add mod">
          <ac:chgData name="Safeena Begum Lepakshi" userId="44e4f0de-d6e7-461b-ab64-689bc756e204" providerId="ADAL" clId="{E3EE759B-C4FA-48FB-8678-9CCEE0847AAF}" dt="2025-05-03T09:23:28.517" v="2147" actId="20577"/>
          <ac:spMkLst>
            <pc:docMk/>
            <pc:sldMk cId="3661599669" sldId="257"/>
            <ac:spMk id="44" creationId="{78756C15-B290-3A02-FA56-E08F2A6D99D8}"/>
          </ac:spMkLst>
        </pc:spChg>
        <pc:spChg chg="add mod">
          <ac:chgData name="Safeena Begum Lepakshi" userId="44e4f0de-d6e7-461b-ab64-689bc756e204" providerId="ADAL" clId="{E3EE759B-C4FA-48FB-8678-9CCEE0847AAF}" dt="2025-05-03T09:23:47.605" v="2160" actId="20577"/>
          <ac:spMkLst>
            <pc:docMk/>
            <pc:sldMk cId="3661599669" sldId="257"/>
            <ac:spMk id="47" creationId="{4A93561A-54EC-A405-484A-6F5151F066F7}"/>
          </ac:spMkLst>
        </pc:spChg>
        <pc:spChg chg="add mod">
          <ac:chgData name="Safeena Begum Lepakshi" userId="44e4f0de-d6e7-461b-ab64-689bc756e204" providerId="ADAL" clId="{E3EE759B-C4FA-48FB-8678-9CCEE0847AAF}" dt="2025-05-03T09:18:06.105" v="2092" actId="1076"/>
          <ac:spMkLst>
            <pc:docMk/>
            <pc:sldMk cId="3661599669" sldId="257"/>
            <ac:spMk id="48" creationId="{06165833-C4E6-7EDA-7266-86DB71B41A84}"/>
          </ac:spMkLst>
        </pc:spChg>
        <pc:spChg chg="add mod">
          <ac:chgData name="Safeena Begum Lepakshi" userId="44e4f0de-d6e7-461b-ab64-689bc756e204" providerId="ADAL" clId="{E3EE759B-C4FA-48FB-8678-9CCEE0847AAF}" dt="2025-05-03T09:24:20.800" v="2171" actId="1076"/>
          <ac:spMkLst>
            <pc:docMk/>
            <pc:sldMk cId="3661599669" sldId="257"/>
            <ac:spMk id="49" creationId="{8D72F19A-C354-82B1-43E2-F3525568BAC7}"/>
          </ac:spMkLst>
        </pc:spChg>
        <pc:spChg chg="mod">
          <ac:chgData name="Safeena Begum Lepakshi" userId="44e4f0de-d6e7-461b-ab64-689bc756e204" providerId="ADAL" clId="{E3EE759B-C4FA-48FB-8678-9CCEE0847AAF}" dt="2025-05-03T09:43:52.170" v="2433" actId="403"/>
          <ac:spMkLst>
            <pc:docMk/>
            <pc:sldMk cId="3661599669" sldId="257"/>
            <ac:spMk id="75" creationId="{86E1993D-A61D-08F5-0C0A-3134845A7CD8}"/>
          </ac:spMkLst>
        </pc:spChg>
        <pc:spChg chg="add mod">
          <ac:chgData name="Safeena Begum Lepakshi" userId="44e4f0de-d6e7-461b-ab64-689bc756e204" providerId="ADAL" clId="{E3EE759B-C4FA-48FB-8678-9CCEE0847AAF}" dt="2025-05-03T10:05:11.877" v="2628" actId="403"/>
          <ac:spMkLst>
            <pc:docMk/>
            <pc:sldMk cId="3661599669" sldId="257"/>
            <ac:spMk id="76" creationId="{18D00347-6856-34E2-CDFE-351B6880B48B}"/>
          </ac:spMkLst>
        </pc:spChg>
        <pc:spChg chg="mod">
          <ac:chgData name="Safeena Begum Lepakshi" userId="44e4f0de-d6e7-461b-ab64-689bc756e204" providerId="ADAL" clId="{E3EE759B-C4FA-48FB-8678-9CCEE0847AAF}" dt="2025-05-03T10:04:59.156" v="2627" actId="403"/>
          <ac:spMkLst>
            <pc:docMk/>
            <pc:sldMk cId="3661599669" sldId="257"/>
            <ac:spMk id="78" creationId="{8C263AFA-6ECF-2F09-2F4B-4CB8A8AF8C32}"/>
          </ac:spMkLst>
        </pc:spChg>
        <pc:spChg chg="add mod">
          <ac:chgData name="Safeena Begum Lepakshi" userId="44e4f0de-d6e7-461b-ab64-689bc756e204" providerId="ADAL" clId="{E3EE759B-C4FA-48FB-8678-9CCEE0847AAF}" dt="2025-05-03T09:18:06.105" v="2092" actId="1076"/>
          <ac:spMkLst>
            <pc:docMk/>
            <pc:sldMk cId="3661599669" sldId="257"/>
            <ac:spMk id="94" creationId="{EBC43D1F-C6E1-8218-BF0E-C2A72B282E33}"/>
          </ac:spMkLst>
        </pc:spChg>
      </pc:sldChg>
      <pc:sldChg chg="addSp delSp modSp new mod">
        <pc:chgData name="Safeena Begum Lepakshi" userId="44e4f0de-d6e7-461b-ab64-689bc756e204" providerId="ADAL" clId="{E3EE759B-C4FA-48FB-8678-9CCEE0847AAF}" dt="2025-05-03T10:03:13.041" v="2617" actId="207"/>
        <pc:sldMkLst>
          <pc:docMk/>
          <pc:sldMk cId="2181194867" sldId="258"/>
        </pc:sldMkLst>
        <pc:spChg chg="mod">
          <ac:chgData name="Safeena Begum Lepakshi" userId="44e4f0de-d6e7-461b-ab64-689bc756e204" providerId="ADAL" clId="{E3EE759B-C4FA-48FB-8678-9CCEE0847AAF}" dt="2025-05-03T09:54:13.255" v="2531" actId="403"/>
          <ac:spMkLst>
            <pc:docMk/>
            <pc:sldMk cId="2181194867" sldId="258"/>
            <ac:spMk id="3" creationId="{6D330D27-6CB7-0C4D-F1B8-3CEF363A6E5C}"/>
          </ac:spMkLst>
        </pc:spChg>
        <pc:spChg chg="mod">
          <ac:chgData name="Safeena Begum Lepakshi" userId="44e4f0de-d6e7-461b-ab64-689bc756e204" providerId="ADAL" clId="{E3EE759B-C4FA-48FB-8678-9CCEE0847AAF}" dt="2025-05-03T09:59:55.360" v="2578" actId="1076"/>
          <ac:spMkLst>
            <pc:docMk/>
            <pc:sldMk cId="2181194867" sldId="258"/>
            <ac:spMk id="5" creationId="{E71156E6-AEE5-24CF-BFB4-9F512DFA53F2}"/>
          </ac:spMkLst>
        </pc:spChg>
        <pc:spChg chg="mod">
          <ac:chgData name="Safeena Begum Lepakshi" userId="44e4f0de-d6e7-461b-ab64-689bc756e204" providerId="ADAL" clId="{E3EE759B-C4FA-48FB-8678-9CCEE0847AAF}" dt="2025-05-03T09:49:31.991" v="2471" actId="1076"/>
          <ac:spMkLst>
            <pc:docMk/>
            <pc:sldMk cId="2181194867" sldId="258"/>
            <ac:spMk id="6" creationId="{EA762A01-CA1A-B7F2-B9CA-00C9CC2B37AC}"/>
          </ac:spMkLst>
        </pc:spChg>
        <pc:spChg chg="add mod">
          <ac:chgData name="Safeena Begum Lepakshi" userId="44e4f0de-d6e7-461b-ab64-689bc756e204" providerId="ADAL" clId="{E3EE759B-C4FA-48FB-8678-9CCEE0847AAF}" dt="2025-05-03T09:50:18.010" v="2488" actId="1076"/>
          <ac:spMkLst>
            <pc:docMk/>
            <pc:sldMk cId="2181194867" sldId="258"/>
            <ac:spMk id="7" creationId="{79A12EE3-1DC9-78F7-CDE2-934A1C6C9CD4}"/>
          </ac:spMkLst>
        </pc:spChg>
        <pc:spChg chg="add mod">
          <ac:chgData name="Safeena Begum Lepakshi" userId="44e4f0de-d6e7-461b-ab64-689bc756e204" providerId="ADAL" clId="{E3EE759B-C4FA-48FB-8678-9CCEE0847AAF}" dt="2025-05-03T10:01:07.286" v="2585" actId="122"/>
          <ac:spMkLst>
            <pc:docMk/>
            <pc:sldMk cId="2181194867" sldId="258"/>
            <ac:spMk id="8" creationId="{BFD42A6B-1567-4000-7976-77FF8DFDAE9B}"/>
          </ac:spMkLst>
        </pc:spChg>
        <pc:spChg chg="add mod">
          <ac:chgData name="Safeena Begum Lepakshi" userId="44e4f0de-d6e7-461b-ab64-689bc756e204" providerId="ADAL" clId="{E3EE759B-C4FA-48FB-8678-9CCEE0847AAF}" dt="2025-05-03T10:00:38.707" v="2583" actId="1076"/>
          <ac:spMkLst>
            <pc:docMk/>
            <pc:sldMk cId="2181194867" sldId="258"/>
            <ac:spMk id="9" creationId="{7B5E185D-7FC9-CDB4-1209-7524573EFD1A}"/>
          </ac:spMkLst>
        </pc:spChg>
        <pc:spChg chg="add mod">
          <ac:chgData name="Safeena Begum Lepakshi" userId="44e4f0de-d6e7-461b-ab64-689bc756e204" providerId="ADAL" clId="{E3EE759B-C4FA-48FB-8678-9CCEE0847AAF}" dt="2025-05-03T09:59:47.886" v="2577" actId="1076"/>
          <ac:spMkLst>
            <pc:docMk/>
            <pc:sldMk cId="2181194867" sldId="258"/>
            <ac:spMk id="10" creationId="{ED9E05A9-78EE-81CB-7DBB-C76F0C822655}"/>
          </ac:spMkLst>
        </pc:spChg>
        <pc:spChg chg="mod">
          <ac:chgData name="Safeena Begum Lepakshi" userId="44e4f0de-d6e7-461b-ab64-689bc756e204" providerId="ADAL" clId="{E3EE759B-C4FA-48FB-8678-9CCEE0847AAF}" dt="2025-05-03T09:56:11.019" v="2545" actId="14100"/>
          <ac:spMkLst>
            <pc:docMk/>
            <pc:sldMk cId="2181194867" sldId="258"/>
            <ac:spMk id="100" creationId="{AB752215-D95F-E37E-424E-E12953FB7D37}"/>
          </ac:spMkLst>
        </pc:spChg>
        <pc:spChg chg="mod">
          <ac:chgData name="Safeena Begum Lepakshi" userId="44e4f0de-d6e7-461b-ab64-689bc756e204" providerId="ADAL" clId="{E3EE759B-C4FA-48FB-8678-9CCEE0847AAF}" dt="2025-05-03T09:54:47.756" v="2536"/>
          <ac:spMkLst>
            <pc:docMk/>
            <pc:sldMk cId="2181194867" sldId="258"/>
            <ac:spMk id="101" creationId="{D9DD45CB-2A7A-9CC5-D1EE-CA27C8B33D47}"/>
          </ac:spMkLst>
        </pc:spChg>
        <pc:spChg chg="mod">
          <ac:chgData name="Safeena Begum Lepakshi" userId="44e4f0de-d6e7-461b-ab64-689bc756e204" providerId="ADAL" clId="{E3EE759B-C4FA-48FB-8678-9CCEE0847AAF}" dt="2025-05-03T09:56:56.875" v="2551" actId="1076"/>
          <ac:spMkLst>
            <pc:docMk/>
            <pc:sldMk cId="2181194867" sldId="258"/>
            <ac:spMk id="104" creationId="{E0B86EA7-2F60-10E2-8FF4-4A1332EAB671}"/>
          </ac:spMkLst>
        </pc:spChg>
        <pc:spChg chg="mod">
          <ac:chgData name="Safeena Begum Lepakshi" userId="44e4f0de-d6e7-461b-ab64-689bc756e204" providerId="ADAL" clId="{E3EE759B-C4FA-48FB-8678-9CCEE0847AAF}" dt="2025-05-03T09:57:01.534" v="2552" actId="207"/>
          <ac:spMkLst>
            <pc:docMk/>
            <pc:sldMk cId="2181194867" sldId="258"/>
            <ac:spMk id="105" creationId="{6873F7CA-E557-3363-AB83-D9289954BF31}"/>
          </ac:spMkLst>
        </pc:spChg>
        <pc:spChg chg="mod">
          <ac:chgData name="Safeena Begum Lepakshi" userId="44e4f0de-d6e7-461b-ab64-689bc756e204" providerId="ADAL" clId="{E3EE759B-C4FA-48FB-8678-9CCEE0847AAF}" dt="2025-05-03T09:57:09.942" v="2553" actId="113"/>
          <ac:spMkLst>
            <pc:docMk/>
            <pc:sldMk cId="2181194867" sldId="258"/>
            <ac:spMk id="106" creationId="{9FDA0533-10ED-1D87-A117-8801DA73B342}"/>
          </ac:spMkLst>
        </pc:spChg>
        <pc:spChg chg="mod">
          <ac:chgData name="Safeena Begum Lepakshi" userId="44e4f0de-d6e7-461b-ab64-689bc756e204" providerId="ADAL" clId="{E3EE759B-C4FA-48FB-8678-9CCEE0847AAF}" dt="2025-05-03T09:57:31.623" v="2557" actId="113"/>
          <ac:spMkLst>
            <pc:docMk/>
            <pc:sldMk cId="2181194867" sldId="258"/>
            <ac:spMk id="107" creationId="{6B64CBAF-D101-29CF-5885-DEEB4F45AC11}"/>
          </ac:spMkLst>
        </pc:spChg>
        <pc:spChg chg="mod">
          <ac:chgData name="Safeena Begum Lepakshi" userId="44e4f0de-d6e7-461b-ab64-689bc756e204" providerId="ADAL" clId="{E3EE759B-C4FA-48FB-8678-9CCEE0847AAF}" dt="2025-05-03T09:57:16.781" v="2554" actId="113"/>
          <ac:spMkLst>
            <pc:docMk/>
            <pc:sldMk cId="2181194867" sldId="258"/>
            <ac:spMk id="108" creationId="{42B007BF-B9AB-C03C-4F3E-F079AF85CDAE}"/>
          </ac:spMkLst>
        </pc:spChg>
        <pc:spChg chg="mod">
          <ac:chgData name="Safeena Begum Lepakshi" userId="44e4f0de-d6e7-461b-ab64-689bc756e204" providerId="ADAL" clId="{E3EE759B-C4FA-48FB-8678-9CCEE0847AAF}" dt="2025-05-03T09:57:21.279" v="2555" actId="113"/>
          <ac:spMkLst>
            <pc:docMk/>
            <pc:sldMk cId="2181194867" sldId="258"/>
            <ac:spMk id="109" creationId="{F3F3CE9E-F617-BD32-CD58-8C1A925F644B}"/>
          </ac:spMkLst>
        </pc:spChg>
        <pc:spChg chg="mod">
          <ac:chgData name="Safeena Begum Lepakshi" userId="44e4f0de-d6e7-461b-ab64-689bc756e204" providerId="ADAL" clId="{E3EE759B-C4FA-48FB-8678-9CCEE0847AAF}" dt="2025-05-03T09:57:26.996" v="2556" actId="113"/>
          <ac:spMkLst>
            <pc:docMk/>
            <pc:sldMk cId="2181194867" sldId="258"/>
            <ac:spMk id="110" creationId="{D9DCFDB9-ED38-1C2C-35E2-6999D1798565}"/>
          </ac:spMkLst>
        </pc:spChg>
        <pc:spChg chg="mod">
          <ac:chgData name="Safeena Begum Lepakshi" userId="44e4f0de-d6e7-461b-ab64-689bc756e204" providerId="ADAL" clId="{E3EE759B-C4FA-48FB-8678-9CCEE0847AAF}" dt="2025-05-03T09:54:47.756" v="2536"/>
          <ac:spMkLst>
            <pc:docMk/>
            <pc:sldMk cId="2181194867" sldId="258"/>
            <ac:spMk id="112" creationId="{0D69F753-F742-F5F0-83CB-E7E2F67A13E2}"/>
          </ac:spMkLst>
        </pc:spChg>
        <pc:spChg chg="mod">
          <ac:chgData name="Safeena Begum Lepakshi" userId="44e4f0de-d6e7-461b-ab64-689bc756e204" providerId="ADAL" clId="{E3EE759B-C4FA-48FB-8678-9CCEE0847AAF}" dt="2025-05-03T09:54:47.756" v="2536"/>
          <ac:spMkLst>
            <pc:docMk/>
            <pc:sldMk cId="2181194867" sldId="258"/>
            <ac:spMk id="113" creationId="{2CB317F5-4A34-4F38-589C-56320019C4D7}"/>
          </ac:spMkLst>
        </pc:spChg>
        <pc:spChg chg="mod">
          <ac:chgData name="Safeena Begum Lepakshi" userId="44e4f0de-d6e7-461b-ab64-689bc756e204" providerId="ADAL" clId="{E3EE759B-C4FA-48FB-8678-9CCEE0847AAF}" dt="2025-05-03T09:54:47.756" v="2536"/>
          <ac:spMkLst>
            <pc:docMk/>
            <pc:sldMk cId="2181194867" sldId="258"/>
            <ac:spMk id="114" creationId="{BE5594EF-AB6B-41F7-5BE1-AEC8DEC8680D}"/>
          </ac:spMkLst>
        </pc:spChg>
        <pc:spChg chg="mod">
          <ac:chgData name="Safeena Begum Lepakshi" userId="44e4f0de-d6e7-461b-ab64-689bc756e204" providerId="ADAL" clId="{E3EE759B-C4FA-48FB-8678-9CCEE0847AAF}" dt="2025-05-03T09:54:47.756" v="2536"/>
          <ac:spMkLst>
            <pc:docMk/>
            <pc:sldMk cId="2181194867" sldId="258"/>
            <ac:spMk id="117" creationId="{2CAC92C3-13FC-3EE7-A20D-0E80195F5494}"/>
          </ac:spMkLst>
        </pc:spChg>
        <pc:spChg chg="mod">
          <ac:chgData name="Safeena Begum Lepakshi" userId="44e4f0de-d6e7-461b-ab64-689bc756e204" providerId="ADAL" clId="{E3EE759B-C4FA-48FB-8678-9CCEE0847AAF}" dt="2025-05-03T09:54:47.756" v="2536"/>
          <ac:spMkLst>
            <pc:docMk/>
            <pc:sldMk cId="2181194867" sldId="258"/>
            <ac:spMk id="120" creationId="{16A860B9-DFF5-FE63-5BDD-B01FA9A0A23D}"/>
          </ac:spMkLst>
        </pc:spChg>
        <pc:spChg chg="add mod">
          <ac:chgData name="Safeena Begum Lepakshi" userId="44e4f0de-d6e7-461b-ab64-689bc756e204" providerId="ADAL" clId="{E3EE759B-C4FA-48FB-8678-9CCEE0847AAF}" dt="2025-05-03T09:58:43.682" v="2567" actId="14100"/>
          <ac:spMkLst>
            <pc:docMk/>
            <pc:sldMk cId="2181194867" sldId="258"/>
            <ac:spMk id="122" creationId="{B17D662F-BE89-8230-F76F-92B9BA677C90}"/>
          </ac:spMkLst>
        </pc:spChg>
        <pc:grpChg chg="mod">
          <ac:chgData name="Safeena Begum Lepakshi" userId="44e4f0de-d6e7-461b-ab64-689bc756e204" providerId="ADAL" clId="{E3EE759B-C4FA-48FB-8678-9CCEE0847AAF}" dt="2025-05-03T09:55:05.672" v="2539" actId="14100"/>
          <ac:grpSpMkLst>
            <pc:docMk/>
            <pc:sldMk cId="2181194867" sldId="258"/>
            <ac:grpSpMk id="99" creationId="{C058352A-3D17-A862-DFC7-240D50FA9373}"/>
          </ac:grpSpMkLst>
        </pc:grpChg>
        <pc:picChg chg="add mod">
          <ac:chgData name="Safeena Begum Lepakshi" userId="44e4f0de-d6e7-461b-ab64-689bc756e204" providerId="ADAL" clId="{E3EE759B-C4FA-48FB-8678-9CCEE0847AAF}" dt="2025-05-03T10:03:13.041" v="2617" actId="207"/>
          <ac:picMkLst>
            <pc:docMk/>
            <pc:sldMk cId="2181194867" sldId="258"/>
            <ac:picMk id="124" creationId="{44757E4F-79A4-E09C-DFBF-D33C16A8B580}"/>
          </ac:picMkLst>
        </pc:picChg>
      </pc:sldChg>
      <pc:sldChg chg="mod ord modShow">
        <pc:chgData name="Safeena Begum Lepakshi" userId="44e4f0de-d6e7-461b-ab64-689bc756e204" providerId="ADAL" clId="{E3EE759B-C4FA-48FB-8678-9CCEE0847AAF}" dt="2025-05-02T17:36:51.208" v="1362" actId="729"/>
        <pc:sldMkLst>
          <pc:docMk/>
          <pc:sldMk cId="4056428976" sldId="258"/>
        </pc:sldMkLst>
      </pc:sldChg>
      <pc:sldChg chg="addSp modSp new del mod ord">
        <pc:chgData name="Safeena Begum Lepakshi" userId="44e4f0de-d6e7-461b-ab64-689bc756e204" providerId="ADAL" clId="{E3EE759B-C4FA-48FB-8678-9CCEE0847AAF}" dt="2025-05-04T21:00:47.293" v="4739" actId="47"/>
        <pc:sldMkLst>
          <pc:docMk/>
          <pc:sldMk cId="758177774" sldId="259"/>
        </pc:sldMkLst>
      </pc:sldChg>
      <pc:sldChg chg="addSp modSp new mod setBg modAnim modShow modNotesTx">
        <pc:chgData name="Safeena Begum Lepakshi" userId="44e4f0de-d6e7-461b-ab64-689bc756e204" providerId="ADAL" clId="{E3EE759B-C4FA-48FB-8678-9CCEE0847AAF}" dt="2025-05-07T19:05:26.162" v="5138" actId="729"/>
        <pc:sldMkLst>
          <pc:docMk/>
          <pc:sldMk cId="967239336" sldId="259"/>
        </pc:sldMkLst>
        <pc:picChg chg="add mod">
          <ac:chgData name="Safeena Begum Lepakshi" userId="44e4f0de-d6e7-461b-ab64-689bc756e204" providerId="ADAL" clId="{E3EE759B-C4FA-48FB-8678-9CCEE0847AAF}" dt="2025-05-04T21:26:51.774" v="4804" actId="14100"/>
          <ac:picMkLst>
            <pc:docMk/>
            <pc:sldMk cId="967239336" sldId="259"/>
            <ac:picMk id="3" creationId="{C912DD9A-79BE-9A93-0144-96E66ABBF0C4}"/>
          </ac:picMkLst>
        </pc:picChg>
      </pc:sldChg>
      <pc:sldChg chg="add mod modShow">
        <pc:chgData name="Safeena Begum Lepakshi" userId="44e4f0de-d6e7-461b-ab64-689bc756e204" providerId="ADAL" clId="{E3EE759B-C4FA-48FB-8678-9CCEE0847AAF}" dt="2025-05-02T17:36:51.208" v="1362" actId="729"/>
        <pc:sldMkLst>
          <pc:docMk/>
          <pc:sldMk cId="1697685817" sldId="259"/>
        </pc:sldMkLst>
      </pc:sldChg>
      <pc:sldChg chg="addSp modSp new del mod">
        <pc:chgData name="Safeena Begum Lepakshi" userId="44e4f0de-d6e7-461b-ab64-689bc756e204" providerId="ADAL" clId="{E3EE759B-C4FA-48FB-8678-9CCEE0847AAF}" dt="2025-05-04T20:18:08.550" v="4520" actId="47"/>
        <pc:sldMkLst>
          <pc:docMk/>
          <pc:sldMk cId="3596328601" sldId="259"/>
        </pc:sldMkLst>
      </pc:sldChg>
      <pc:sldChg chg="del ord">
        <pc:chgData name="Safeena Begum Lepakshi" userId="44e4f0de-d6e7-461b-ab64-689bc756e204" providerId="ADAL" clId="{E3EE759B-C4FA-48FB-8678-9CCEE0847AAF}" dt="2025-04-21T06:09:29.811" v="286" actId="47"/>
        <pc:sldMkLst>
          <pc:docMk/>
          <pc:sldMk cId="3933589607" sldId="259"/>
        </pc:sldMkLst>
      </pc:sldChg>
      <pc:sldChg chg="add del">
        <pc:chgData name="Safeena Begum Lepakshi" userId="44e4f0de-d6e7-461b-ab64-689bc756e204" providerId="ADAL" clId="{E3EE759B-C4FA-48FB-8678-9CCEE0847AAF}" dt="2025-05-06T02:10:31.410" v="4877" actId="2696"/>
        <pc:sldMkLst>
          <pc:docMk/>
          <pc:sldMk cId="395308258" sldId="260"/>
        </pc:sldMkLst>
      </pc:sldChg>
      <pc:sldChg chg="add mod modShow">
        <pc:chgData name="Safeena Begum Lepakshi" userId="44e4f0de-d6e7-461b-ab64-689bc756e204" providerId="ADAL" clId="{E3EE759B-C4FA-48FB-8678-9CCEE0847AAF}" dt="2025-05-02T17:36:51.208" v="1362" actId="729"/>
        <pc:sldMkLst>
          <pc:docMk/>
          <pc:sldMk cId="604902482" sldId="260"/>
        </pc:sldMkLst>
      </pc:sldChg>
      <pc:sldChg chg="new del">
        <pc:chgData name="Safeena Begum Lepakshi" userId="44e4f0de-d6e7-461b-ab64-689bc756e204" providerId="ADAL" clId="{E3EE759B-C4FA-48FB-8678-9CCEE0847AAF}" dt="2025-05-06T02:11:01" v="4885" actId="47"/>
        <pc:sldMkLst>
          <pc:docMk/>
          <pc:sldMk cId="2026433101" sldId="260"/>
        </pc:sldMkLst>
      </pc:sldChg>
      <pc:sldChg chg="addSp new del">
        <pc:chgData name="Safeena Begum Lepakshi" userId="44e4f0de-d6e7-461b-ab64-689bc756e204" providerId="ADAL" clId="{E3EE759B-C4FA-48FB-8678-9CCEE0847AAF}" dt="2025-05-06T02:10:03.267" v="4875" actId="47"/>
        <pc:sldMkLst>
          <pc:docMk/>
          <pc:sldMk cId="3419045826" sldId="260"/>
        </pc:sldMkLst>
      </pc:sldChg>
      <pc:sldChg chg="addSp delSp modSp add del mod ord addAnim delAnim modAnim modNotesTx">
        <pc:chgData name="Safeena Begum Lepakshi" userId="44e4f0de-d6e7-461b-ab64-689bc756e204" providerId="ADAL" clId="{E3EE759B-C4FA-48FB-8678-9CCEE0847AAF}" dt="2025-05-04T21:27:45.210" v="4805" actId="47"/>
        <pc:sldMkLst>
          <pc:docMk/>
          <pc:sldMk cId="3912415067" sldId="260"/>
        </pc:sldMkLst>
      </pc:sldChg>
      <pc:sldChg chg="addSp delSp modSp add mod modNotesTx">
        <pc:chgData name="Safeena Begum Lepakshi" userId="44e4f0de-d6e7-461b-ab64-689bc756e204" providerId="ADAL" clId="{E3EE759B-C4FA-48FB-8678-9CCEE0847AAF}" dt="2025-05-08T04:36:33.446" v="5390" actId="20577"/>
        <pc:sldMkLst>
          <pc:docMk/>
          <pc:sldMk cId="1389862536" sldId="261"/>
        </pc:sldMkLst>
        <pc:spChg chg="add del">
          <ac:chgData name="Safeena Begum Lepakshi" userId="44e4f0de-d6e7-461b-ab64-689bc756e204" providerId="ADAL" clId="{E3EE759B-C4FA-48FB-8678-9CCEE0847AAF}" dt="2025-05-07T19:27:31.143" v="5158" actId="478"/>
          <ac:spMkLst>
            <pc:docMk/>
            <pc:sldMk cId="1389862536" sldId="261"/>
            <ac:spMk id="3" creationId="{C4AB9284-35BC-33A3-4A65-E0542184715A}"/>
          </ac:spMkLst>
        </pc:spChg>
        <pc:spChg chg="add mod">
          <ac:chgData name="Safeena Begum Lepakshi" userId="44e4f0de-d6e7-461b-ab64-689bc756e204" providerId="ADAL" clId="{E3EE759B-C4FA-48FB-8678-9CCEE0847AAF}" dt="2025-05-07T21:07:04.409" v="5357" actId="20577"/>
          <ac:spMkLst>
            <pc:docMk/>
            <pc:sldMk cId="1389862536" sldId="261"/>
            <ac:spMk id="7" creationId="{71D5BF97-0244-06F0-B4AD-30FE60CDFE0D}"/>
          </ac:spMkLst>
        </pc:spChg>
        <pc:spChg chg="add mod">
          <ac:chgData name="Safeena Begum Lepakshi" userId="44e4f0de-d6e7-461b-ab64-689bc756e204" providerId="ADAL" clId="{E3EE759B-C4FA-48FB-8678-9CCEE0847AAF}" dt="2025-05-03T08:59:51.991" v="1965" actId="122"/>
          <ac:spMkLst>
            <pc:docMk/>
            <pc:sldMk cId="1389862536" sldId="261"/>
            <ac:spMk id="8" creationId="{1C7468DC-EA65-A8F3-5575-6AFCBC5949AE}"/>
          </ac:spMkLst>
        </pc:spChg>
        <pc:spChg chg="mod">
          <ac:chgData name="Safeena Begum Lepakshi" userId="44e4f0de-d6e7-461b-ab64-689bc756e204" providerId="ADAL" clId="{E3EE759B-C4FA-48FB-8678-9CCEE0847AAF}" dt="2025-05-02T21:48:49.824" v="1769" actId="1076"/>
          <ac:spMkLst>
            <pc:docMk/>
            <pc:sldMk cId="1389862536" sldId="261"/>
            <ac:spMk id="15" creationId="{5B5CDCAD-ECAC-2E68-779C-6D8AF68AC7DA}"/>
          </ac:spMkLst>
        </pc:spChg>
        <pc:spChg chg="mod">
          <ac:chgData name="Safeena Begum Lepakshi" userId="44e4f0de-d6e7-461b-ab64-689bc756e204" providerId="ADAL" clId="{E3EE759B-C4FA-48FB-8678-9CCEE0847AAF}" dt="2025-05-03T08:59:31.424" v="1962" actId="1076"/>
          <ac:spMkLst>
            <pc:docMk/>
            <pc:sldMk cId="1389862536" sldId="261"/>
            <ac:spMk id="18" creationId="{37E85B50-C22E-376E-4CD4-C4B18915EA4E}"/>
          </ac:spMkLst>
        </pc:spChg>
        <pc:spChg chg="mod">
          <ac:chgData name="Safeena Begum Lepakshi" userId="44e4f0de-d6e7-461b-ab64-689bc756e204" providerId="ADAL" clId="{E3EE759B-C4FA-48FB-8678-9CCEE0847AAF}" dt="2025-05-03T08:53:45.149" v="1959" actId="1076"/>
          <ac:spMkLst>
            <pc:docMk/>
            <pc:sldMk cId="1389862536" sldId="261"/>
            <ac:spMk id="21" creationId="{AC381EE3-8430-B284-508E-F69B6F566A16}"/>
          </ac:spMkLst>
        </pc:spChg>
        <pc:picChg chg="add mod">
          <ac:chgData name="Safeena Begum Lepakshi" userId="44e4f0de-d6e7-461b-ab64-689bc756e204" providerId="ADAL" clId="{E3EE759B-C4FA-48FB-8678-9CCEE0847AAF}" dt="2025-05-03T10:13:49.124" v="2661" actId="1076"/>
          <ac:picMkLst>
            <pc:docMk/>
            <pc:sldMk cId="1389862536" sldId="261"/>
            <ac:picMk id="9" creationId="{DF00017E-32D2-825E-E6D7-8F7D6CA1EE8E}"/>
          </ac:picMkLst>
        </pc:picChg>
      </pc:sldChg>
      <pc:sldChg chg="add mod modShow">
        <pc:chgData name="Safeena Begum Lepakshi" userId="44e4f0de-d6e7-461b-ab64-689bc756e204" providerId="ADAL" clId="{E3EE759B-C4FA-48FB-8678-9CCEE0847AAF}" dt="2025-05-02T17:36:51.208" v="1362" actId="729"/>
        <pc:sldMkLst>
          <pc:docMk/>
          <pc:sldMk cId="4063293255" sldId="261"/>
        </pc:sldMkLst>
      </pc:sldChg>
      <pc:sldChg chg="modSp add del mod modShow">
        <pc:chgData name="Safeena Begum Lepakshi" userId="44e4f0de-d6e7-461b-ab64-689bc756e204" providerId="ADAL" clId="{E3EE759B-C4FA-48FB-8678-9CCEE0847AAF}" dt="2025-05-02T17:36:51.208" v="1362" actId="729"/>
        <pc:sldMkLst>
          <pc:docMk/>
          <pc:sldMk cId="74011569" sldId="262"/>
        </pc:sldMkLst>
      </pc:sldChg>
      <pc:sldChg chg="addSp modSp new del mod">
        <pc:chgData name="Safeena Begum Lepakshi" userId="44e4f0de-d6e7-461b-ab64-689bc756e204" providerId="ADAL" clId="{E3EE759B-C4FA-48FB-8678-9CCEE0847AAF}" dt="2025-05-07T21:14:01.085" v="5362" actId="47"/>
        <pc:sldMkLst>
          <pc:docMk/>
          <pc:sldMk cId="579719919" sldId="262"/>
        </pc:sldMkLst>
        <pc:picChg chg="add mod">
          <ac:chgData name="Safeena Begum Lepakshi" userId="44e4f0de-d6e7-461b-ab64-689bc756e204" providerId="ADAL" clId="{E3EE759B-C4FA-48FB-8678-9CCEE0847AAF}" dt="2025-05-07T21:13:55.444" v="5361" actId="14100"/>
          <ac:picMkLst>
            <pc:docMk/>
            <pc:sldMk cId="579719919" sldId="262"/>
            <ac:picMk id="2" creationId="{A40387A2-DF8B-1B8A-9E2E-3480966BA89A}"/>
          </ac:picMkLst>
        </pc:picChg>
      </pc:sldChg>
      <pc:sldChg chg="modSp add del mod">
        <pc:chgData name="Safeena Begum Lepakshi" userId="44e4f0de-d6e7-461b-ab64-689bc756e204" providerId="ADAL" clId="{E3EE759B-C4FA-48FB-8678-9CCEE0847AAF}" dt="2025-05-06T02:10:56.580" v="4884" actId="47"/>
        <pc:sldMkLst>
          <pc:docMk/>
          <pc:sldMk cId="3114574194" sldId="262"/>
        </pc:sldMkLst>
      </pc:sldChg>
      <pc:sldChg chg="addSp modSp new del mod">
        <pc:chgData name="Safeena Begum Lepakshi" userId="44e4f0de-d6e7-461b-ab64-689bc756e204" providerId="ADAL" clId="{E3EE759B-C4FA-48FB-8678-9CCEE0847AAF}" dt="2025-05-07T21:03:09.879" v="5340" actId="47"/>
        <pc:sldMkLst>
          <pc:docMk/>
          <pc:sldMk cId="3727942810" sldId="262"/>
        </pc:sldMkLst>
        <pc:spChg chg="add mod">
          <ac:chgData name="Safeena Begum Lepakshi" userId="44e4f0de-d6e7-461b-ab64-689bc756e204" providerId="ADAL" clId="{E3EE759B-C4FA-48FB-8678-9CCEE0847AAF}" dt="2025-05-07T20:59:33.546" v="5304" actId="1076"/>
          <ac:spMkLst>
            <pc:docMk/>
            <pc:sldMk cId="3727942810" sldId="262"/>
            <ac:spMk id="2" creationId="{42A761EF-C3E0-FC73-BF38-45B934A992C6}"/>
          </ac:spMkLst>
        </pc:spChg>
        <pc:spChg chg="add mod">
          <ac:chgData name="Safeena Begum Lepakshi" userId="44e4f0de-d6e7-461b-ab64-689bc756e204" providerId="ADAL" clId="{E3EE759B-C4FA-48FB-8678-9CCEE0847AAF}" dt="2025-05-07T20:59:47.692" v="5307" actId="1076"/>
          <ac:spMkLst>
            <pc:docMk/>
            <pc:sldMk cId="3727942810" sldId="262"/>
            <ac:spMk id="3" creationId="{5843F87C-146D-5068-6E1E-A0F729EF59C3}"/>
          </ac:spMkLst>
        </pc:spChg>
      </pc:sldChg>
      <pc:sldChg chg="modSp add del mod">
        <pc:chgData name="Safeena Begum Lepakshi" userId="44e4f0de-d6e7-461b-ab64-689bc756e204" providerId="ADAL" clId="{E3EE759B-C4FA-48FB-8678-9CCEE0847AAF}" dt="2025-05-06T02:10:55.113" v="4883" actId="47"/>
        <pc:sldMkLst>
          <pc:docMk/>
          <pc:sldMk cId="758758413" sldId="263"/>
        </pc:sldMkLst>
      </pc:sldChg>
      <pc:sldChg chg="modSp add del mod modShow">
        <pc:chgData name="Safeena Begum Lepakshi" userId="44e4f0de-d6e7-461b-ab64-689bc756e204" providerId="ADAL" clId="{E3EE759B-C4FA-48FB-8678-9CCEE0847AAF}" dt="2025-05-02T17:36:51.208" v="1362" actId="729"/>
        <pc:sldMkLst>
          <pc:docMk/>
          <pc:sldMk cId="1016132568" sldId="263"/>
        </pc:sldMkLst>
      </pc:sldChg>
      <pc:sldChg chg="add mod modShow">
        <pc:chgData name="Safeena Begum Lepakshi" userId="44e4f0de-d6e7-461b-ab64-689bc756e204" providerId="ADAL" clId="{E3EE759B-C4FA-48FB-8678-9CCEE0847AAF}" dt="2025-05-02T17:36:51.208" v="1362" actId="729"/>
        <pc:sldMkLst>
          <pc:docMk/>
          <pc:sldMk cId="1569439365" sldId="264"/>
        </pc:sldMkLst>
      </pc:sldChg>
      <pc:sldChg chg="add mod modShow">
        <pc:chgData name="Safeena Begum Lepakshi" userId="44e4f0de-d6e7-461b-ab64-689bc756e204" providerId="ADAL" clId="{E3EE759B-C4FA-48FB-8678-9CCEE0847AAF}" dt="2025-05-02T17:36:51.208" v="1362" actId="729"/>
        <pc:sldMkLst>
          <pc:docMk/>
          <pc:sldMk cId="2445464342" sldId="265"/>
        </pc:sldMkLst>
      </pc:sldChg>
      <pc:sldChg chg="add mod modShow">
        <pc:chgData name="Safeena Begum Lepakshi" userId="44e4f0de-d6e7-461b-ab64-689bc756e204" providerId="ADAL" clId="{E3EE759B-C4FA-48FB-8678-9CCEE0847AAF}" dt="2025-05-02T17:36:51.208" v="1362" actId="729"/>
        <pc:sldMkLst>
          <pc:docMk/>
          <pc:sldMk cId="3307957510" sldId="266"/>
        </pc:sldMkLst>
      </pc:sldChg>
      <pc:sldChg chg="modNotesTx">
        <pc:chgData name="Safeena Begum Lepakshi" userId="44e4f0de-d6e7-461b-ab64-689bc756e204" providerId="ADAL" clId="{E3EE759B-C4FA-48FB-8678-9CCEE0847AAF}" dt="2025-05-08T04:37:47.106" v="5400" actId="20577"/>
        <pc:sldMkLst>
          <pc:docMk/>
          <pc:sldMk cId="3761912492" sldId="267"/>
        </pc:sldMkLst>
      </pc:sldChg>
      <pc:sldChg chg="add ord">
        <pc:chgData name="Safeena Begum Lepakshi" userId="44e4f0de-d6e7-461b-ab64-689bc756e204" providerId="ADAL" clId="{E3EE759B-C4FA-48FB-8678-9CCEE0847AAF}" dt="2025-04-30T14:14:51.421" v="856"/>
        <pc:sldMkLst>
          <pc:docMk/>
          <pc:sldMk cId="1317005661" sldId="268"/>
        </pc:sldMkLst>
      </pc:sldChg>
      <pc:sldChg chg="del mod modShow">
        <pc:chgData name="Safeena Begum Lepakshi" userId="44e4f0de-d6e7-461b-ab64-689bc756e204" providerId="ADAL" clId="{E3EE759B-C4FA-48FB-8678-9CCEE0847AAF}" dt="2025-05-02T20:53:59.297" v="1667" actId="47"/>
        <pc:sldMkLst>
          <pc:docMk/>
          <pc:sldMk cId="1400930065" sldId="268"/>
        </pc:sldMkLst>
      </pc:sldChg>
      <pc:sldChg chg="add del modTransition">
        <pc:chgData name="Safeena Begum Lepakshi" userId="44e4f0de-d6e7-461b-ab64-689bc756e204" providerId="ADAL" clId="{E3EE759B-C4FA-48FB-8678-9CCEE0847AAF}" dt="2025-04-28T00:03:30.567" v="422"/>
        <pc:sldMkLst>
          <pc:docMk/>
          <pc:sldMk cId="3690593569" sldId="268"/>
        </pc:sldMkLst>
      </pc:sldChg>
      <pc:sldChg chg="addSp delSp modSp add del mod ord modNotesTx">
        <pc:chgData name="Safeena Begum Lepakshi" userId="44e4f0de-d6e7-461b-ab64-689bc756e204" providerId="ADAL" clId="{E3EE759B-C4FA-48FB-8678-9CCEE0847AAF}" dt="2025-05-01T08:48:29.442" v="1341" actId="404"/>
        <pc:sldMkLst>
          <pc:docMk/>
          <pc:sldMk cId="3115850851" sldId="270"/>
        </pc:sldMkLst>
      </pc:sldChg>
      <pc:sldChg chg="modSp add del mod modNotesTx">
        <pc:chgData name="Safeena Begum Lepakshi" userId="44e4f0de-d6e7-461b-ab64-689bc756e204" providerId="ADAL" clId="{E3EE759B-C4FA-48FB-8678-9CCEE0847AAF}" dt="2025-05-03T09:00:04.657" v="1966" actId="47"/>
        <pc:sldMkLst>
          <pc:docMk/>
          <pc:sldMk cId="2858225452" sldId="271"/>
        </pc:sldMkLst>
      </pc:sldChg>
      <pc:sldChg chg="add mod modShow">
        <pc:chgData name="Safeena Begum Lepakshi" userId="44e4f0de-d6e7-461b-ab64-689bc756e204" providerId="ADAL" clId="{E3EE759B-C4FA-48FB-8678-9CCEE0847AAF}" dt="2025-05-01T08:50:04.650" v="1354" actId="729"/>
        <pc:sldMkLst>
          <pc:docMk/>
          <pc:sldMk cId="1715018833" sldId="272"/>
        </pc:sldMkLst>
      </pc:sldChg>
      <pc:sldChg chg="modSp add del mod setBg modShow">
        <pc:chgData name="Safeena Begum Lepakshi" userId="44e4f0de-d6e7-461b-ab64-689bc756e204" providerId="ADAL" clId="{E3EE759B-C4FA-48FB-8678-9CCEE0847AAF}" dt="2025-04-30T14:17:35.965" v="901" actId="47"/>
        <pc:sldMkLst>
          <pc:docMk/>
          <pc:sldMk cId="75154034" sldId="273"/>
        </pc:sldMkLst>
      </pc:sldChg>
      <pc:sldChg chg="addSp delSp modSp add mod addAnim delAnim modAnim">
        <pc:chgData name="Safeena Begum Lepakshi" userId="44e4f0de-d6e7-461b-ab64-689bc756e204" providerId="ADAL" clId="{E3EE759B-C4FA-48FB-8678-9CCEE0847AAF}" dt="2025-05-01T08:26:16.840" v="1266" actId="1038"/>
        <pc:sldMkLst>
          <pc:docMk/>
          <pc:sldMk cId="2918561252" sldId="273"/>
        </pc:sldMkLst>
      </pc:sldChg>
      <pc:sldChg chg="add del mod modShow modNotesTx">
        <pc:chgData name="Safeena Begum Lepakshi" userId="44e4f0de-d6e7-461b-ab64-689bc756e204" providerId="ADAL" clId="{E3EE759B-C4FA-48FB-8678-9CCEE0847AAF}" dt="2025-05-01T08:50:04.650" v="1354" actId="729"/>
        <pc:sldMkLst>
          <pc:docMk/>
          <pc:sldMk cId="70000188" sldId="274"/>
        </pc:sldMkLst>
      </pc:sldChg>
      <pc:sldChg chg="mod ord modShow">
        <pc:chgData name="Safeena Begum Lepakshi" userId="44e4f0de-d6e7-461b-ab64-689bc756e204" providerId="ADAL" clId="{E3EE759B-C4FA-48FB-8678-9CCEE0847AAF}" dt="2025-05-02T17:36:51.208" v="1362" actId="729"/>
        <pc:sldMkLst>
          <pc:docMk/>
          <pc:sldMk cId="1791441293" sldId="276"/>
        </pc:sldMkLst>
      </pc:sldChg>
      <pc:sldChg chg="mod modShow">
        <pc:chgData name="Safeena Begum Lepakshi" userId="44e4f0de-d6e7-461b-ab64-689bc756e204" providerId="ADAL" clId="{E3EE759B-C4FA-48FB-8678-9CCEE0847AAF}" dt="2025-05-02T17:36:51.208" v="1362" actId="729"/>
        <pc:sldMkLst>
          <pc:docMk/>
          <pc:sldMk cId="3972483064" sldId="277"/>
        </pc:sldMkLst>
      </pc:sldChg>
      <pc:sldChg chg="modSp add del mod modShow">
        <pc:chgData name="Safeena Begum Lepakshi" userId="44e4f0de-d6e7-461b-ab64-689bc756e204" providerId="ADAL" clId="{E3EE759B-C4FA-48FB-8678-9CCEE0847AAF}" dt="2025-04-27T23:53:05.673" v="397" actId="47"/>
        <pc:sldMkLst>
          <pc:docMk/>
          <pc:sldMk cId="2928764466" sldId="278"/>
        </pc:sldMkLst>
      </pc:sldChg>
      <pc:sldChg chg="add del mod modShow">
        <pc:chgData name="Safeena Begum Lepakshi" userId="44e4f0de-d6e7-461b-ab64-689bc756e204" providerId="ADAL" clId="{E3EE759B-C4FA-48FB-8678-9CCEE0847AAF}" dt="2025-05-02T17:37:56.328" v="1369" actId="47"/>
        <pc:sldMkLst>
          <pc:docMk/>
          <pc:sldMk cId="3115881067" sldId="279"/>
        </pc:sldMkLst>
      </pc:sldChg>
      <pc:sldChg chg="add del mod modShow">
        <pc:chgData name="Safeena Begum Lepakshi" userId="44e4f0de-d6e7-461b-ab64-689bc756e204" providerId="ADAL" clId="{E3EE759B-C4FA-48FB-8678-9CCEE0847AAF}" dt="2025-05-02T17:36:51.208" v="1362" actId="729"/>
        <pc:sldMkLst>
          <pc:docMk/>
          <pc:sldMk cId="1233697860" sldId="280"/>
        </pc:sldMkLst>
      </pc:sldChg>
      <pc:sldChg chg="add del mod modShow">
        <pc:chgData name="Safeena Begum Lepakshi" userId="44e4f0de-d6e7-461b-ab64-689bc756e204" providerId="ADAL" clId="{E3EE759B-C4FA-48FB-8678-9CCEE0847AAF}" dt="2025-05-02T17:36:51.208" v="1362" actId="729"/>
        <pc:sldMkLst>
          <pc:docMk/>
          <pc:sldMk cId="3157775253" sldId="281"/>
        </pc:sldMkLst>
      </pc:sldChg>
      <pc:sldChg chg="add del mod modShow">
        <pc:chgData name="Safeena Begum Lepakshi" userId="44e4f0de-d6e7-461b-ab64-689bc756e204" providerId="ADAL" clId="{E3EE759B-C4FA-48FB-8678-9CCEE0847AAF}" dt="2025-05-02T17:36:51.208" v="1362" actId="729"/>
        <pc:sldMkLst>
          <pc:docMk/>
          <pc:sldMk cId="4273413535" sldId="282"/>
        </pc:sldMkLst>
      </pc:sldChg>
      <pc:sldChg chg="add del mod modShow">
        <pc:chgData name="Safeena Begum Lepakshi" userId="44e4f0de-d6e7-461b-ab64-689bc756e204" providerId="ADAL" clId="{E3EE759B-C4FA-48FB-8678-9CCEE0847AAF}" dt="2025-05-02T17:36:51.208" v="1362" actId="729"/>
        <pc:sldMkLst>
          <pc:docMk/>
          <pc:sldMk cId="756651163" sldId="283"/>
        </pc:sldMkLst>
      </pc:sldChg>
      <pc:sldChg chg="new del">
        <pc:chgData name="Safeena Begum Lepakshi" userId="44e4f0de-d6e7-461b-ab64-689bc756e204" providerId="ADAL" clId="{E3EE759B-C4FA-48FB-8678-9CCEE0847AAF}" dt="2025-05-01T08:47:52.733" v="1281" actId="47"/>
        <pc:sldMkLst>
          <pc:docMk/>
          <pc:sldMk cId="2408509442" sldId="284"/>
        </pc:sldMkLst>
      </pc:sldChg>
      <pc:sldChg chg="new del">
        <pc:chgData name="Safeena Begum Lepakshi" userId="44e4f0de-d6e7-461b-ab64-689bc756e204" providerId="ADAL" clId="{E3EE759B-C4FA-48FB-8678-9CCEE0847AAF}" dt="2025-05-01T08:47:05.921" v="1276" actId="47"/>
        <pc:sldMkLst>
          <pc:docMk/>
          <pc:sldMk cId="3296069867" sldId="284"/>
        </pc:sldMkLst>
      </pc:sldChg>
      <pc:sldChg chg="add">
        <pc:chgData name="Safeena Begum Lepakshi" userId="44e4f0de-d6e7-461b-ab64-689bc756e204" providerId="ADAL" clId="{E3EE759B-C4FA-48FB-8678-9CCEE0847AAF}" dt="2025-05-01T08:50:40.769" v="1355"/>
        <pc:sldMkLst>
          <pc:docMk/>
          <pc:sldMk cId="3575004653" sldId="284"/>
        </pc:sldMkLst>
      </pc:sldChg>
      <pc:sldChg chg="add del mod modShow">
        <pc:chgData name="Safeena Begum Lepakshi" userId="44e4f0de-d6e7-461b-ab64-689bc756e204" providerId="ADAL" clId="{E3EE759B-C4FA-48FB-8678-9CCEE0847AAF}" dt="2025-05-02T17:36:51.208" v="1362" actId="729"/>
        <pc:sldMkLst>
          <pc:docMk/>
          <pc:sldMk cId="3962841755" sldId="285"/>
        </pc:sldMkLst>
      </pc:sldChg>
      <pc:sldChg chg="mod modShow">
        <pc:chgData name="Safeena Begum Lepakshi" userId="44e4f0de-d6e7-461b-ab64-689bc756e204" providerId="ADAL" clId="{E3EE759B-C4FA-48FB-8678-9CCEE0847AAF}" dt="2025-05-02T17:36:51.208" v="1362" actId="729"/>
        <pc:sldMkLst>
          <pc:docMk/>
          <pc:sldMk cId="1093561080" sldId="286"/>
        </pc:sldMkLst>
      </pc:sldChg>
      <pc:sldChg chg="delSp add modTransition setBg delDesignElem">
        <pc:chgData name="Safeena Begum Lepakshi" userId="44e4f0de-d6e7-461b-ab64-689bc756e204" providerId="ADAL" clId="{E3EE759B-C4FA-48FB-8678-9CCEE0847AAF}" dt="2025-05-02T17:37:47.992" v="1368"/>
        <pc:sldMkLst>
          <pc:docMk/>
          <pc:sldMk cId="1884756846" sldId="287"/>
        </pc:sldMkLst>
      </pc:sldChg>
      <pc:sldChg chg="add del">
        <pc:chgData name="Safeena Begum Lepakshi" userId="44e4f0de-d6e7-461b-ab64-689bc756e204" providerId="ADAL" clId="{E3EE759B-C4FA-48FB-8678-9CCEE0847AAF}" dt="2025-05-01T08:46:29.428" v="1274" actId="47"/>
        <pc:sldMkLst>
          <pc:docMk/>
          <pc:sldMk cId="2111804985" sldId="288"/>
        </pc:sldMkLst>
      </pc:sldChg>
      <pc:sldChg chg="add modTransition">
        <pc:chgData name="Safeena Begum Lepakshi" userId="44e4f0de-d6e7-461b-ab64-689bc756e204" providerId="ADAL" clId="{E3EE759B-C4FA-48FB-8678-9CCEE0847AAF}" dt="2025-05-02T17:37:47.992" v="1368"/>
        <pc:sldMkLst>
          <pc:docMk/>
          <pc:sldMk cId="3713410046" sldId="288"/>
        </pc:sldMkLst>
      </pc:sldChg>
      <pc:sldChg chg="add del mod ord modShow">
        <pc:chgData name="Safeena Begum Lepakshi" userId="44e4f0de-d6e7-461b-ab64-689bc756e204" providerId="ADAL" clId="{E3EE759B-C4FA-48FB-8678-9CCEE0847AAF}" dt="2025-05-01T08:50:04.650" v="1354" actId="729"/>
        <pc:sldMkLst>
          <pc:docMk/>
          <pc:sldMk cId="3504579776" sldId="289"/>
        </pc:sldMkLst>
      </pc:sldChg>
      <pc:sldChg chg="add modTransition">
        <pc:chgData name="Safeena Begum Lepakshi" userId="44e4f0de-d6e7-461b-ab64-689bc756e204" providerId="ADAL" clId="{E3EE759B-C4FA-48FB-8678-9CCEE0847AAF}" dt="2025-05-02T17:37:47.992" v="1368"/>
        <pc:sldMkLst>
          <pc:docMk/>
          <pc:sldMk cId="759678739" sldId="290"/>
        </pc:sldMkLst>
      </pc:sldChg>
      <pc:sldChg chg="add del">
        <pc:chgData name="Safeena Begum Lepakshi" userId="44e4f0de-d6e7-461b-ab64-689bc756e204" providerId="ADAL" clId="{E3EE759B-C4FA-48FB-8678-9CCEE0847AAF}" dt="2025-05-01T08:46:29.428" v="1274" actId="47"/>
        <pc:sldMkLst>
          <pc:docMk/>
          <pc:sldMk cId="1256107778" sldId="290"/>
        </pc:sldMkLst>
      </pc:sldChg>
      <pc:sldChg chg="modNotesTx">
        <pc:chgData name="Safeena Begum Lepakshi" userId="44e4f0de-d6e7-461b-ab64-689bc756e204" providerId="ADAL" clId="{E3EE759B-C4FA-48FB-8678-9CCEE0847AAF}" dt="2025-05-08T04:38:21.710" v="5406" actId="20577"/>
        <pc:sldMkLst>
          <pc:docMk/>
          <pc:sldMk cId="1476051316" sldId="290"/>
        </pc:sldMkLst>
      </pc:sldChg>
      <pc:sldChg chg="add del">
        <pc:chgData name="Safeena Begum Lepakshi" userId="44e4f0de-d6e7-461b-ab64-689bc756e204" providerId="ADAL" clId="{E3EE759B-C4FA-48FB-8678-9CCEE0847AAF}" dt="2025-05-01T08:46:29.428" v="1274" actId="47"/>
        <pc:sldMkLst>
          <pc:docMk/>
          <pc:sldMk cId="2860295085" sldId="291"/>
        </pc:sldMkLst>
      </pc:sldChg>
      <pc:sldChg chg="add del ord setBg">
        <pc:chgData name="Safeena Begum Lepakshi" userId="44e4f0de-d6e7-461b-ab64-689bc756e204" providerId="ADAL" clId="{E3EE759B-C4FA-48FB-8678-9CCEE0847AAF}" dt="2025-05-02T20:35:10.378" v="1658"/>
        <pc:sldMkLst>
          <pc:docMk/>
          <pc:sldMk cId="3423567103" sldId="291"/>
        </pc:sldMkLst>
      </pc:sldChg>
      <pc:sldChg chg="delSp add modTransition setBg delDesignElem">
        <pc:chgData name="Safeena Begum Lepakshi" userId="44e4f0de-d6e7-461b-ab64-689bc756e204" providerId="ADAL" clId="{E3EE759B-C4FA-48FB-8678-9CCEE0847AAF}" dt="2025-05-02T17:37:47.992" v="1368"/>
        <pc:sldMkLst>
          <pc:docMk/>
          <pc:sldMk cId="3595058816" sldId="291"/>
        </pc:sldMkLst>
      </pc:sldChg>
      <pc:sldChg chg="add modTransition">
        <pc:chgData name="Safeena Begum Lepakshi" userId="44e4f0de-d6e7-461b-ab64-689bc756e204" providerId="ADAL" clId="{E3EE759B-C4FA-48FB-8678-9CCEE0847AAF}" dt="2025-05-02T17:37:47.992" v="1368"/>
        <pc:sldMkLst>
          <pc:docMk/>
          <pc:sldMk cId="546826912" sldId="292"/>
        </pc:sldMkLst>
      </pc:sldChg>
      <pc:sldChg chg="modNotesTx">
        <pc:chgData name="Safeena Begum Lepakshi" userId="44e4f0de-d6e7-461b-ab64-689bc756e204" providerId="ADAL" clId="{E3EE759B-C4FA-48FB-8678-9CCEE0847AAF}" dt="2025-05-08T04:38:43.163" v="5409" actId="20577"/>
        <pc:sldMkLst>
          <pc:docMk/>
          <pc:sldMk cId="745375629" sldId="292"/>
        </pc:sldMkLst>
      </pc:sldChg>
      <pc:sldChg chg="add del">
        <pc:chgData name="Safeena Begum Lepakshi" userId="44e4f0de-d6e7-461b-ab64-689bc756e204" providerId="ADAL" clId="{E3EE759B-C4FA-48FB-8678-9CCEE0847AAF}" dt="2025-05-01T08:46:29.428" v="1274" actId="47"/>
        <pc:sldMkLst>
          <pc:docMk/>
          <pc:sldMk cId="3472324315" sldId="292"/>
        </pc:sldMkLst>
      </pc:sldChg>
      <pc:sldChg chg="add del">
        <pc:chgData name="Safeena Begum Lepakshi" userId="44e4f0de-d6e7-461b-ab64-689bc756e204" providerId="ADAL" clId="{E3EE759B-C4FA-48FB-8678-9CCEE0847AAF}" dt="2025-05-01T08:46:29.428" v="1274" actId="47"/>
        <pc:sldMkLst>
          <pc:docMk/>
          <pc:sldMk cId="397357473" sldId="293"/>
        </pc:sldMkLst>
      </pc:sldChg>
      <pc:sldChg chg="delSp add modTransition setBg delDesignElem">
        <pc:chgData name="Safeena Begum Lepakshi" userId="44e4f0de-d6e7-461b-ab64-689bc756e204" providerId="ADAL" clId="{E3EE759B-C4FA-48FB-8678-9CCEE0847AAF}" dt="2025-05-02T17:37:47.992" v="1368"/>
        <pc:sldMkLst>
          <pc:docMk/>
          <pc:sldMk cId="677166386" sldId="293"/>
        </pc:sldMkLst>
      </pc:sldChg>
      <pc:sldChg chg="add del ord setBg">
        <pc:chgData name="Safeena Begum Lepakshi" userId="44e4f0de-d6e7-461b-ab64-689bc756e204" providerId="ADAL" clId="{E3EE759B-C4FA-48FB-8678-9CCEE0847AAF}" dt="2025-04-28T23:36:29.293" v="840" actId="47"/>
        <pc:sldMkLst>
          <pc:docMk/>
          <pc:sldMk cId="634769557" sldId="294"/>
        </pc:sldMkLst>
      </pc:sldChg>
      <pc:sldChg chg="add modTransition">
        <pc:chgData name="Safeena Begum Lepakshi" userId="44e4f0de-d6e7-461b-ab64-689bc756e204" providerId="ADAL" clId="{E3EE759B-C4FA-48FB-8678-9CCEE0847AAF}" dt="2025-05-02T17:37:47.992" v="1368"/>
        <pc:sldMkLst>
          <pc:docMk/>
          <pc:sldMk cId="3560070526" sldId="294"/>
        </pc:sldMkLst>
      </pc:sldChg>
      <pc:sldChg chg="add del">
        <pc:chgData name="Safeena Begum Lepakshi" userId="44e4f0de-d6e7-461b-ab64-689bc756e204" providerId="ADAL" clId="{E3EE759B-C4FA-48FB-8678-9CCEE0847AAF}" dt="2025-05-01T08:46:29.428" v="1274" actId="47"/>
        <pc:sldMkLst>
          <pc:docMk/>
          <pc:sldMk cId="477170376" sldId="295"/>
        </pc:sldMkLst>
      </pc:sldChg>
      <pc:sldChg chg="add del">
        <pc:chgData name="Safeena Begum Lepakshi" userId="44e4f0de-d6e7-461b-ab64-689bc756e204" providerId="ADAL" clId="{E3EE759B-C4FA-48FB-8678-9CCEE0847AAF}" dt="2025-05-01T08:46:29.428" v="1274" actId="47"/>
        <pc:sldMkLst>
          <pc:docMk/>
          <pc:sldMk cId="3881443297" sldId="296"/>
        </pc:sldMkLst>
      </pc:sldChg>
      <pc:sldChg chg="add del">
        <pc:chgData name="Safeena Begum Lepakshi" userId="44e4f0de-d6e7-461b-ab64-689bc756e204" providerId="ADAL" clId="{E3EE759B-C4FA-48FB-8678-9CCEE0847AAF}" dt="2025-05-01T08:46:29.428" v="1274" actId="47"/>
        <pc:sldMkLst>
          <pc:docMk/>
          <pc:sldMk cId="1901677178" sldId="297"/>
        </pc:sldMkLst>
      </pc:sldChg>
      <pc:sldChg chg="add del">
        <pc:chgData name="Safeena Begum Lepakshi" userId="44e4f0de-d6e7-461b-ab64-689bc756e204" providerId="ADAL" clId="{E3EE759B-C4FA-48FB-8678-9CCEE0847AAF}" dt="2025-05-01T08:46:29.428" v="1274" actId="47"/>
        <pc:sldMkLst>
          <pc:docMk/>
          <pc:sldMk cId="538604802" sldId="298"/>
        </pc:sldMkLst>
      </pc:sldChg>
      <pc:sldChg chg="add del">
        <pc:chgData name="Safeena Begum Lepakshi" userId="44e4f0de-d6e7-461b-ab64-689bc756e204" providerId="ADAL" clId="{E3EE759B-C4FA-48FB-8678-9CCEE0847AAF}" dt="2025-05-01T08:46:29.428" v="1274" actId="47"/>
        <pc:sldMkLst>
          <pc:docMk/>
          <pc:sldMk cId="3205995526" sldId="299"/>
        </pc:sldMkLst>
      </pc:sldChg>
      <pc:sldChg chg="modSp mod">
        <pc:chgData name="Safeena Begum Lepakshi" userId="44e4f0de-d6e7-461b-ab64-689bc756e204" providerId="ADAL" clId="{E3EE759B-C4FA-48FB-8678-9CCEE0847AAF}" dt="2025-05-02T20:38:48.601" v="1664" actId="122"/>
        <pc:sldMkLst>
          <pc:docMk/>
          <pc:sldMk cId="3411405761" sldId="299"/>
        </pc:sldMkLst>
      </pc:sldChg>
      <pc:sldChg chg="addSp delSp modSp add del mod">
        <pc:chgData name="Safeena Begum Lepakshi" userId="44e4f0de-d6e7-461b-ab64-689bc756e204" providerId="ADAL" clId="{E3EE759B-C4FA-48FB-8678-9CCEE0847AAF}" dt="2025-04-27T23:54:56.337" v="406" actId="47"/>
        <pc:sldMkLst>
          <pc:docMk/>
          <pc:sldMk cId="121599233" sldId="300"/>
        </pc:sldMkLst>
      </pc:sldChg>
      <pc:sldChg chg="modSp mod">
        <pc:chgData name="Safeena Begum Lepakshi" userId="44e4f0de-d6e7-461b-ab64-689bc756e204" providerId="ADAL" clId="{E3EE759B-C4FA-48FB-8678-9CCEE0847AAF}" dt="2025-05-03T09:08:33.996" v="2006" actId="20577"/>
        <pc:sldMkLst>
          <pc:docMk/>
          <pc:sldMk cId="3313817200" sldId="300"/>
        </pc:sldMkLst>
        <pc:spChg chg="mod">
          <ac:chgData name="Safeena Begum Lepakshi" userId="44e4f0de-d6e7-461b-ab64-689bc756e204" providerId="ADAL" clId="{E3EE759B-C4FA-48FB-8678-9CCEE0847AAF}" dt="2025-05-03T09:08:33.996" v="2006" actId="20577"/>
          <ac:spMkLst>
            <pc:docMk/>
            <pc:sldMk cId="3313817200" sldId="300"/>
            <ac:spMk id="23" creationId="{614CBEDC-A67B-F43B-E12E-1858F90EF0EA}"/>
          </ac:spMkLst>
        </pc:spChg>
      </pc:sldChg>
      <pc:sldChg chg="modNotesTx">
        <pc:chgData name="Safeena Begum Lepakshi" userId="44e4f0de-d6e7-461b-ab64-689bc756e204" providerId="ADAL" clId="{E3EE759B-C4FA-48FB-8678-9CCEE0847AAF}" dt="2025-05-08T04:38:56.796" v="5424" actId="20577"/>
        <pc:sldMkLst>
          <pc:docMk/>
          <pc:sldMk cId="3536990995" sldId="301"/>
        </pc:sldMkLst>
      </pc:sldChg>
      <pc:sldChg chg="add del">
        <pc:chgData name="Safeena Begum Lepakshi" userId="44e4f0de-d6e7-461b-ab64-689bc756e204" providerId="ADAL" clId="{E3EE759B-C4FA-48FB-8678-9CCEE0847AAF}" dt="2025-05-01T08:46:29.428" v="1274" actId="47"/>
        <pc:sldMkLst>
          <pc:docMk/>
          <pc:sldMk cId="3814498938" sldId="302"/>
        </pc:sldMkLst>
      </pc:sldChg>
      <pc:sldChg chg="add del">
        <pc:chgData name="Safeena Begum Lepakshi" userId="44e4f0de-d6e7-461b-ab64-689bc756e204" providerId="ADAL" clId="{E3EE759B-C4FA-48FB-8678-9CCEE0847AAF}" dt="2025-05-01T08:46:29.428" v="1274" actId="47"/>
        <pc:sldMkLst>
          <pc:docMk/>
          <pc:sldMk cId="48954781" sldId="303"/>
        </pc:sldMkLst>
      </pc:sldChg>
      <pc:sldChg chg="modSp">
        <pc:chgData name="Safeena Begum Lepakshi" userId="44e4f0de-d6e7-461b-ab64-689bc756e204" providerId="ADAL" clId="{E3EE759B-C4FA-48FB-8678-9CCEE0847AAF}" dt="2025-05-07T20:47:29.966" v="5186" actId="20577"/>
        <pc:sldMkLst>
          <pc:docMk/>
          <pc:sldMk cId="4212272479" sldId="304"/>
        </pc:sldMkLst>
        <pc:spChg chg="mod">
          <ac:chgData name="Safeena Begum Lepakshi" userId="44e4f0de-d6e7-461b-ab64-689bc756e204" providerId="ADAL" clId="{E3EE759B-C4FA-48FB-8678-9CCEE0847AAF}" dt="2025-05-07T20:47:29.966" v="5186" actId="20577"/>
          <ac:spMkLst>
            <pc:docMk/>
            <pc:sldMk cId="4212272479" sldId="304"/>
            <ac:spMk id="3" creationId="{4C8B7854-9A17-2967-9933-907DAAA18BAA}"/>
          </ac:spMkLst>
        </pc:spChg>
      </pc:sldChg>
      <pc:sldChg chg="add del">
        <pc:chgData name="Safeena Begum Lepakshi" userId="44e4f0de-d6e7-461b-ab64-689bc756e204" providerId="ADAL" clId="{E3EE759B-C4FA-48FB-8678-9CCEE0847AAF}" dt="2025-05-01T08:46:29.428" v="1274" actId="47"/>
        <pc:sldMkLst>
          <pc:docMk/>
          <pc:sldMk cId="1726088036" sldId="305"/>
        </pc:sldMkLst>
      </pc:sldChg>
      <pc:sldChg chg="addSp modSp mod">
        <pc:chgData name="Safeena Begum Lepakshi" userId="44e4f0de-d6e7-461b-ab64-689bc756e204" providerId="ADAL" clId="{E3EE759B-C4FA-48FB-8678-9CCEE0847AAF}" dt="2025-05-07T21:03:22.674" v="5343" actId="167"/>
        <pc:sldMkLst>
          <pc:docMk/>
          <pc:sldMk cId="3264492943" sldId="305"/>
        </pc:sldMkLst>
        <pc:spChg chg="mod">
          <ac:chgData name="Safeena Begum Lepakshi" userId="44e4f0de-d6e7-461b-ab64-689bc756e204" providerId="ADAL" clId="{E3EE759B-C4FA-48FB-8678-9CCEE0847AAF}" dt="2025-05-07T21:03:15.137" v="5341"/>
          <ac:spMkLst>
            <pc:docMk/>
            <pc:sldMk cId="3264492943" sldId="305"/>
            <ac:spMk id="8" creationId="{54E26FE1-9939-8460-D3B7-88011AB85DF6}"/>
          </ac:spMkLst>
        </pc:spChg>
        <pc:spChg chg="mod">
          <ac:chgData name="Safeena Begum Lepakshi" userId="44e4f0de-d6e7-461b-ab64-689bc756e204" providerId="ADAL" clId="{E3EE759B-C4FA-48FB-8678-9CCEE0847AAF}" dt="2025-05-07T21:03:15.137" v="5341"/>
          <ac:spMkLst>
            <pc:docMk/>
            <pc:sldMk cId="3264492943" sldId="305"/>
            <ac:spMk id="9" creationId="{AF9E2FA6-7D3D-6077-22F2-338A4C1F1529}"/>
          </ac:spMkLst>
        </pc:spChg>
        <pc:grpChg chg="ord">
          <ac:chgData name="Safeena Begum Lepakshi" userId="44e4f0de-d6e7-461b-ab64-689bc756e204" providerId="ADAL" clId="{E3EE759B-C4FA-48FB-8678-9CCEE0847AAF}" dt="2025-05-07T21:03:22.674" v="5343" actId="167"/>
          <ac:grpSpMkLst>
            <pc:docMk/>
            <pc:sldMk cId="3264492943" sldId="305"/>
            <ac:grpSpMk id="4" creationId="{E1883CEA-CAE4-7B55-40B2-42AEF1F79E82}"/>
          </ac:grpSpMkLst>
        </pc:grpChg>
        <pc:grpChg chg="add mod ord">
          <ac:chgData name="Safeena Begum Lepakshi" userId="44e4f0de-d6e7-461b-ab64-689bc756e204" providerId="ADAL" clId="{E3EE759B-C4FA-48FB-8678-9CCEE0847AAF}" dt="2025-05-07T21:03:18.903" v="5342" actId="167"/>
          <ac:grpSpMkLst>
            <pc:docMk/>
            <pc:sldMk cId="3264492943" sldId="305"/>
            <ac:grpSpMk id="5" creationId="{568290C3-A564-E220-10C3-8A5D8F63015B}"/>
          </ac:grpSpMkLst>
        </pc:grpChg>
      </pc:sldChg>
      <pc:sldChg chg="addSp modSp mod">
        <pc:chgData name="Safeena Begum Lepakshi" userId="44e4f0de-d6e7-461b-ab64-689bc756e204" providerId="ADAL" clId="{E3EE759B-C4FA-48FB-8678-9CCEE0847AAF}" dt="2025-05-07T21:03:33.481" v="5346" actId="167"/>
        <pc:sldMkLst>
          <pc:docMk/>
          <pc:sldMk cId="3557780479" sldId="306"/>
        </pc:sldMkLst>
        <pc:spChg chg="mod">
          <ac:chgData name="Safeena Begum Lepakshi" userId="44e4f0de-d6e7-461b-ab64-689bc756e204" providerId="ADAL" clId="{E3EE759B-C4FA-48FB-8678-9CCEE0847AAF}" dt="2025-05-07T21:03:27.908" v="5344"/>
          <ac:spMkLst>
            <pc:docMk/>
            <pc:sldMk cId="3557780479" sldId="306"/>
            <ac:spMk id="6" creationId="{F7F5AA39-A967-A972-1B6D-800B73720183}"/>
          </ac:spMkLst>
        </pc:spChg>
        <pc:spChg chg="mod">
          <ac:chgData name="Safeena Begum Lepakshi" userId="44e4f0de-d6e7-461b-ab64-689bc756e204" providerId="ADAL" clId="{E3EE759B-C4FA-48FB-8678-9CCEE0847AAF}" dt="2025-05-07T21:03:27.908" v="5344"/>
          <ac:spMkLst>
            <pc:docMk/>
            <pc:sldMk cId="3557780479" sldId="306"/>
            <ac:spMk id="7" creationId="{6F405AC9-2707-86A3-5196-57FC14F0F6B0}"/>
          </ac:spMkLst>
        </pc:spChg>
        <pc:grpChg chg="add mod ord">
          <ac:chgData name="Safeena Begum Lepakshi" userId="44e4f0de-d6e7-461b-ab64-689bc756e204" providerId="ADAL" clId="{E3EE759B-C4FA-48FB-8678-9CCEE0847AAF}" dt="2025-05-07T21:03:30.850" v="5345" actId="167"/>
          <ac:grpSpMkLst>
            <pc:docMk/>
            <pc:sldMk cId="3557780479" sldId="306"/>
            <ac:grpSpMk id="5" creationId="{B84D8F35-1FAE-A706-29A3-563CD9974632}"/>
          </ac:grpSpMkLst>
        </pc:grpChg>
        <pc:picChg chg="ord">
          <ac:chgData name="Safeena Begum Lepakshi" userId="44e4f0de-d6e7-461b-ab64-689bc756e204" providerId="ADAL" clId="{E3EE759B-C4FA-48FB-8678-9CCEE0847AAF}" dt="2025-05-07T21:03:33.481" v="5346" actId="167"/>
          <ac:picMkLst>
            <pc:docMk/>
            <pc:sldMk cId="3557780479" sldId="306"/>
            <ac:picMk id="2" creationId="{AB84F5C6-E98E-2BC9-A892-2B25DA43D561}"/>
          </ac:picMkLst>
        </pc:picChg>
      </pc:sldChg>
      <pc:sldChg chg="addSp modSp mod">
        <pc:chgData name="Safeena Begum Lepakshi" userId="44e4f0de-d6e7-461b-ab64-689bc756e204" providerId="ADAL" clId="{E3EE759B-C4FA-48FB-8678-9CCEE0847AAF}" dt="2025-05-07T21:04:06.458" v="5348" actId="166"/>
        <pc:sldMkLst>
          <pc:docMk/>
          <pc:sldMk cId="2791069343" sldId="307"/>
        </pc:sldMkLst>
        <pc:spChg chg="mod">
          <ac:chgData name="Safeena Begum Lepakshi" userId="44e4f0de-d6e7-461b-ab64-689bc756e204" providerId="ADAL" clId="{E3EE759B-C4FA-48FB-8678-9CCEE0847AAF}" dt="2025-05-07T21:03:37.885" v="5347"/>
          <ac:spMkLst>
            <pc:docMk/>
            <pc:sldMk cId="2791069343" sldId="307"/>
            <ac:spMk id="5" creationId="{8D40A9AA-6CBA-E66D-CEE5-4E7959477AD4}"/>
          </ac:spMkLst>
        </pc:spChg>
        <pc:spChg chg="mod">
          <ac:chgData name="Safeena Begum Lepakshi" userId="44e4f0de-d6e7-461b-ab64-689bc756e204" providerId="ADAL" clId="{E3EE759B-C4FA-48FB-8678-9CCEE0847AAF}" dt="2025-05-07T21:03:37.885" v="5347"/>
          <ac:spMkLst>
            <pc:docMk/>
            <pc:sldMk cId="2791069343" sldId="307"/>
            <ac:spMk id="6" creationId="{A198EB4E-46CC-FF8D-33F1-5A6CB62BD8EB}"/>
          </ac:spMkLst>
        </pc:spChg>
        <pc:spChg chg="ord">
          <ac:chgData name="Safeena Begum Lepakshi" userId="44e4f0de-d6e7-461b-ab64-689bc756e204" providerId="ADAL" clId="{E3EE759B-C4FA-48FB-8678-9CCEE0847AAF}" dt="2025-05-07T21:04:06.458" v="5348" actId="166"/>
          <ac:spMkLst>
            <pc:docMk/>
            <pc:sldMk cId="2791069343" sldId="307"/>
            <ac:spMk id="8" creationId="{DD93147D-8E97-A938-368F-A00CDFB85100}"/>
          </ac:spMkLst>
        </pc:spChg>
        <pc:grpChg chg="add mod">
          <ac:chgData name="Safeena Begum Lepakshi" userId="44e4f0de-d6e7-461b-ab64-689bc756e204" providerId="ADAL" clId="{E3EE759B-C4FA-48FB-8678-9CCEE0847AAF}" dt="2025-05-07T21:03:37.885" v="5347"/>
          <ac:grpSpMkLst>
            <pc:docMk/>
            <pc:sldMk cId="2791069343" sldId="307"/>
            <ac:grpSpMk id="4" creationId="{D7BC1577-A3C5-77FA-3F2A-A336FA025CD6}"/>
          </ac:grpSpMkLst>
        </pc:grpChg>
      </pc:sldChg>
      <pc:sldChg chg="add mod ord modShow">
        <pc:chgData name="Safeena Begum Lepakshi" userId="44e4f0de-d6e7-461b-ab64-689bc756e204" providerId="ADAL" clId="{E3EE759B-C4FA-48FB-8678-9CCEE0847AAF}" dt="2025-05-02T17:36:51.208" v="1362" actId="729"/>
        <pc:sldMkLst>
          <pc:docMk/>
          <pc:sldMk cId="3144761593" sldId="308"/>
        </pc:sldMkLst>
      </pc:sldChg>
      <pc:sldChg chg="add mod modShow">
        <pc:chgData name="Safeena Begum Lepakshi" userId="44e4f0de-d6e7-461b-ab64-689bc756e204" providerId="ADAL" clId="{E3EE759B-C4FA-48FB-8678-9CCEE0847AAF}" dt="2025-05-02T17:36:51.208" v="1362" actId="729"/>
        <pc:sldMkLst>
          <pc:docMk/>
          <pc:sldMk cId="3574140323" sldId="309"/>
        </pc:sldMkLst>
      </pc:sldChg>
      <pc:sldChg chg="add mod modShow">
        <pc:chgData name="Safeena Begum Lepakshi" userId="44e4f0de-d6e7-461b-ab64-689bc756e204" providerId="ADAL" clId="{E3EE759B-C4FA-48FB-8678-9CCEE0847AAF}" dt="2025-05-02T17:36:51.208" v="1362" actId="729"/>
        <pc:sldMkLst>
          <pc:docMk/>
          <pc:sldMk cId="1289244679" sldId="310"/>
        </pc:sldMkLst>
      </pc:sldChg>
      <pc:sldChg chg="addSp modSp mod">
        <pc:chgData name="Safeena Begum Lepakshi" userId="44e4f0de-d6e7-461b-ab64-689bc756e204" providerId="ADAL" clId="{E3EE759B-C4FA-48FB-8678-9CCEE0847AAF}" dt="2025-05-07T21:04:33.684" v="5350" actId="166"/>
        <pc:sldMkLst>
          <pc:docMk/>
          <pc:sldMk cId="4198841978" sldId="311"/>
        </pc:sldMkLst>
        <pc:spChg chg="mod">
          <ac:chgData name="Safeena Begum Lepakshi" userId="44e4f0de-d6e7-461b-ab64-689bc756e204" providerId="ADAL" clId="{E3EE759B-C4FA-48FB-8678-9CCEE0847AAF}" dt="2025-05-07T21:04:15.309" v="5349"/>
          <ac:spMkLst>
            <pc:docMk/>
            <pc:sldMk cId="4198841978" sldId="311"/>
            <ac:spMk id="9" creationId="{6C8862FF-7800-B345-527E-527D8EDB0EE3}"/>
          </ac:spMkLst>
        </pc:spChg>
        <pc:spChg chg="mod">
          <ac:chgData name="Safeena Begum Lepakshi" userId="44e4f0de-d6e7-461b-ab64-689bc756e204" providerId="ADAL" clId="{E3EE759B-C4FA-48FB-8678-9CCEE0847AAF}" dt="2025-05-07T21:04:15.309" v="5349"/>
          <ac:spMkLst>
            <pc:docMk/>
            <pc:sldMk cId="4198841978" sldId="311"/>
            <ac:spMk id="10" creationId="{F22D87A0-B1D1-332F-72A6-09A698933AB0}"/>
          </ac:spMkLst>
        </pc:spChg>
        <pc:spChg chg="ord">
          <ac:chgData name="Safeena Begum Lepakshi" userId="44e4f0de-d6e7-461b-ab64-689bc756e204" providerId="ADAL" clId="{E3EE759B-C4FA-48FB-8678-9CCEE0847AAF}" dt="2025-05-07T21:04:33.684" v="5350" actId="166"/>
          <ac:spMkLst>
            <pc:docMk/>
            <pc:sldMk cId="4198841978" sldId="311"/>
            <ac:spMk id="11" creationId="{18752538-2C74-775B-53F6-4E1B74812962}"/>
          </ac:spMkLst>
        </pc:spChg>
        <pc:grpChg chg="add mod">
          <ac:chgData name="Safeena Begum Lepakshi" userId="44e4f0de-d6e7-461b-ab64-689bc756e204" providerId="ADAL" clId="{E3EE759B-C4FA-48FB-8678-9CCEE0847AAF}" dt="2025-05-07T21:04:15.309" v="5349"/>
          <ac:grpSpMkLst>
            <pc:docMk/>
            <pc:sldMk cId="4198841978" sldId="311"/>
            <ac:grpSpMk id="5" creationId="{3808151E-9D59-ADA7-C204-F9E189F0BA52}"/>
          </ac:grpSpMkLst>
        </pc:grpChg>
      </pc:sldChg>
      <pc:sldChg chg="modSp add mod modShow">
        <pc:chgData name="Safeena Begum Lepakshi" userId="44e4f0de-d6e7-461b-ab64-689bc756e204" providerId="ADAL" clId="{E3EE759B-C4FA-48FB-8678-9CCEE0847AAF}" dt="2025-05-02T17:36:51.208" v="1362" actId="729"/>
        <pc:sldMkLst>
          <pc:docMk/>
          <pc:sldMk cId="4013898040" sldId="313"/>
        </pc:sldMkLst>
      </pc:sldChg>
      <pc:sldChg chg="add mod modShow">
        <pc:chgData name="Safeena Begum Lepakshi" userId="44e4f0de-d6e7-461b-ab64-689bc756e204" providerId="ADAL" clId="{E3EE759B-C4FA-48FB-8678-9CCEE0847AAF}" dt="2025-05-02T17:36:51.208" v="1362" actId="729"/>
        <pc:sldMkLst>
          <pc:docMk/>
          <pc:sldMk cId="1626078918" sldId="314"/>
        </pc:sldMkLst>
      </pc:sldChg>
      <pc:sldChg chg="modNotesTx">
        <pc:chgData name="Safeena Begum Lepakshi" userId="44e4f0de-d6e7-461b-ab64-689bc756e204" providerId="ADAL" clId="{E3EE759B-C4FA-48FB-8678-9CCEE0847AAF}" dt="2025-05-08T04:36:49.217" v="5392" actId="20577"/>
        <pc:sldMkLst>
          <pc:docMk/>
          <pc:sldMk cId="2902385885" sldId="315"/>
        </pc:sldMkLst>
      </pc:sldChg>
      <pc:sldChg chg="add del mod modShow">
        <pc:chgData name="Safeena Begum Lepakshi" userId="44e4f0de-d6e7-461b-ab64-689bc756e204" providerId="ADAL" clId="{E3EE759B-C4FA-48FB-8678-9CCEE0847AAF}" dt="2025-04-30T14:17:35.965" v="901" actId="47"/>
        <pc:sldMkLst>
          <pc:docMk/>
          <pc:sldMk cId="3213974891" sldId="315"/>
        </pc:sldMkLst>
      </pc:sldChg>
      <pc:sldChg chg="add">
        <pc:chgData name="Safeena Begum Lepakshi" userId="44e4f0de-d6e7-461b-ab64-689bc756e204" providerId="ADAL" clId="{E3EE759B-C4FA-48FB-8678-9CCEE0847AAF}" dt="2025-04-27T23:57:58.807" v="420"/>
        <pc:sldMkLst>
          <pc:docMk/>
          <pc:sldMk cId="583502269" sldId="316"/>
        </pc:sldMkLst>
      </pc:sldChg>
      <pc:sldChg chg="add mod modShow">
        <pc:chgData name="Safeena Begum Lepakshi" userId="44e4f0de-d6e7-461b-ab64-689bc756e204" providerId="ADAL" clId="{E3EE759B-C4FA-48FB-8678-9CCEE0847AAF}" dt="2025-05-02T17:36:51.208" v="1362" actId="729"/>
        <pc:sldMkLst>
          <pc:docMk/>
          <pc:sldMk cId="2745370640" sldId="317"/>
        </pc:sldMkLst>
      </pc:sldChg>
      <pc:sldChg chg="add mod modShow">
        <pc:chgData name="Safeena Begum Lepakshi" userId="44e4f0de-d6e7-461b-ab64-689bc756e204" providerId="ADAL" clId="{E3EE759B-C4FA-48FB-8678-9CCEE0847AAF}" dt="2025-05-02T17:36:51.208" v="1362" actId="729"/>
        <pc:sldMkLst>
          <pc:docMk/>
          <pc:sldMk cId="1518425765" sldId="318"/>
        </pc:sldMkLst>
      </pc:sldChg>
      <pc:sldChg chg="add del mod modShow">
        <pc:chgData name="Safeena Begum Lepakshi" userId="44e4f0de-d6e7-461b-ab64-689bc756e204" providerId="ADAL" clId="{E3EE759B-C4FA-48FB-8678-9CCEE0847AAF}" dt="2025-05-02T17:36:51.208" v="1362" actId="729"/>
        <pc:sldMkLst>
          <pc:docMk/>
          <pc:sldMk cId="307338190" sldId="319"/>
        </pc:sldMkLst>
      </pc:sldChg>
      <pc:sldChg chg="addSp delSp modSp add del mod">
        <pc:chgData name="Safeena Begum Lepakshi" userId="44e4f0de-d6e7-461b-ab64-689bc756e204" providerId="ADAL" clId="{E3EE759B-C4FA-48FB-8678-9CCEE0847AAF}" dt="2025-04-21T06:18:19.849" v="329" actId="47"/>
        <pc:sldMkLst>
          <pc:docMk/>
          <pc:sldMk cId="1498712005" sldId="322"/>
        </pc:sldMkLst>
      </pc:sldChg>
      <pc:sldChg chg="add del">
        <pc:chgData name="Safeena Begum Lepakshi" userId="44e4f0de-d6e7-461b-ab64-689bc756e204" providerId="ADAL" clId="{E3EE759B-C4FA-48FB-8678-9CCEE0847AAF}" dt="2025-05-01T08:52:00.143" v="1358" actId="47"/>
        <pc:sldMkLst>
          <pc:docMk/>
          <pc:sldMk cId="2781526560" sldId="337"/>
        </pc:sldMkLst>
      </pc:sldChg>
      <pc:sldChg chg="modNotesTx">
        <pc:chgData name="Safeena Begum Lepakshi" userId="44e4f0de-d6e7-461b-ab64-689bc756e204" providerId="ADAL" clId="{E3EE759B-C4FA-48FB-8678-9CCEE0847AAF}" dt="2025-04-27T23:22:21.732" v="358"/>
        <pc:sldMkLst>
          <pc:docMk/>
          <pc:sldMk cId="2710415264" sldId="380"/>
        </pc:sldMkLst>
      </pc:sldChg>
      <pc:sldChg chg="addSp delSp modSp mod setBg">
        <pc:chgData name="Safeena Begum Lepakshi" userId="44e4f0de-d6e7-461b-ab64-689bc756e204" providerId="ADAL" clId="{E3EE759B-C4FA-48FB-8678-9CCEE0847AAF}" dt="2025-05-07T21:03:00.885" v="5339"/>
        <pc:sldMkLst>
          <pc:docMk/>
          <pc:sldMk cId="1460333827" sldId="384"/>
        </pc:sldMkLst>
        <pc:spChg chg="add mod ord">
          <ac:chgData name="Safeena Begum Lepakshi" userId="44e4f0de-d6e7-461b-ab64-689bc756e204" providerId="ADAL" clId="{E3EE759B-C4FA-48FB-8678-9CCEE0847AAF}" dt="2025-05-07T21:01:02.455" v="5318" actId="167"/>
          <ac:spMkLst>
            <pc:docMk/>
            <pc:sldMk cId="1460333827" sldId="384"/>
            <ac:spMk id="12" creationId="{6B430221-0706-D77D-15A6-AABD16C36AFD}"/>
          </ac:spMkLst>
        </pc:spChg>
        <pc:spChg chg="add del mod ord">
          <ac:chgData name="Safeena Begum Lepakshi" userId="44e4f0de-d6e7-461b-ab64-689bc756e204" providerId="ADAL" clId="{E3EE759B-C4FA-48FB-8678-9CCEE0847AAF}" dt="2025-05-07T21:02:18.194" v="5328" actId="478"/>
          <ac:spMkLst>
            <pc:docMk/>
            <pc:sldMk cId="1460333827" sldId="384"/>
            <ac:spMk id="13" creationId="{66102D31-9386-071E-57EC-9D3D3D221B3B}"/>
          </ac:spMkLst>
        </pc:spChg>
        <pc:spChg chg="add mod">
          <ac:chgData name="Safeena Begum Lepakshi" userId="44e4f0de-d6e7-461b-ab64-689bc756e204" providerId="ADAL" clId="{E3EE759B-C4FA-48FB-8678-9CCEE0847AAF}" dt="2025-05-07T21:02:35.085" v="5335" actId="207"/>
          <ac:spMkLst>
            <pc:docMk/>
            <pc:sldMk cId="1460333827" sldId="384"/>
            <ac:spMk id="16" creationId="{B0A215F1-488D-916A-C2DA-F817099D2251}"/>
          </ac:spMkLst>
        </pc:spChg>
        <pc:spChg chg="add mod">
          <ac:chgData name="Safeena Begum Lepakshi" userId="44e4f0de-d6e7-461b-ab64-689bc756e204" providerId="ADAL" clId="{E3EE759B-C4FA-48FB-8678-9CCEE0847AAF}" dt="2025-05-07T21:03:00.885" v="5339"/>
          <ac:spMkLst>
            <pc:docMk/>
            <pc:sldMk cId="1460333827" sldId="384"/>
            <ac:spMk id="20" creationId="{58176815-8586-4602-D0BA-29CFBA97E79A}"/>
          </ac:spMkLst>
        </pc:spChg>
        <pc:grpChg chg="mod">
          <ac:chgData name="Safeena Begum Lepakshi" userId="44e4f0de-d6e7-461b-ab64-689bc756e204" providerId="ADAL" clId="{E3EE759B-C4FA-48FB-8678-9CCEE0847AAF}" dt="2025-05-07T21:02:57.774" v="5338" actId="167"/>
          <ac:grpSpMkLst>
            <pc:docMk/>
            <pc:sldMk cId="1460333827" sldId="384"/>
            <ac:grpSpMk id="17" creationId="{640684A4-3BC4-ED39-95CB-14B059311743}"/>
          </ac:grpSpMkLst>
        </pc:grpChg>
        <pc:grpChg chg="add ord">
          <ac:chgData name="Safeena Begum Lepakshi" userId="44e4f0de-d6e7-461b-ab64-689bc756e204" providerId="ADAL" clId="{E3EE759B-C4FA-48FB-8678-9CCEE0847AAF}" dt="2025-05-07T21:02:53.616" v="5337" actId="167"/>
          <ac:grpSpMkLst>
            <pc:docMk/>
            <pc:sldMk cId="1460333827" sldId="384"/>
            <ac:grpSpMk id="19" creationId="{7BBA3A9F-BE98-CC9D-AC53-8BB2315DB3B5}"/>
          </ac:grpSpMkLst>
        </pc:grpChg>
      </pc:sldChg>
      <pc:sldChg chg="add del">
        <pc:chgData name="Safeena Begum Lepakshi" userId="44e4f0de-d6e7-461b-ab64-689bc756e204" providerId="ADAL" clId="{E3EE759B-C4FA-48FB-8678-9CCEE0847AAF}" dt="2025-05-03T10:03:37.566" v="2618" actId="47"/>
        <pc:sldMkLst>
          <pc:docMk/>
          <pc:sldMk cId="687560949" sldId="2147479287"/>
        </pc:sldMkLst>
      </pc:sldChg>
      <pc:sldChg chg="add del">
        <pc:chgData name="Safeena Begum Lepakshi" userId="44e4f0de-d6e7-461b-ab64-689bc756e204" providerId="ADAL" clId="{E3EE759B-C4FA-48FB-8678-9CCEE0847AAF}" dt="2025-04-21T05:59:03.085" v="262" actId="47"/>
        <pc:sldMkLst>
          <pc:docMk/>
          <pc:sldMk cId="271683930" sldId="2147479568"/>
        </pc:sldMkLst>
      </pc:sldChg>
      <pc:sldChg chg="modSp add mod">
        <pc:chgData name="Safeena Begum Lepakshi" userId="44e4f0de-d6e7-461b-ab64-689bc756e204" providerId="ADAL" clId="{E3EE759B-C4FA-48FB-8678-9CCEE0847AAF}" dt="2025-05-06T02:09:54.828" v="4874" actId="27636"/>
        <pc:sldMkLst>
          <pc:docMk/>
          <pc:sldMk cId="532410187" sldId="2147481947"/>
        </pc:sldMkLst>
        <pc:spChg chg="mod">
          <ac:chgData name="Safeena Begum Lepakshi" userId="44e4f0de-d6e7-461b-ab64-689bc756e204" providerId="ADAL" clId="{E3EE759B-C4FA-48FB-8678-9CCEE0847AAF}" dt="2025-05-06T02:09:54.828" v="4874" actId="27636"/>
          <ac:spMkLst>
            <pc:docMk/>
            <pc:sldMk cId="532410187" sldId="2147481947"/>
            <ac:spMk id="2" creationId="{5332E0F5-E1C2-BBED-8580-3186C8A81B6F}"/>
          </ac:spMkLst>
        </pc:spChg>
      </pc:sldChg>
      <pc:sldChg chg="add del">
        <pc:chgData name="Safeena Begum Lepakshi" userId="44e4f0de-d6e7-461b-ab64-689bc756e204" providerId="ADAL" clId="{E3EE759B-C4FA-48FB-8678-9CCEE0847AAF}" dt="2025-05-01T08:46:29.428" v="1274" actId="47"/>
        <pc:sldMkLst>
          <pc:docMk/>
          <pc:sldMk cId="3272240608" sldId="2147481986"/>
        </pc:sldMkLst>
      </pc:sldChg>
      <pc:sldChg chg="add del">
        <pc:chgData name="Safeena Begum Lepakshi" userId="44e4f0de-d6e7-461b-ab64-689bc756e204" providerId="ADAL" clId="{E3EE759B-C4FA-48FB-8678-9CCEE0847AAF}" dt="2025-04-21T06:03:37.383" v="271" actId="47"/>
        <pc:sldMkLst>
          <pc:docMk/>
          <pc:sldMk cId="4286233818" sldId="2147481992"/>
        </pc:sldMkLst>
      </pc:sldChg>
      <pc:sldChg chg="add del modNotesTx">
        <pc:chgData name="Safeena Begum Lepakshi" userId="44e4f0de-d6e7-461b-ab64-689bc756e204" providerId="ADAL" clId="{E3EE759B-C4FA-48FB-8678-9CCEE0847AAF}" dt="2025-05-01T08:46:29.428" v="1274" actId="47"/>
        <pc:sldMkLst>
          <pc:docMk/>
          <pc:sldMk cId="3891469420" sldId="2147481998"/>
        </pc:sldMkLst>
      </pc:sldChg>
      <pc:sldChg chg="add del">
        <pc:chgData name="Safeena Begum Lepakshi" userId="44e4f0de-d6e7-461b-ab64-689bc756e204" providerId="ADAL" clId="{E3EE759B-C4FA-48FB-8678-9CCEE0847AAF}" dt="2025-05-01T08:46:29.428" v="1274" actId="47"/>
        <pc:sldMkLst>
          <pc:docMk/>
          <pc:sldMk cId="4280449307" sldId="2147482393"/>
        </pc:sldMkLst>
      </pc:sldChg>
      <pc:sldChg chg="add del modNotesTx">
        <pc:chgData name="Safeena Begum Lepakshi" userId="44e4f0de-d6e7-461b-ab64-689bc756e204" providerId="ADAL" clId="{E3EE759B-C4FA-48FB-8678-9CCEE0847AAF}" dt="2025-05-01T08:46:29.428" v="1274" actId="47"/>
        <pc:sldMkLst>
          <pc:docMk/>
          <pc:sldMk cId="669701040" sldId="2147482395"/>
        </pc:sldMkLst>
      </pc:sldChg>
      <pc:sldChg chg="add del setBg">
        <pc:chgData name="Safeena Begum Lepakshi" userId="44e4f0de-d6e7-461b-ab64-689bc756e204" providerId="ADAL" clId="{E3EE759B-C4FA-48FB-8678-9CCEE0847AAF}" dt="2025-04-27T23:25:16.110" v="364" actId="47"/>
        <pc:sldMkLst>
          <pc:docMk/>
          <pc:sldMk cId="260397777" sldId="2147482514"/>
        </pc:sldMkLst>
      </pc:sldChg>
      <pc:sldChg chg="addSp delSp modSp mod">
        <pc:chgData name="Safeena Begum Lepakshi" userId="44e4f0de-d6e7-461b-ab64-689bc756e204" providerId="ADAL" clId="{E3EE759B-C4FA-48FB-8678-9CCEE0847AAF}" dt="2025-04-21T06:42:38.249" v="355" actId="478"/>
        <pc:sldMkLst>
          <pc:docMk/>
          <pc:sldMk cId="2710205027" sldId="2147482552"/>
        </pc:sldMkLst>
      </pc:sldChg>
      <pc:sldChg chg="addSp delSp mod">
        <pc:chgData name="Safeena Begum Lepakshi" userId="44e4f0de-d6e7-461b-ab64-689bc756e204" providerId="ADAL" clId="{E3EE759B-C4FA-48FB-8678-9CCEE0847AAF}" dt="2025-04-17T19:28:06.177" v="184" actId="478"/>
        <pc:sldMkLst>
          <pc:docMk/>
          <pc:sldMk cId="2902050926" sldId="2147482555"/>
        </pc:sldMkLst>
      </pc:sldChg>
      <pc:sldChg chg="add del mod modTransition modShow">
        <pc:chgData name="Safeena Begum Lepakshi" userId="44e4f0de-d6e7-461b-ab64-689bc756e204" providerId="ADAL" clId="{E3EE759B-C4FA-48FB-8678-9CCEE0847AAF}" dt="2025-04-30T14:17:35.965" v="901" actId="47"/>
        <pc:sldMkLst>
          <pc:docMk/>
          <pc:sldMk cId="4198548696" sldId="2147482564"/>
        </pc:sldMkLst>
      </pc:sldChg>
      <pc:sldChg chg="modSp add del mod">
        <pc:chgData name="Safeena Begum Lepakshi" userId="44e4f0de-d6e7-461b-ab64-689bc756e204" providerId="ADAL" clId="{E3EE759B-C4FA-48FB-8678-9CCEE0847AAF}" dt="2025-05-01T08:49:50.134" v="1353" actId="20577"/>
        <pc:sldMkLst>
          <pc:docMk/>
          <pc:sldMk cId="255043029" sldId="2147482614"/>
        </pc:sldMkLst>
      </pc:sldChg>
      <pc:sldChg chg="modNotesTx">
        <pc:chgData name="Safeena Begum Lepakshi" userId="44e4f0de-d6e7-461b-ab64-689bc756e204" providerId="ADAL" clId="{E3EE759B-C4FA-48FB-8678-9CCEE0847AAF}" dt="2025-05-08T04:38:47.885" v="5410" actId="20577"/>
        <pc:sldMkLst>
          <pc:docMk/>
          <pc:sldMk cId="3767867572" sldId="2147482615"/>
        </pc:sldMkLst>
      </pc:sldChg>
      <pc:sldChg chg="add">
        <pc:chgData name="Safeena Begum Lepakshi" userId="44e4f0de-d6e7-461b-ab64-689bc756e204" providerId="ADAL" clId="{E3EE759B-C4FA-48FB-8678-9CCEE0847AAF}" dt="2025-05-01T08:50:40.769" v="1355"/>
        <pc:sldMkLst>
          <pc:docMk/>
          <pc:sldMk cId="1641419689" sldId="2147483397"/>
        </pc:sldMkLst>
      </pc:sldChg>
      <pc:sldChg chg="add">
        <pc:chgData name="Safeena Begum Lepakshi" userId="44e4f0de-d6e7-461b-ab64-689bc756e204" providerId="ADAL" clId="{E3EE759B-C4FA-48FB-8678-9CCEE0847AAF}" dt="2025-05-01T08:50:40.769" v="1355"/>
        <pc:sldMkLst>
          <pc:docMk/>
          <pc:sldMk cId="1478439722" sldId="2147483402"/>
        </pc:sldMkLst>
      </pc:sldChg>
      <pc:sldChg chg="add">
        <pc:chgData name="Safeena Begum Lepakshi" userId="44e4f0de-d6e7-461b-ab64-689bc756e204" providerId="ADAL" clId="{E3EE759B-C4FA-48FB-8678-9CCEE0847AAF}" dt="2025-05-01T08:50:40.769" v="1355"/>
        <pc:sldMkLst>
          <pc:docMk/>
          <pc:sldMk cId="3810696148" sldId="2147483428"/>
        </pc:sldMkLst>
      </pc:sldChg>
      <pc:sldChg chg="add">
        <pc:chgData name="Safeena Begum Lepakshi" userId="44e4f0de-d6e7-461b-ab64-689bc756e204" providerId="ADAL" clId="{E3EE759B-C4FA-48FB-8678-9CCEE0847AAF}" dt="2025-05-01T08:50:40.769" v="1355"/>
        <pc:sldMkLst>
          <pc:docMk/>
          <pc:sldMk cId="1188245848" sldId="2147483431"/>
        </pc:sldMkLst>
      </pc:sldChg>
      <pc:sldChg chg="add">
        <pc:chgData name="Safeena Begum Lepakshi" userId="44e4f0de-d6e7-461b-ab64-689bc756e204" providerId="ADAL" clId="{E3EE759B-C4FA-48FB-8678-9CCEE0847AAF}" dt="2025-05-01T08:50:40.769" v="1355"/>
        <pc:sldMkLst>
          <pc:docMk/>
          <pc:sldMk cId="2188890477" sldId="2147483435"/>
        </pc:sldMkLst>
      </pc:sldChg>
      <pc:sldChg chg="addSp delSp modSp mod modAnim modNotesTx">
        <pc:chgData name="Safeena Begum Lepakshi" userId="44e4f0de-d6e7-461b-ab64-689bc756e204" providerId="ADAL" clId="{E3EE759B-C4FA-48FB-8678-9CCEE0847AAF}" dt="2025-05-08T04:38:15.900" v="5405" actId="20577"/>
        <pc:sldMkLst>
          <pc:docMk/>
          <pc:sldMk cId="4045407142" sldId="2147483435"/>
        </pc:sldMkLst>
        <pc:spChg chg="add mod">
          <ac:chgData name="Safeena Begum Lepakshi" userId="44e4f0de-d6e7-461b-ab64-689bc756e204" providerId="ADAL" clId="{E3EE759B-C4FA-48FB-8678-9CCEE0847AAF}" dt="2025-05-02T21:01:10.352" v="1689" actId="1076"/>
          <ac:spMkLst>
            <pc:docMk/>
            <pc:sldMk cId="4045407142" sldId="2147483435"/>
            <ac:spMk id="7" creationId="{8A0A1662-7BE6-8A43-2F47-581268B5F651}"/>
          </ac:spMkLst>
        </pc:spChg>
        <pc:spChg chg="add mod">
          <ac:chgData name="Safeena Begum Lepakshi" userId="44e4f0de-d6e7-461b-ab64-689bc756e204" providerId="ADAL" clId="{E3EE759B-C4FA-48FB-8678-9CCEE0847AAF}" dt="2025-05-02T21:01:27.951" v="1695" actId="14100"/>
          <ac:spMkLst>
            <pc:docMk/>
            <pc:sldMk cId="4045407142" sldId="2147483435"/>
            <ac:spMk id="8" creationId="{A3B7F793-9986-260B-FF89-C90B43E87309}"/>
          </ac:spMkLst>
        </pc:spChg>
        <pc:picChg chg="mod">
          <ac:chgData name="Safeena Begum Lepakshi" userId="44e4f0de-d6e7-461b-ab64-689bc756e204" providerId="ADAL" clId="{E3EE759B-C4FA-48FB-8678-9CCEE0847AAF}" dt="2025-05-02T20:18:08.964" v="1518" actId="1076"/>
          <ac:picMkLst>
            <pc:docMk/>
            <pc:sldMk cId="4045407142" sldId="2147483435"/>
            <ac:picMk id="4" creationId="{1B12F686-DD5F-2B0B-A497-72CF660C39D3}"/>
          </ac:picMkLst>
        </pc:picChg>
      </pc:sldChg>
      <pc:sldChg chg="add">
        <pc:chgData name="Safeena Begum Lepakshi" userId="44e4f0de-d6e7-461b-ab64-689bc756e204" providerId="ADAL" clId="{E3EE759B-C4FA-48FB-8678-9CCEE0847AAF}" dt="2025-05-01T08:50:40.769" v="1355"/>
        <pc:sldMkLst>
          <pc:docMk/>
          <pc:sldMk cId="1659233338" sldId="2147483441"/>
        </pc:sldMkLst>
      </pc:sldChg>
      <pc:sldChg chg="addSp modSp mod modNotesTx">
        <pc:chgData name="Safeena Begum Lepakshi" userId="44e4f0de-d6e7-461b-ab64-689bc756e204" providerId="ADAL" clId="{E3EE759B-C4FA-48FB-8678-9CCEE0847AAF}" dt="2025-05-08T04:37:36.987" v="5399" actId="20577"/>
        <pc:sldMkLst>
          <pc:docMk/>
          <pc:sldMk cId="314410236" sldId="2147483443"/>
        </pc:sldMkLst>
      </pc:sldChg>
      <pc:sldChg chg="add">
        <pc:chgData name="Safeena Begum Lepakshi" userId="44e4f0de-d6e7-461b-ab64-689bc756e204" providerId="ADAL" clId="{E3EE759B-C4FA-48FB-8678-9CCEE0847AAF}" dt="2025-05-01T08:50:40.769" v="1355"/>
        <pc:sldMkLst>
          <pc:docMk/>
          <pc:sldMk cId="361017442" sldId="2147483443"/>
        </pc:sldMkLst>
      </pc:sldChg>
      <pc:sldChg chg="add">
        <pc:chgData name="Safeena Begum Lepakshi" userId="44e4f0de-d6e7-461b-ab64-689bc756e204" providerId="ADAL" clId="{E3EE759B-C4FA-48FB-8678-9CCEE0847AAF}" dt="2025-05-01T08:50:40.769" v="1355"/>
        <pc:sldMkLst>
          <pc:docMk/>
          <pc:sldMk cId="644170466" sldId="2147483444"/>
        </pc:sldMkLst>
      </pc:sldChg>
      <pc:sldChg chg="add">
        <pc:chgData name="Safeena Begum Lepakshi" userId="44e4f0de-d6e7-461b-ab64-689bc756e204" providerId="ADAL" clId="{E3EE759B-C4FA-48FB-8678-9CCEE0847AAF}" dt="2025-05-01T08:50:40.769" v="1355"/>
        <pc:sldMkLst>
          <pc:docMk/>
          <pc:sldMk cId="1325585555" sldId="2147483450"/>
        </pc:sldMkLst>
      </pc:sldChg>
      <pc:sldChg chg="add">
        <pc:chgData name="Safeena Begum Lepakshi" userId="44e4f0de-d6e7-461b-ab64-689bc756e204" providerId="ADAL" clId="{E3EE759B-C4FA-48FB-8678-9CCEE0847AAF}" dt="2025-05-01T08:50:40.769" v="1355"/>
        <pc:sldMkLst>
          <pc:docMk/>
          <pc:sldMk cId="2776508344" sldId="2147483451"/>
        </pc:sldMkLst>
      </pc:sldChg>
      <pc:sldChg chg="modNotesTx">
        <pc:chgData name="Safeena Begum Lepakshi" userId="44e4f0de-d6e7-461b-ab64-689bc756e204" providerId="ADAL" clId="{E3EE759B-C4FA-48FB-8678-9CCEE0847AAF}" dt="2025-05-08T04:37:00.909" v="5393" actId="20577"/>
        <pc:sldMkLst>
          <pc:docMk/>
          <pc:sldMk cId="2124720997" sldId="2147483453"/>
        </pc:sldMkLst>
      </pc:sldChg>
      <pc:sldChg chg="add">
        <pc:chgData name="Safeena Begum Lepakshi" userId="44e4f0de-d6e7-461b-ab64-689bc756e204" providerId="ADAL" clId="{E3EE759B-C4FA-48FB-8678-9CCEE0847AAF}" dt="2025-05-01T08:50:40.769" v="1355"/>
        <pc:sldMkLst>
          <pc:docMk/>
          <pc:sldMk cId="2412566053" sldId="2147483453"/>
        </pc:sldMkLst>
      </pc:sldChg>
      <pc:sldChg chg="add">
        <pc:chgData name="Safeena Begum Lepakshi" userId="44e4f0de-d6e7-461b-ab64-689bc756e204" providerId="ADAL" clId="{E3EE759B-C4FA-48FB-8678-9CCEE0847AAF}" dt="2025-05-01T08:50:40.769" v="1355"/>
        <pc:sldMkLst>
          <pc:docMk/>
          <pc:sldMk cId="1373271650" sldId="2147483454"/>
        </pc:sldMkLst>
      </pc:sldChg>
      <pc:sldChg chg="modNotesTx">
        <pc:chgData name="Safeena Begum Lepakshi" userId="44e4f0de-d6e7-461b-ab64-689bc756e204" providerId="ADAL" clId="{E3EE759B-C4FA-48FB-8678-9CCEE0847AAF}" dt="2025-05-04T21:37:31.926" v="4817" actId="20577"/>
        <pc:sldMkLst>
          <pc:docMk/>
          <pc:sldMk cId="3799328240" sldId="2147483454"/>
        </pc:sldMkLst>
      </pc:sldChg>
      <pc:sldChg chg="add">
        <pc:chgData name="Safeena Begum Lepakshi" userId="44e4f0de-d6e7-461b-ab64-689bc756e204" providerId="ADAL" clId="{E3EE759B-C4FA-48FB-8678-9CCEE0847AAF}" dt="2025-05-01T08:50:40.769" v="1355"/>
        <pc:sldMkLst>
          <pc:docMk/>
          <pc:sldMk cId="528246313" sldId="2147483456"/>
        </pc:sldMkLst>
      </pc:sldChg>
      <pc:sldChg chg="add">
        <pc:chgData name="Safeena Begum Lepakshi" userId="44e4f0de-d6e7-461b-ab64-689bc756e204" providerId="ADAL" clId="{E3EE759B-C4FA-48FB-8678-9CCEE0847AAF}" dt="2025-05-01T08:50:40.769" v="1355"/>
        <pc:sldMkLst>
          <pc:docMk/>
          <pc:sldMk cId="1698062117" sldId="2147483457"/>
        </pc:sldMkLst>
      </pc:sldChg>
      <pc:sldChg chg="addSp modSp mod modAnim modNotesTx">
        <pc:chgData name="Safeena Begum Lepakshi" userId="44e4f0de-d6e7-461b-ab64-689bc756e204" providerId="ADAL" clId="{E3EE759B-C4FA-48FB-8678-9CCEE0847AAF}" dt="2025-05-08T04:37:28.532" v="5397" actId="20577"/>
        <pc:sldMkLst>
          <pc:docMk/>
          <pc:sldMk cId="899159382" sldId="2147483458"/>
        </pc:sldMkLst>
        <pc:picChg chg="add mod">
          <ac:chgData name="Safeena Begum Lepakshi" userId="44e4f0de-d6e7-461b-ab64-689bc756e204" providerId="ADAL" clId="{E3EE759B-C4FA-48FB-8678-9CCEE0847AAF}" dt="2025-05-04T15:51:12.778" v="3740" actId="14100"/>
          <ac:picMkLst>
            <pc:docMk/>
            <pc:sldMk cId="899159382" sldId="2147483458"/>
            <ac:picMk id="2" creationId="{2D569D4A-0E26-7A2A-7D34-97148C0A7F80}"/>
          </ac:picMkLst>
        </pc:picChg>
      </pc:sldChg>
      <pc:sldChg chg="add">
        <pc:chgData name="Safeena Begum Lepakshi" userId="44e4f0de-d6e7-461b-ab64-689bc756e204" providerId="ADAL" clId="{E3EE759B-C4FA-48FB-8678-9CCEE0847AAF}" dt="2025-05-01T08:50:40.769" v="1355"/>
        <pc:sldMkLst>
          <pc:docMk/>
          <pc:sldMk cId="995683651" sldId="2147483458"/>
        </pc:sldMkLst>
      </pc:sldChg>
      <pc:sldChg chg="add">
        <pc:chgData name="Safeena Begum Lepakshi" userId="44e4f0de-d6e7-461b-ab64-689bc756e204" providerId="ADAL" clId="{E3EE759B-C4FA-48FB-8678-9CCEE0847AAF}" dt="2025-05-01T08:50:40.769" v="1355"/>
        <pc:sldMkLst>
          <pc:docMk/>
          <pc:sldMk cId="1175999612" sldId="2147483459"/>
        </pc:sldMkLst>
      </pc:sldChg>
      <pc:sldChg chg="add">
        <pc:chgData name="Safeena Begum Lepakshi" userId="44e4f0de-d6e7-461b-ab64-689bc756e204" providerId="ADAL" clId="{E3EE759B-C4FA-48FB-8678-9CCEE0847AAF}" dt="2025-05-01T08:50:40.769" v="1355"/>
        <pc:sldMkLst>
          <pc:docMk/>
          <pc:sldMk cId="2747424092" sldId="2147483460"/>
        </pc:sldMkLst>
      </pc:sldChg>
      <pc:sldChg chg="add">
        <pc:chgData name="Safeena Begum Lepakshi" userId="44e4f0de-d6e7-461b-ab64-689bc756e204" providerId="ADAL" clId="{E3EE759B-C4FA-48FB-8678-9CCEE0847AAF}" dt="2025-05-01T08:50:40.769" v="1355"/>
        <pc:sldMkLst>
          <pc:docMk/>
          <pc:sldMk cId="847686503" sldId="2147483461"/>
        </pc:sldMkLst>
      </pc:sldChg>
      <pc:sldChg chg="del">
        <pc:chgData name="Safeena Begum Lepakshi" userId="44e4f0de-d6e7-461b-ab64-689bc756e204" providerId="ADAL" clId="{E3EE759B-C4FA-48FB-8678-9CCEE0847AAF}" dt="2025-04-17T19:27:37.618" v="180" actId="47"/>
        <pc:sldMkLst>
          <pc:docMk/>
          <pc:sldMk cId="2434196287" sldId="2147483461"/>
        </pc:sldMkLst>
      </pc:sldChg>
      <pc:sldChg chg="addSp modSp del mod">
        <pc:chgData name="Safeena Begum Lepakshi" userId="44e4f0de-d6e7-461b-ab64-689bc756e204" providerId="ADAL" clId="{E3EE759B-C4FA-48FB-8678-9CCEE0847AAF}" dt="2025-05-02T20:10:35.010" v="1474" actId="403"/>
        <pc:sldMkLst>
          <pc:docMk/>
          <pc:sldMk cId="1436275142" sldId="2147483462"/>
        </pc:sldMkLst>
        <pc:spChg chg="mod">
          <ac:chgData name="Safeena Begum Lepakshi" userId="44e4f0de-d6e7-461b-ab64-689bc756e204" providerId="ADAL" clId="{E3EE759B-C4FA-48FB-8678-9CCEE0847AAF}" dt="2025-05-02T20:04:32.968" v="1432" actId="255"/>
          <ac:spMkLst>
            <pc:docMk/>
            <pc:sldMk cId="1436275142" sldId="2147483462"/>
            <ac:spMk id="15" creationId="{DF00AC08-DC5F-FDAC-0953-99ACA9B42578}"/>
          </ac:spMkLst>
        </pc:spChg>
        <pc:spChg chg="mod">
          <ac:chgData name="Safeena Begum Lepakshi" userId="44e4f0de-d6e7-461b-ab64-689bc756e204" providerId="ADAL" clId="{E3EE759B-C4FA-48FB-8678-9CCEE0847AAF}" dt="2025-05-02T20:09:16.665" v="1464" actId="122"/>
          <ac:spMkLst>
            <pc:docMk/>
            <pc:sldMk cId="1436275142" sldId="2147483462"/>
            <ac:spMk id="17" creationId="{FC1964C5-1FD3-CA64-8B70-AA7E8113064F}"/>
          </ac:spMkLst>
        </pc:spChg>
        <pc:spChg chg="add mod">
          <ac:chgData name="Safeena Begum Lepakshi" userId="44e4f0de-d6e7-461b-ab64-689bc756e204" providerId="ADAL" clId="{E3EE759B-C4FA-48FB-8678-9CCEE0847AAF}" dt="2025-05-02T20:10:35.010" v="1474" actId="403"/>
          <ac:spMkLst>
            <pc:docMk/>
            <pc:sldMk cId="1436275142" sldId="2147483462"/>
            <ac:spMk id="19" creationId="{761FDF20-DD8C-BFBA-AADC-C6BA4F96789F}"/>
          </ac:spMkLst>
        </pc:spChg>
        <pc:spChg chg="add mod">
          <ac:chgData name="Safeena Begum Lepakshi" userId="44e4f0de-d6e7-461b-ab64-689bc756e204" providerId="ADAL" clId="{E3EE759B-C4FA-48FB-8678-9CCEE0847AAF}" dt="2025-05-02T20:10:23.982" v="1472" actId="1076"/>
          <ac:spMkLst>
            <pc:docMk/>
            <pc:sldMk cId="1436275142" sldId="2147483462"/>
            <ac:spMk id="20" creationId="{8FD4A8EB-A23E-D7FD-2FE6-3158EDE882C1}"/>
          </ac:spMkLst>
        </pc:spChg>
        <pc:spChg chg="mod">
          <ac:chgData name="Safeena Begum Lepakshi" userId="44e4f0de-d6e7-461b-ab64-689bc756e204" providerId="ADAL" clId="{E3EE759B-C4FA-48FB-8678-9CCEE0847AAF}" dt="2025-05-02T20:04:37.815" v="1434" actId="20577"/>
          <ac:spMkLst>
            <pc:docMk/>
            <pc:sldMk cId="1436275142" sldId="2147483462"/>
            <ac:spMk id="24" creationId="{337FF454-40CF-B11E-8FA0-AE304A7FFF4B}"/>
          </ac:spMkLst>
        </pc:spChg>
        <pc:spChg chg="mod">
          <ac:chgData name="Safeena Begum Lepakshi" userId="44e4f0de-d6e7-461b-ab64-689bc756e204" providerId="ADAL" clId="{E3EE759B-C4FA-48FB-8678-9CCEE0847AAF}" dt="2025-05-02T20:09:21.023" v="1465" actId="122"/>
          <ac:spMkLst>
            <pc:docMk/>
            <pc:sldMk cId="1436275142" sldId="2147483462"/>
            <ac:spMk id="27" creationId="{8FE9BE9D-A844-5D07-708D-D4B38C4A39CC}"/>
          </ac:spMkLst>
        </pc:spChg>
        <pc:spChg chg="mod">
          <ac:chgData name="Safeena Begum Lepakshi" userId="44e4f0de-d6e7-461b-ab64-689bc756e204" providerId="ADAL" clId="{E3EE759B-C4FA-48FB-8678-9CCEE0847AAF}" dt="2025-05-02T20:05:13.706" v="1445" actId="20577"/>
          <ac:spMkLst>
            <pc:docMk/>
            <pc:sldMk cId="1436275142" sldId="2147483462"/>
            <ac:spMk id="30" creationId="{8ECFCD78-B3C2-E9FE-9828-CC9E3D05A348}"/>
          </ac:spMkLst>
        </pc:spChg>
        <pc:spChg chg="mod">
          <ac:chgData name="Safeena Begum Lepakshi" userId="44e4f0de-d6e7-461b-ab64-689bc756e204" providerId="ADAL" clId="{E3EE759B-C4FA-48FB-8678-9CCEE0847AAF}" dt="2025-05-02T20:09:25.089" v="1466" actId="122"/>
          <ac:spMkLst>
            <pc:docMk/>
            <pc:sldMk cId="1436275142" sldId="2147483462"/>
            <ac:spMk id="34" creationId="{5B3EB6EB-7D88-C2BC-13C2-21A564DE3746}"/>
          </ac:spMkLst>
        </pc:spChg>
      </pc:sldChg>
      <pc:sldChg chg="add">
        <pc:chgData name="Safeena Begum Lepakshi" userId="44e4f0de-d6e7-461b-ab64-689bc756e204" providerId="ADAL" clId="{E3EE759B-C4FA-48FB-8678-9CCEE0847AAF}" dt="2025-05-01T08:50:40.769" v="1355"/>
        <pc:sldMkLst>
          <pc:docMk/>
          <pc:sldMk cId="543140509" sldId="2147483463"/>
        </pc:sldMkLst>
      </pc:sldChg>
      <pc:sldChg chg="modNotesTx">
        <pc:chgData name="Safeena Begum Lepakshi" userId="44e4f0de-d6e7-461b-ab64-689bc756e204" providerId="ADAL" clId="{E3EE759B-C4FA-48FB-8678-9CCEE0847AAF}" dt="2025-05-08T04:37:16.311" v="5395" actId="20577"/>
        <pc:sldMkLst>
          <pc:docMk/>
          <pc:sldMk cId="1580223782" sldId="2147483463"/>
        </pc:sldMkLst>
      </pc:sldChg>
      <pc:sldChg chg="del">
        <pc:chgData name="Safeena Begum Lepakshi" userId="44e4f0de-d6e7-461b-ab64-689bc756e204" providerId="ADAL" clId="{E3EE759B-C4FA-48FB-8678-9CCEE0847AAF}" dt="2025-04-17T19:27:43.763" v="181" actId="47"/>
        <pc:sldMkLst>
          <pc:docMk/>
          <pc:sldMk cId="3536153840" sldId="2147483464"/>
        </pc:sldMkLst>
      </pc:sldChg>
      <pc:sldChg chg="del">
        <pc:chgData name="Safeena Begum Lepakshi" userId="44e4f0de-d6e7-461b-ab64-689bc756e204" providerId="ADAL" clId="{E3EE759B-C4FA-48FB-8678-9CCEE0847AAF}" dt="2025-04-17T19:27:43.763" v="181" actId="47"/>
        <pc:sldMkLst>
          <pc:docMk/>
          <pc:sldMk cId="1398642710" sldId="2147483465"/>
        </pc:sldMkLst>
      </pc:sldChg>
      <pc:sldChg chg="add">
        <pc:chgData name="Safeena Begum Lepakshi" userId="44e4f0de-d6e7-461b-ab64-689bc756e204" providerId="ADAL" clId="{E3EE759B-C4FA-48FB-8678-9CCEE0847AAF}" dt="2025-05-01T08:50:40.769" v="1355"/>
        <pc:sldMkLst>
          <pc:docMk/>
          <pc:sldMk cId="362948878" sldId="2147483475"/>
        </pc:sldMkLst>
      </pc:sldChg>
      <pc:sldChg chg="del">
        <pc:chgData name="Safeena Begum Lepakshi" userId="44e4f0de-d6e7-461b-ab64-689bc756e204" providerId="ADAL" clId="{E3EE759B-C4FA-48FB-8678-9CCEE0847AAF}" dt="2025-04-17T19:27:43.763" v="181" actId="47"/>
        <pc:sldMkLst>
          <pc:docMk/>
          <pc:sldMk cId="2903905699" sldId="2147483476"/>
        </pc:sldMkLst>
      </pc:sldChg>
      <pc:sldChg chg="del">
        <pc:chgData name="Safeena Begum Lepakshi" userId="44e4f0de-d6e7-461b-ab64-689bc756e204" providerId="ADAL" clId="{E3EE759B-C4FA-48FB-8678-9CCEE0847AAF}" dt="2025-04-17T19:27:43.763" v="181" actId="47"/>
        <pc:sldMkLst>
          <pc:docMk/>
          <pc:sldMk cId="3540679387" sldId="2147483477"/>
        </pc:sldMkLst>
      </pc:sldChg>
      <pc:sldChg chg="addSp delSp modSp mod modAnim modNotesTx">
        <pc:chgData name="Safeena Begum Lepakshi" userId="44e4f0de-d6e7-461b-ab64-689bc756e204" providerId="ADAL" clId="{E3EE759B-C4FA-48FB-8678-9CCEE0847AAF}" dt="2025-05-08T04:38:33.842" v="5408" actId="20577"/>
        <pc:sldMkLst>
          <pc:docMk/>
          <pc:sldMk cId="240707795" sldId="2147483478"/>
        </pc:sldMkLst>
        <pc:spChg chg="add mod">
          <ac:chgData name="Safeena Begum Lepakshi" userId="44e4f0de-d6e7-461b-ab64-689bc756e204" providerId="ADAL" clId="{E3EE759B-C4FA-48FB-8678-9CCEE0847AAF}" dt="2025-05-07T19:05:53.127" v="5143" actId="14100"/>
          <ac:spMkLst>
            <pc:docMk/>
            <pc:sldMk cId="240707795" sldId="2147483478"/>
            <ac:spMk id="3" creationId="{44DB6B10-7E0C-4563-A159-24E284B7897F}"/>
          </ac:spMkLst>
        </pc:spChg>
        <pc:spChg chg="add mod">
          <ac:chgData name="Safeena Begum Lepakshi" userId="44e4f0de-d6e7-461b-ab64-689bc756e204" providerId="ADAL" clId="{E3EE759B-C4FA-48FB-8678-9CCEE0847AAF}" dt="2025-05-02T20:59:47.298" v="1671" actId="14100"/>
          <ac:spMkLst>
            <pc:docMk/>
            <pc:sldMk cId="240707795" sldId="2147483478"/>
            <ac:spMk id="6" creationId="{CA87062F-2D45-44CC-DD8D-90EEC5493FA1}"/>
          </ac:spMkLst>
        </pc:spChg>
        <pc:spChg chg="add mod">
          <ac:chgData name="Safeena Begum Lepakshi" userId="44e4f0de-d6e7-461b-ab64-689bc756e204" providerId="ADAL" clId="{E3EE759B-C4FA-48FB-8678-9CCEE0847AAF}" dt="2025-05-02T21:07:27.482" v="1700" actId="14100"/>
          <ac:spMkLst>
            <pc:docMk/>
            <pc:sldMk cId="240707795" sldId="2147483478"/>
            <ac:spMk id="7" creationId="{8763C975-3662-4EEB-5F93-2EBF645E784A}"/>
          </ac:spMkLst>
        </pc:spChg>
        <pc:picChg chg="mod">
          <ac:chgData name="Safeena Begum Lepakshi" userId="44e4f0de-d6e7-461b-ab64-689bc756e204" providerId="ADAL" clId="{E3EE759B-C4FA-48FB-8678-9CCEE0847AAF}" dt="2025-05-07T19:05:40.753" v="5141" actId="1076"/>
          <ac:picMkLst>
            <pc:docMk/>
            <pc:sldMk cId="240707795" sldId="2147483478"/>
            <ac:picMk id="5" creationId="{821B9A5F-AD42-84AE-D594-AFDB108D8CA5}"/>
          </ac:picMkLst>
        </pc:picChg>
      </pc:sldChg>
      <pc:sldChg chg="add">
        <pc:chgData name="Safeena Begum Lepakshi" userId="44e4f0de-d6e7-461b-ab64-689bc756e204" providerId="ADAL" clId="{E3EE759B-C4FA-48FB-8678-9CCEE0847AAF}" dt="2025-05-01T08:50:40.769" v="1355"/>
        <pc:sldMkLst>
          <pc:docMk/>
          <pc:sldMk cId="2247070929" sldId="2147483478"/>
        </pc:sldMkLst>
      </pc:sldChg>
      <pc:sldChg chg="add">
        <pc:chgData name="Safeena Begum Lepakshi" userId="44e4f0de-d6e7-461b-ab64-689bc756e204" providerId="ADAL" clId="{E3EE759B-C4FA-48FB-8678-9CCEE0847AAF}" dt="2025-05-01T08:50:40.769" v="1355"/>
        <pc:sldMkLst>
          <pc:docMk/>
          <pc:sldMk cId="1518477975" sldId="2147483484"/>
        </pc:sldMkLst>
      </pc:sldChg>
      <pc:sldChg chg="addSp delSp del mod">
        <pc:chgData name="Safeena Begum Lepakshi" userId="44e4f0de-d6e7-461b-ab64-689bc756e204" providerId="ADAL" clId="{E3EE759B-C4FA-48FB-8678-9CCEE0847AAF}" dt="2025-05-03T09:42:46.875" v="2426" actId="47"/>
        <pc:sldMkLst>
          <pc:docMk/>
          <pc:sldMk cId="1002680215" sldId="2147483487"/>
        </pc:sldMkLst>
      </pc:sldChg>
      <pc:sldChg chg="add">
        <pc:chgData name="Safeena Begum Lepakshi" userId="44e4f0de-d6e7-461b-ab64-689bc756e204" providerId="ADAL" clId="{E3EE759B-C4FA-48FB-8678-9CCEE0847AAF}" dt="2025-05-01T08:50:40.769" v="1355"/>
        <pc:sldMkLst>
          <pc:docMk/>
          <pc:sldMk cId="2763625404" sldId="2147483487"/>
        </pc:sldMkLst>
      </pc:sldChg>
      <pc:sldChg chg="addSp delSp modSp mod modAnim modNotesTx">
        <pc:chgData name="Safeena Begum Lepakshi" userId="44e4f0de-d6e7-461b-ab64-689bc756e204" providerId="ADAL" clId="{E3EE759B-C4FA-48FB-8678-9CCEE0847AAF}" dt="2025-05-08T04:38:07.408" v="5404" actId="20577"/>
        <pc:sldMkLst>
          <pc:docMk/>
          <pc:sldMk cId="2284162329" sldId="2147483488"/>
        </pc:sldMkLst>
        <pc:spChg chg="add mod">
          <ac:chgData name="Safeena Begum Lepakshi" userId="44e4f0de-d6e7-461b-ab64-689bc756e204" providerId="ADAL" clId="{E3EE759B-C4FA-48FB-8678-9CCEE0847AAF}" dt="2025-05-02T21:01:57.964" v="1699" actId="14100"/>
          <ac:spMkLst>
            <pc:docMk/>
            <pc:sldMk cId="2284162329" sldId="2147483488"/>
            <ac:spMk id="3" creationId="{9587E96E-E24B-68F0-C5B7-D90186499258}"/>
          </ac:spMkLst>
        </pc:spChg>
        <pc:spChg chg="add mod">
          <ac:chgData name="Safeena Begum Lepakshi" userId="44e4f0de-d6e7-461b-ab64-689bc756e204" providerId="ADAL" clId="{E3EE759B-C4FA-48FB-8678-9CCEE0847AAF}" dt="2025-05-04T01:30:44.455" v="3107" actId="14100"/>
          <ac:spMkLst>
            <pc:docMk/>
            <pc:sldMk cId="2284162329" sldId="2147483488"/>
            <ac:spMk id="5" creationId="{A4D1EA99-F41F-8D50-25CF-9052C7F386B1}"/>
          </ac:spMkLst>
        </pc:spChg>
        <pc:spChg chg="add mod">
          <ac:chgData name="Safeena Begum Lepakshi" userId="44e4f0de-d6e7-461b-ab64-689bc756e204" providerId="ADAL" clId="{E3EE759B-C4FA-48FB-8678-9CCEE0847AAF}" dt="2025-05-04T01:33:52.812" v="3112" actId="1076"/>
          <ac:spMkLst>
            <pc:docMk/>
            <pc:sldMk cId="2284162329" sldId="2147483488"/>
            <ac:spMk id="7" creationId="{2B17E9B0-296A-D278-A203-F0FEE1D747EA}"/>
          </ac:spMkLst>
        </pc:spChg>
        <pc:spChg chg="add mod">
          <ac:chgData name="Safeena Begum Lepakshi" userId="44e4f0de-d6e7-461b-ab64-689bc756e204" providerId="ADAL" clId="{E3EE759B-C4FA-48FB-8678-9CCEE0847AAF}" dt="2025-05-04T01:33:45.263" v="3111" actId="1076"/>
          <ac:spMkLst>
            <pc:docMk/>
            <pc:sldMk cId="2284162329" sldId="2147483488"/>
            <ac:spMk id="8" creationId="{D30CC88F-1B58-3EC8-638F-89EDB8829E7C}"/>
          </ac:spMkLst>
        </pc:spChg>
        <pc:picChg chg="mod">
          <ac:chgData name="Safeena Begum Lepakshi" userId="44e4f0de-d6e7-461b-ab64-689bc756e204" providerId="ADAL" clId="{E3EE759B-C4FA-48FB-8678-9CCEE0847AAF}" dt="2025-05-04T01:30:23.132" v="3102" actId="1076"/>
          <ac:picMkLst>
            <pc:docMk/>
            <pc:sldMk cId="2284162329" sldId="2147483488"/>
            <ac:picMk id="6" creationId="{8A3B5EE1-E58E-D5B7-7A35-F3FB06B4248C}"/>
          </ac:picMkLst>
        </pc:picChg>
      </pc:sldChg>
      <pc:sldChg chg="add">
        <pc:chgData name="Safeena Begum Lepakshi" userId="44e4f0de-d6e7-461b-ab64-689bc756e204" providerId="ADAL" clId="{E3EE759B-C4FA-48FB-8678-9CCEE0847AAF}" dt="2025-05-01T08:50:40.769" v="1355"/>
        <pc:sldMkLst>
          <pc:docMk/>
          <pc:sldMk cId="3942835095" sldId="2147483488"/>
        </pc:sldMkLst>
      </pc:sldChg>
      <pc:sldChg chg="ord modNotesTx">
        <pc:chgData name="Safeena Begum Lepakshi" userId="44e4f0de-d6e7-461b-ab64-689bc756e204" providerId="ADAL" clId="{E3EE759B-C4FA-48FB-8678-9CCEE0847AAF}" dt="2025-05-08T04:38:02.799" v="5403" actId="20577"/>
        <pc:sldMkLst>
          <pc:docMk/>
          <pc:sldMk cId="197134191" sldId="2147483489"/>
        </pc:sldMkLst>
      </pc:sldChg>
      <pc:sldChg chg="add">
        <pc:chgData name="Safeena Begum Lepakshi" userId="44e4f0de-d6e7-461b-ab64-689bc756e204" providerId="ADAL" clId="{E3EE759B-C4FA-48FB-8678-9CCEE0847AAF}" dt="2025-05-01T08:50:40.769" v="1355"/>
        <pc:sldMkLst>
          <pc:docMk/>
          <pc:sldMk cId="2908563836" sldId="2147483489"/>
        </pc:sldMkLst>
      </pc:sldChg>
      <pc:sldChg chg="modNotesTx">
        <pc:chgData name="Safeena Begum Lepakshi" userId="44e4f0de-d6e7-461b-ab64-689bc756e204" providerId="ADAL" clId="{E3EE759B-C4FA-48FB-8678-9CCEE0847AAF}" dt="2025-05-08T04:37:58.425" v="5402" actId="20577"/>
        <pc:sldMkLst>
          <pc:docMk/>
          <pc:sldMk cId="2526465080" sldId="2147483490"/>
        </pc:sldMkLst>
      </pc:sldChg>
      <pc:sldChg chg="add">
        <pc:chgData name="Safeena Begum Lepakshi" userId="44e4f0de-d6e7-461b-ab64-689bc756e204" providerId="ADAL" clId="{E3EE759B-C4FA-48FB-8678-9CCEE0847AAF}" dt="2025-05-01T08:50:40.769" v="1355"/>
        <pc:sldMkLst>
          <pc:docMk/>
          <pc:sldMk cId="2639666339" sldId="2147483490"/>
        </pc:sldMkLst>
      </pc:sldChg>
      <pc:sldChg chg="modNotesTx">
        <pc:chgData name="Safeena Begum Lepakshi" userId="44e4f0de-d6e7-461b-ab64-689bc756e204" providerId="ADAL" clId="{E3EE759B-C4FA-48FB-8678-9CCEE0847AAF}" dt="2025-05-08T04:37:53.533" v="5401" actId="20577"/>
        <pc:sldMkLst>
          <pc:docMk/>
          <pc:sldMk cId="572497218" sldId="2147483491"/>
        </pc:sldMkLst>
      </pc:sldChg>
      <pc:sldChg chg="add">
        <pc:chgData name="Safeena Begum Lepakshi" userId="44e4f0de-d6e7-461b-ab64-689bc756e204" providerId="ADAL" clId="{E3EE759B-C4FA-48FB-8678-9CCEE0847AAF}" dt="2025-05-01T08:50:40.769" v="1355"/>
        <pc:sldMkLst>
          <pc:docMk/>
          <pc:sldMk cId="3550179878" sldId="2147483491"/>
        </pc:sldMkLst>
      </pc:sldChg>
      <pc:sldChg chg="add">
        <pc:chgData name="Safeena Begum Lepakshi" userId="44e4f0de-d6e7-461b-ab64-689bc756e204" providerId="ADAL" clId="{E3EE759B-C4FA-48FB-8678-9CCEE0847AAF}" dt="2025-05-01T08:50:40.769" v="1355"/>
        <pc:sldMkLst>
          <pc:docMk/>
          <pc:sldMk cId="453569925" sldId="2147483492"/>
        </pc:sldMkLst>
      </pc:sldChg>
      <pc:sldChg chg="addSp delSp modSp mod modAnim modNotesTx">
        <pc:chgData name="Safeena Begum Lepakshi" userId="44e4f0de-d6e7-461b-ab64-689bc756e204" providerId="ADAL" clId="{E3EE759B-C4FA-48FB-8678-9CCEE0847AAF}" dt="2025-05-08T04:38:28.792" v="5407" actId="20577"/>
        <pc:sldMkLst>
          <pc:docMk/>
          <pc:sldMk cId="3365979024" sldId="2147483493"/>
        </pc:sldMkLst>
        <pc:spChg chg="add mod">
          <ac:chgData name="Safeena Begum Lepakshi" userId="44e4f0de-d6e7-461b-ab64-689bc756e204" providerId="ADAL" clId="{E3EE759B-C4FA-48FB-8678-9CCEE0847AAF}" dt="2025-05-02T21:00:47.882" v="1683" actId="14100"/>
          <ac:spMkLst>
            <pc:docMk/>
            <pc:sldMk cId="3365979024" sldId="2147483493"/>
            <ac:spMk id="4" creationId="{D8317143-771F-330E-B11F-0312E8A416E6}"/>
          </ac:spMkLst>
        </pc:spChg>
        <pc:picChg chg="mod">
          <ac:chgData name="Safeena Begum Lepakshi" userId="44e4f0de-d6e7-461b-ab64-689bc756e204" providerId="ADAL" clId="{E3EE759B-C4FA-48FB-8678-9CCEE0847AAF}" dt="2025-05-02T20:16:08.482" v="1493" actId="1076"/>
          <ac:picMkLst>
            <pc:docMk/>
            <pc:sldMk cId="3365979024" sldId="2147483493"/>
            <ac:picMk id="3" creationId="{7C1CD455-40FA-9EDC-F2A0-D7F91FC0A872}"/>
          </ac:picMkLst>
        </pc:picChg>
      </pc:sldChg>
      <pc:sldChg chg="add">
        <pc:chgData name="Safeena Begum Lepakshi" userId="44e4f0de-d6e7-461b-ab64-689bc756e204" providerId="ADAL" clId="{E3EE759B-C4FA-48FB-8678-9CCEE0847AAF}" dt="2025-05-01T08:50:40.769" v="1355"/>
        <pc:sldMkLst>
          <pc:docMk/>
          <pc:sldMk cId="3678424499" sldId="2147483493"/>
        </pc:sldMkLst>
      </pc:sldChg>
      <pc:sldChg chg="add">
        <pc:chgData name="Safeena Begum Lepakshi" userId="44e4f0de-d6e7-461b-ab64-689bc756e204" providerId="ADAL" clId="{E3EE759B-C4FA-48FB-8678-9CCEE0847AAF}" dt="2025-05-01T08:50:40.769" v="1355"/>
        <pc:sldMkLst>
          <pc:docMk/>
          <pc:sldMk cId="413974656" sldId="2147483494"/>
        </pc:sldMkLst>
      </pc:sldChg>
      <pc:sldChg chg="modNotesTx">
        <pc:chgData name="Safeena Begum Lepakshi" userId="44e4f0de-d6e7-461b-ab64-689bc756e204" providerId="ADAL" clId="{E3EE759B-C4FA-48FB-8678-9CCEE0847AAF}" dt="2025-05-08T04:37:10.094" v="5394" actId="20577"/>
        <pc:sldMkLst>
          <pc:docMk/>
          <pc:sldMk cId="2726808283" sldId="2147483494"/>
        </pc:sldMkLst>
      </pc:sldChg>
      <pc:sldChg chg="add del">
        <pc:chgData name="Safeena Begum Lepakshi" userId="44e4f0de-d6e7-461b-ab64-689bc756e204" providerId="ADAL" clId="{E3EE759B-C4FA-48FB-8678-9CCEE0847AAF}" dt="2025-05-01T08:51:09.545" v="1356" actId="47"/>
        <pc:sldMkLst>
          <pc:docMk/>
          <pc:sldMk cId="305470870" sldId="2147483495"/>
        </pc:sldMkLst>
      </pc:sldChg>
      <pc:sldChg chg="add del">
        <pc:chgData name="Safeena Begum Lepakshi" userId="44e4f0de-d6e7-461b-ab64-689bc756e204" providerId="ADAL" clId="{E3EE759B-C4FA-48FB-8678-9CCEE0847AAF}" dt="2025-05-01T08:51:16.042" v="1357" actId="47"/>
        <pc:sldMkLst>
          <pc:docMk/>
          <pc:sldMk cId="1637249372" sldId="2147483496"/>
        </pc:sldMkLst>
      </pc:sldChg>
      <pc:sldChg chg="add del">
        <pc:chgData name="Safeena Begum Lepakshi" userId="44e4f0de-d6e7-461b-ab64-689bc756e204" providerId="ADAL" clId="{E3EE759B-C4FA-48FB-8678-9CCEE0847AAF}" dt="2025-05-01T08:49:28.561" v="1344"/>
        <pc:sldMkLst>
          <pc:docMk/>
          <pc:sldMk cId="3894445686" sldId="2147483497"/>
        </pc:sldMkLst>
      </pc:sldChg>
      <pc:sldChg chg="addSp modSp mod modAnim modNotesTx">
        <pc:chgData name="Safeena Begum Lepakshi" userId="44e4f0de-d6e7-461b-ab64-689bc756e204" providerId="ADAL" clId="{E3EE759B-C4FA-48FB-8678-9CCEE0847AAF}" dt="2025-05-08T04:37:21.970" v="5396" actId="20577"/>
        <pc:sldMkLst>
          <pc:docMk/>
          <pc:sldMk cId="45770292" sldId="2147483498"/>
        </pc:sldMkLst>
        <pc:picChg chg="add mod">
          <ac:chgData name="Safeena Begum Lepakshi" userId="44e4f0de-d6e7-461b-ab64-689bc756e204" providerId="ADAL" clId="{E3EE759B-C4FA-48FB-8678-9CCEE0847AAF}" dt="2025-05-04T15:53:26.952" v="3758" actId="14100"/>
          <ac:picMkLst>
            <pc:docMk/>
            <pc:sldMk cId="45770292" sldId="2147483498"/>
            <ac:picMk id="7" creationId="{8FB4281A-2EED-2E42-A24C-B0614159ED90}"/>
          </ac:picMkLst>
        </pc:picChg>
      </pc:sldChg>
      <pc:sldChg chg="add">
        <pc:chgData name="Safeena Begum Lepakshi" userId="44e4f0de-d6e7-461b-ab64-689bc756e204" providerId="ADAL" clId="{E3EE759B-C4FA-48FB-8678-9CCEE0847AAF}" dt="2025-05-01T08:50:40.769" v="1355"/>
        <pc:sldMkLst>
          <pc:docMk/>
          <pc:sldMk cId="3779791826" sldId="2147483498"/>
        </pc:sldMkLst>
      </pc:sldChg>
      <pc:sldChg chg="add modTransition modNotesTx">
        <pc:chgData name="Safeena Begum Lepakshi" userId="44e4f0de-d6e7-461b-ab64-689bc756e204" providerId="ADAL" clId="{E3EE759B-C4FA-48FB-8678-9CCEE0847AAF}" dt="2025-04-30T14:17:23.064" v="900" actId="20577"/>
        <pc:sldMkLst>
          <pc:docMk/>
          <pc:sldMk cId="2039002620" sldId="2147483503"/>
        </pc:sldMkLst>
      </pc:sldChg>
      <pc:sldChg chg="modNotesTx">
        <pc:chgData name="Safeena Begum Lepakshi" userId="44e4f0de-d6e7-461b-ab64-689bc756e204" providerId="ADAL" clId="{E3EE759B-C4FA-48FB-8678-9CCEE0847AAF}" dt="2025-05-03T19:09:54.444" v="2662" actId="20577"/>
        <pc:sldMkLst>
          <pc:docMk/>
          <pc:sldMk cId="1952471886" sldId="2147483504"/>
        </pc:sldMkLst>
      </pc:sldChg>
      <pc:sldChg chg="add del">
        <pc:chgData name="Safeena Begum Lepakshi" userId="44e4f0de-d6e7-461b-ab64-689bc756e204" providerId="ADAL" clId="{E3EE759B-C4FA-48FB-8678-9CCEE0847AAF}" dt="2025-05-01T07:46:35.302" v="919" actId="47"/>
        <pc:sldMkLst>
          <pc:docMk/>
          <pc:sldMk cId="139756066" sldId="2147483505"/>
        </pc:sldMkLst>
      </pc:sldChg>
      <pc:sldChg chg="add">
        <pc:chgData name="Safeena Begum Lepakshi" userId="44e4f0de-d6e7-461b-ab64-689bc756e204" providerId="ADAL" clId="{E3EE759B-C4FA-48FB-8678-9CCEE0847AAF}" dt="2025-05-02T17:37:47.992" v="1368"/>
        <pc:sldMkLst>
          <pc:docMk/>
          <pc:sldMk cId="1455460576" sldId="2147483506"/>
        </pc:sldMkLst>
      </pc:sldChg>
      <pc:sldChg chg="delSp add mod modTransition setBg delDesignElem modShow">
        <pc:chgData name="Safeena Begum Lepakshi" userId="44e4f0de-d6e7-461b-ab64-689bc756e204" providerId="ADAL" clId="{E3EE759B-C4FA-48FB-8678-9CCEE0847AAF}" dt="2025-05-02T20:12:57.261" v="1476" actId="729"/>
        <pc:sldMkLst>
          <pc:docMk/>
          <pc:sldMk cId="3946587777" sldId="2147483507"/>
        </pc:sldMkLst>
      </pc:sldChg>
      <pc:sldChg chg="add mod ord modShow">
        <pc:chgData name="Safeena Begum Lepakshi" userId="44e4f0de-d6e7-461b-ab64-689bc756e204" providerId="ADAL" clId="{E3EE759B-C4FA-48FB-8678-9CCEE0847AAF}" dt="2025-05-02T20:10:49.593" v="1475" actId="729"/>
        <pc:sldMkLst>
          <pc:docMk/>
          <pc:sldMk cId="950946790" sldId="2147483509"/>
        </pc:sldMkLst>
      </pc:sldChg>
      <pc:sldChg chg="delSp add modTransition setBg delDesignElem">
        <pc:chgData name="Safeena Begum Lepakshi" userId="44e4f0de-d6e7-461b-ab64-689bc756e204" providerId="ADAL" clId="{E3EE759B-C4FA-48FB-8678-9CCEE0847AAF}" dt="2025-05-02T17:37:47.992" v="1368"/>
        <pc:sldMkLst>
          <pc:docMk/>
          <pc:sldMk cId="1112767105" sldId="2147483510"/>
        </pc:sldMkLst>
      </pc:sldChg>
      <pc:sldChg chg="add del mod modShow">
        <pc:chgData name="Safeena Begum Lepakshi" userId="44e4f0de-d6e7-461b-ab64-689bc756e204" providerId="ADAL" clId="{E3EE759B-C4FA-48FB-8678-9CCEE0847AAF}" dt="2025-04-28T00:35:48.774" v="782" actId="47"/>
        <pc:sldMkLst>
          <pc:docMk/>
          <pc:sldMk cId="1352381192" sldId="2147483510"/>
        </pc:sldMkLst>
      </pc:sldChg>
      <pc:sldChg chg="add del mod modShow">
        <pc:chgData name="Safeena Begum Lepakshi" userId="44e4f0de-d6e7-461b-ab64-689bc756e204" providerId="ADAL" clId="{E3EE759B-C4FA-48FB-8678-9CCEE0847AAF}" dt="2025-04-28T00:35:48.774" v="782" actId="47"/>
        <pc:sldMkLst>
          <pc:docMk/>
          <pc:sldMk cId="2306499896" sldId="2147483511"/>
        </pc:sldMkLst>
      </pc:sldChg>
      <pc:sldChg chg="add ord">
        <pc:chgData name="Safeena Begum Lepakshi" userId="44e4f0de-d6e7-461b-ab64-689bc756e204" providerId="ADAL" clId="{E3EE759B-C4FA-48FB-8678-9CCEE0847AAF}" dt="2025-04-27T23:38:44.102" v="395"/>
        <pc:sldMkLst>
          <pc:docMk/>
          <pc:sldMk cId="2757139286" sldId="2147483512"/>
        </pc:sldMkLst>
      </pc:sldChg>
      <pc:sldChg chg="add del modTransition">
        <pc:chgData name="Safeena Begum Lepakshi" userId="44e4f0de-d6e7-461b-ab64-689bc756e204" providerId="ADAL" clId="{E3EE759B-C4FA-48FB-8678-9CCEE0847AAF}" dt="2025-05-02T20:40:22.389" v="1665" actId="47"/>
        <pc:sldMkLst>
          <pc:docMk/>
          <pc:sldMk cId="1328980405" sldId="2147483513"/>
        </pc:sldMkLst>
      </pc:sldChg>
      <pc:sldChg chg="add del">
        <pc:chgData name="Safeena Begum Lepakshi" userId="44e4f0de-d6e7-461b-ab64-689bc756e204" providerId="ADAL" clId="{E3EE759B-C4FA-48FB-8678-9CCEE0847AAF}" dt="2025-04-27T23:38:19.178" v="393" actId="47"/>
        <pc:sldMkLst>
          <pc:docMk/>
          <pc:sldMk cId="4286397125" sldId="2147483517"/>
        </pc:sldMkLst>
      </pc:sldChg>
      <pc:sldChg chg="add del">
        <pc:chgData name="Safeena Begum Lepakshi" userId="44e4f0de-d6e7-461b-ab64-689bc756e204" providerId="ADAL" clId="{E3EE759B-C4FA-48FB-8678-9CCEE0847AAF}" dt="2025-05-01T08:46:29.428" v="1274" actId="47"/>
        <pc:sldMkLst>
          <pc:docMk/>
          <pc:sldMk cId="2424697602" sldId="2147483520"/>
        </pc:sldMkLst>
      </pc:sldChg>
      <pc:sldChg chg="add del setBg">
        <pc:chgData name="Safeena Begum Lepakshi" userId="44e4f0de-d6e7-461b-ab64-689bc756e204" providerId="ADAL" clId="{E3EE759B-C4FA-48FB-8678-9CCEE0847AAF}" dt="2025-05-01T08:46:29.428" v="1274" actId="47"/>
        <pc:sldMkLst>
          <pc:docMk/>
          <pc:sldMk cId="1699013302" sldId="2147483521"/>
        </pc:sldMkLst>
      </pc:sldChg>
      <pc:sldChg chg="add del">
        <pc:chgData name="Safeena Begum Lepakshi" userId="44e4f0de-d6e7-461b-ab64-689bc756e204" providerId="ADAL" clId="{E3EE759B-C4FA-48FB-8678-9CCEE0847AAF}" dt="2025-05-01T08:46:29.428" v="1274" actId="47"/>
        <pc:sldMkLst>
          <pc:docMk/>
          <pc:sldMk cId="3253333744" sldId="2147483522"/>
        </pc:sldMkLst>
      </pc:sldChg>
      <pc:sldChg chg="add del">
        <pc:chgData name="Safeena Begum Lepakshi" userId="44e4f0de-d6e7-461b-ab64-689bc756e204" providerId="ADAL" clId="{E3EE759B-C4FA-48FB-8678-9CCEE0847AAF}" dt="2025-05-01T08:46:29.428" v="1274" actId="47"/>
        <pc:sldMkLst>
          <pc:docMk/>
          <pc:sldMk cId="405098463" sldId="2147483523"/>
        </pc:sldMkLst>
      </pc:sldChg>
      <pc:sldChg chg="add del">
        <pc:chgData name="Safeena Begum Lepakshi" userId="44e4f0de-d6e7-461b-ab64-689bc756e204" providerId="ADAL" clId="{E3EE759B-C4FA-48FB-8678-9CCEE0847AAF}" dt="2025-05-01T08:46:29.428" v="1274" actId="47"/>
        <pc:sldMkLst>
          <pc:docMk/>
          <pc:sldMk cId="3303120736" sldId="2147483524"/>
        </pc:sldMkLst>
      </pc:sldChg>
      <pc:sldChg chg="addSp delSp modSp add del mod delAnim">
        <pc:chgData name="Safeena Begum Lepakshi" userId="44e4f0de-d6e7-461b-ab64-689bc756e204" providerId="ADAL" clId="{E3EE759B-C4FA-48FB-8678-9CCEE0847AAF}" dt="2025-05-01T08:26:30.040" v="1267" actId="47"/>
        <pc:sldMkLst>
          <pc:docMk/>
          <pc:sldMk cId="4107920972" sldId="2147483547"/>
        </pc:sldMkLst>
      </pc:sldChg>
      <pc:sldChg chg="mod ord modShow">
        <pc:chgData name="Safeena Begum Lepakshi" userId="44e4f0de-d6e7-461b-ab64-689bc756e204" providerId="ADAL" clId="{E3EE759B-C4FA-48FB-8678-9CCEE0847AAF}" dt="2025-04-27T23:32:17.023" v="375" actId="729"/>
        <pc:sldMkLst>
          <pc:docMk/>
          <pc:sldMk cId="269135049" sldId="2147483554"/>
        </pc:sldMkLst>
      </pc:sldChg>
      <pc:sldChg chg="add del mod modShow">
        <pc:chgData name="Safeena Begum Lepakshi" userId="44e4f0de-d6e7-461b-ab64-689bc756e204" providerId="ADAL" clId="{E3EE759B-C4FA-48FB-8678-9CCEE0847AAF}" dt="2025-04-28T00:35:48.774" v="782" actId="47"/>
        <pc:sldMkLst>
          <pc:docMk/>
          <pc:sldMk cId="936616874" sldId="2147483556"/>
        </pc:sldMkLst>
      </pc:sldChg>
      <pc:sldChg chg="add mod modShow">
        <pc:chgData name="Safeena Begum Lepakshi" userId="44e4f0de-d6e7-461b-ab64-689bc756e204" providerId="ADAL" clId="{E3EE759B-C4FA-48FB-8678-9CCEE0847AAF}" dt="2025-05-02T17:36:51.208" v="1362" actId="729"/>
        <pc:sldMkLst>
          <pc:docMk/>
          <pc:sldMk cId="410907468" sldId="2147483582"/>
        </pc:sldMkLst>
      </pc:sldChg>
      <pc:sldChg chg="modSp add del mod modNotesTx">
        <pc:chgData name="Safeena Begum Lepakshi" userId="44e4f0de-d6e7-461b-ab64-689bc756e204" providerId="ADAL" clId="{E3EE759B-C4FA-48FB-8678-9CCEE0847AAF}" dt="2025-05-03T10:10:17.318" v="2651" actId="255"/>
        <pc:sldMkLst>
          <pc:docMk/>
          <pc:sldMk cId="1091785174" sldId="2147483590"/>
        </pc:sldMkLst>
        <pc:spChg chg="mod">
          <ac:chgData name="Safeena Begum Lepakshi" userId="44e4f0de-d6e7-461b-ab64-689bc756e204" providerId="ADAL" clId="{E3EE759B-C4FA-48FB-8678-9CCEE0847AAF}" dt="2025-05-03T10:10:17.318" v="2651" actId="255"/>
          <ac:spMkLst>
            <pc:docMk/>
            <pc:sldMk cId="1091785174" sldId="2147483590"/>
            <ac:spMk id="12" creationId="{3D828813-19CC-497A-5D38-E14A0326D3CB}"/>
          </ac:spMkLst>
        </pc:spChg>
        <pc:spChg chg="mod">
          <ac:chgData name="Safeena Begum Lepakshi" userId="44e4f0de-d6e7-461b-ab64-689bc756e204" providerId="ADAL" clId="{E3EE759B-C4FA-48FB-8678-9CCEE0847AAF}" dt="2025-05-03T10:09:03.243" v="2644" actId="20577"/>
          <ac:spMkLst>
            <pc:docMk/>
            <pc:sldMk cId="1091785174" sldId="2147483590"/>
            <ac:spMk id="19" creationId="{324D554C-86F1-2D42-1D3C-8A213AC8A184}"/>
          </ac:spMkLst>
        </pc:spChg>
      </pc:sldChg>
      <pc:sldChg chg="add mod modShow">
        <pc:chgData name="Safeena Begum Lepakshi" userId="44e4f0de-d6e7-461b-ab64-689bc756e204" providerId="ADAL" clId="{E3EE759B-C4FA-48FB-8678-9CCEE0847AAF}" dt="2025-05-02T17:36:51.208" v="1362" actId="729"/>
        <pc:sldMkLst>
          <pc:docMk/>
          <pc:sldMk cId="3583129047" sldId="2147483597"/>
        </pc:sldMkLst>
      </pc:sldChg>
      <pc:sldChg chg="del">
        <pc:chgData name="Safeena Begum Lepakshi" userId="44e4f0de-d6e7-461b-ab64-689bc756e204" providerId="ADAL" clId="{E3EE759B-C4FA-48FB-8678-9CCEE0847AAF}" dt="2025-04-21T06:24:26.661" v="332" actId="47"/>
        <pc:sldMkLst>
          <pc:docMk/>
          <pc:sldMk cId="680702643" sldId="2147483606"/>
        </pc:sldMkLst>
      </pc:sldChg>
      <pc:sldChg chg="del">
        <pc:chgData name="Safeena Begum Lepakshi" userId="44e4f0de-d6e7-461b-ab64-689bc756e204" providerId="ADAL" clId="{E3EE759B-C4FA-48FB-8678-9CCEE0847AAF}" dt="2025-04-21T06:24:26.661" v="332" actId="47"/>
        <pc:sldMkLst>
          <pc:docMk/>
          <pc:sldMk cId="627323805" sldId="2147483607"/>
        </pc:sldMkLst>
      </pc:sldChg>
      <pc:sldChg chg="del">
        <pc:chgData name="Safeena Begum Lepakshi" userId="44e4f0de-d6e7-461b-ab64-689bc756e204" providerId="ADAL" clId="{E3EE759B-C4FA-48FB-8678-9CCEE0847AAF}" dt="2025-04-21T06:23:45.899" v="330" actId="2696"/>
        <pc:sldMkLst>
          <pc:docMk/>
          <pc:sldMk cId="1292449040" sldId="2147483608"/>
        </pc:sldMkLst>
      </pc:sldChg>
      <pc:sldChg chg="add del">
        <pc:chgData name="Safeena Begum Lepakshi" userId="44e4f0de-d6e7-461b-ab64-689bc756e204" providerId="ADAL" clId="{E3EE759B-C4FA-48FB-8678-9CCEE0847AAF}" dt="2025-04-28T00:17:09.500" v="770" actId="47"/>
        <pc:sldMkLst>
          <pc:docMk/>
          <pc:sldMk cId="2167560470" sldId="2147483608"/>
        </pc:sldMkLst>
      </pc:sldChg>
      <pc:sldChg chg="del">
        <pc:chgData name="Safeena Begum Lepakshi" userId="44e4f0de-d6e7-461b-ab64-689bc756e204" providerId="ADAL" clId="{E3EE759B-C4FA-48FB-8678-9CCEE0847AAF}" dt="2025-04-21T06:23:45.899" v="330" actId="2696"/>
        <pc:sldMkLst>
          <pc:docMk/>
          <pc:sldMk cId="3293746136" sldId="2147483609"/>
        </pc:sldMkLst>
      </pc:sldChg>
      <pc:sldChg chg="add del">
        <pc:chgData name="Safeena Begum Lepakshi" userId="44e4f0de-d6e7-461b-ab64-689bc756e204" providerId="ADAL" clId="{E3EE759B-C4FA-48FB-8678-9CCEE0847AAF}" dt="2025-04-28T00:17:09.500" v="770" actId="47"/>
        <pc:sldMkLst>
          <pc:docMk/>
          <pc:sldMk cId="4255058078" sldId="2147483609"/>
        </pc:sldMkLst>
      </pc:sldChg>
      <pc:sldChg chg="del">
        <pc:chgData name="Safeena Begum Lepakshi" userId="44e4f0de-d6e7-461b-ab64-689bc756e204" providerId="ADAL" clId="{E3EE759B-C4FA-48FB-8678-9CCEE0847AAF}" dt="2025-04-21T06:23:45.899" v="330" actId="2696"/>
        <pc:sldMkLst>
          <pc:docMk/>
          <pc:sldMk cId="944247083" sldId="2147483610"/>
        </pc:sldMkLst>
      </pc:sldChg>
      <pc:sldChg chg="add del">
        <pc:chgData name="Safeena Begum Lepakshi" userId="44e4f0de-d6e7-461b-ab64-689bc756e204" providerId="ADAL" clId="{E3EE759B-C4FA-48FB-8678-9CCEE0847AAF}" dt="2025-04-28T00:17:09.500" v="770" actId="47"/>
        <pc:sldMkLst>
          <pc:docMk/>
          <pc:sldMk cId="1657711782" sldId="2147483610"/>
        </pc:sldMkLst>
      </pc:sldChg>
      <pc:sldChg chg="add del">
        <pc:chgData name="Safeena Begum Lepakshi" userId="44e4f0de-d6e7-461b-ab64-689bc756e204" providerId="ADAL" clId="{E3EE759B-C4FA-48FB-8678-9CCEE0847AAF}" dt="2025-04-28T00:17:09.500" v="770" actId="47"/>
        <pc:sldMkLst>
          <pc:docMk/>
          <pc:sldMk cId="1699831887" sldId="2147483611"/>
        </pc:sldMkLst>
      </pc:sldChg>
      <pc:sldChg chg="del">
        <pc:chgData name="Safeena Begum Lepakshi" userId="44e4f0de-d6e7-461b-ab64-689bc756e204" providerId="ADAL" clId="{E3EE759B-C4FA-48FB-8678-9CCEE0847AAF}" dt="2025-04-21T06:23:45.899" v="330" actId="2696"/>
        <pc:sldMkLst>
          <pc:docMk/>
          <pc:sldMk cId="2429693854" sldId="2147483611"/>
        </pc:sldMkLst>
      </pc:sldChg>
      <pc:sldChg chg="add del">
        <pc:chgData name="Safeena Begum Lepakshi" userId="44e4f0de-d6e7-461b-ab64-689bc756e204" providerId="ADAL" clId="{E3EE759B-C4FA-48FB-8678-9CCEE0847AAF}" dt="2025-04-28T00:17:09.500" v="770" actId="47"/>
        <pc:sldMkLst>
          <pc:docMk/>
          <pc:sldMk cId="1693312548" sldId="2147483612"/>
        </pc:sldMkLst>
      </pc:sldChg>
      <pc:sldChg chg="del">
        <pc:chgData name="Safeena Begum Lepakshi" userId="44e4f0de-d6e7-461b-ab64-689bc756e204" providerId="ADAL" clId="{E3EE759B-C4FA-48FB-8678-9CCEE0847AAF}" dt="2025-04-21T06:23:45.899" v="330" actId="2696"/>
        <pc:sldMkLst>
          <pc:docMk/>
          <pc:sldMk cId="2018307585" sldId="2147483612"/>
        </pc:sldMkLst>
      </pc:sldChg>
      <pc:sldChg chg="add del">
        <pc:chgData name="Safeena Begum Lepakshi" userId="44e4f0de-d6e7-461b-ab64-689bc756e204" providerId="ADAL" clId="{E3EE759B-C4FA-48FB-8678-9CCEE0847AAF}" dt="2025-04-28T00:17:09.500" v="770" actId="47"/>
        <pc:sldMkLst>
          <pc:docMk/>
          <pc:sldMk cId="1372004351" sldId="2147483613"/>
        </pc:sldMkLst>
      </pc:sldChg>
      <pc:sldChg chg="del">
        <pc:chgData name="Safeena Begum Lepakshi" userId="44e4f0de-d6e7-461b-ab64-689bc756e204" providerId="ADAL" clId="{E3EE759B-C4FA-48FB-8678-9CCEE0847AAF}" dt="2025-04-21T06:23:45.899" v="330" actId="2696"/>
        <pc:sldMkLst>
          <pc:docMk/>
          <pc:sldMk cId="3133469251" sldId="2147483613"/>
        </pc:sldMkLst>
      </pc:sldChg>
      <pc:sldChg chg="del">
        <pc:chgData name="Safeena Begum Lepakshi" userId="44e4f0de-d6e7-461b-ab64-689bc756e204" providerId="ADAL" clId="{E3EE759B-C4FA-48FB-8678-9CCEE0847AAF}" dt="2025-04-21T06:23:45.899" v="330" actId="2696"/>
        <pc:sldMkLst>
          <pc:docMk/>
          <pc:sldMk cId="1533600811" sldId="2147483614"/>
        </pc:sldMkLst>
      </pc:sldChg>
      <pc:sldChg chg="add del">
        <pc:chgData name="Safeena Begum Lepakshi" userId="44e4f0de-d6e7-461b-ab64-689bc756e204" providerId="ADAL" clId="{E3EE759B-C4FA-48FB-8678-9CCEE0847AAF}" dt="2025-04-28T00:17:09.500" v="770" actId="47"/>
        <pc:sldMkLst>
          <pc:docMk/>
          <pc:sldMk cId="2830503618" sldId="2147483614"/>
        </pc:sldMkLst>
      </pc:sldChg>
      <pc:sldChg chg="addSp delSp modSp new mod">
        <pc:chgData name="Safeena Begum Lepakshi" userId="44e4f0de-d6e7-461b-ab64-689bc756e204" providerId="ADAL" clId="{E3EE759B-C4FA-48FB-8678-9CCEE0847AAF}" dt="2025-05-01T08:41:55" v="1269" actId="478"/>
        <pc:sldMkLst>
          <pc:docMk/>
          <pc:sldMk cId="2391138826" sldId="2147483615"/>
        </pc:sldMkLst>
      </pc:sldChg>
      <pc:sldChg chg="delSp modSp new del mod">
        <pc:chgData name="Safeena Begum Lepakshi" userId="44e4f0de-d6e7-461b-ab64-689bc756e204" providerId="ADAL" clId="{E3EE759B-C4FA-48FB-8678-9CCEE0847AAF}" dt="2025-04-21T05:58:05.114" v="261" actId="47"/>
        <pc:sldMkLst>
          <pc:docMk/>
          <pc:sldMk cId="274557305" sldId="2147483616"/>
        </pc:sldMkLst>
      </pc:sldChg>
      <pc:sldChg chg="modSp add del mod ord modTransition">
        <pc:chgData name="Safeena Begum Lepakshi" userId="44e4f0de-d6e7-461b-ab64-689bc756e204" providerId="ADAL" clId="{E3EE759B-C4FA-48FB-8678-9CCEE0847AAF}" dt="2025-05-02T20:38:07.737" v="1659" actId="47"/>
        <pc:sldMkLst>
          <pc:docMk/>
          <pc:sldMk cId="1231840033" sldId="2147483616"/>
        </pc:sldMkLst>
      </pc:sldChg>
      <pc:sldChg chg="new del">
        <pc:chgData name="Safeena Begum Lepakshi" userId="44e4f0de-d6e7-461b-ab64-689bc756e204" providerId="ADAL" clId="{E3EE759B-C4FA-48FB-8678-9CCEE0847AAF}" dt="2025-04-21T05:54:15.152" v="227" actId="47"/>
        <pc:sldMkLst>
          <pc:docMk/>
          <pc:sldMk cId="2212439796" sldId="2147483616"/>
        </pc:sldMkLst>
      </pc:sldChg>
      <pc:sldChg chg="add del modTransition">
        <pc:chgData name="Safeena Begum Lepakshi" userId="44e4f0de-d6e7-461b-ab64-689bc756e204" providerId="ADAL" clId="{E3EE759B-C4FA-48FB-8678-9CCEE0847AAF}" dt="2025-04-28T00:21:04.871" v="773" actId="47"/>
        <pc:sldMkLst>
          <pc:docMk/>
          <pc:sldMk cId="3817147279" sldId="2147483630"/>
        </pc:sldMkLst>
      </pc:sldChg>
      <pc:sldChg chg="add del mod modTransition modShow">
        <pc:chgData name="Safeena Begum Lepakshi" userId="44e4f0de-d6e7-461b-ab64-689bc756e204" providerId="ADAL" clId="{E3EE759B-C4FA-48FB-8678-9CCEE0847AAF}" dt="2025-04-30T14:17:35.965" v="901" actId="47"/>
        <pc:sldMkLst>
          <pc:docMk/>
          <pc:sldMk cId="1369571920" sldId="2147483631"/>
        </pc:sldMkLst>
      </pc:sldChg>
      <pc:sldChg chg="add del mod modTransition modShow">
        <pc:chgData name="Safeena Begum Lepakshi" userId="44e4f0de-d6e7-461b-ab64-689bc756e204" providerId="ADAL" clId="{E3EE759B-C4FA-48FB-8678-9CCEE0847AAF}" dt="2025-04-30T14:17:35.965" v="901" actId="47"/>
        <pc:sldMkLst>
          <pc:docMk/>
          <pc:sldMk cId="2777278219" sldId="2147483632"/>
        </pc:sldMkLst>
      </pc:sldChg>
      <pc:sldChg chg="add del mod modTransition modShow">
        <pc:chgData name="Safeena Begum Lepakshi" userId="44e4f0de-d6e7-461b-ab64-689bc756e204" providerId="ADAL" clId="{E3EE759B-C4FA-48FB-8678-9CCEE0847AAF}" dt="2025-04-30T14:17:35.965" v="901" actId="47"/>
        <pc:sldMkLst>
          <pc:docMk/>
          <pc:sldMk cId="2638763787" sldId="2147483633"/>
        </pc:sldMkLst>
      </pc:sldChg>
      <pc:sldChg chg="add mod modShow">
        <pc:chgData name="Safeena Begum Lepakshi" userId="44e4f0de-d6e7-461b-ab64-689bc756e204" providerId="ADAL" clId="{E3EE759B-C4FA-48FB-8678-9CCEE0847AAF}" dt="2025-05-02T17:36:51.208" v="1362" actId="729"/>
        <pc:sldMkLst>
          <pc:docMk/>
          <pc:sldMk cId="89334465" sldId="2147483635"/>
        </pc:sldMkLst>
      </pc:sldChg>
      <pc:sldChg chg="add del mod modTransition modShow">
        <pc:chgData name="Safeena Begum Lepakshi" userId="44e4f0de-d6e7-461b-ab64-689bc756e204" providerId="ADAL" clId="{E3EE759B-C4FA-48FB-8678-9CCEE0847AAF}" dt="2025-04-30T14:17:35.965" v="901" actId="47"/>
        <pc:sldMkLst>
          <pc:docMk/>
          <pc:sldMk cId="610293252" sldId="2147483636"/>
        </pc:sldMkLst>
      </pc:sldChg>
      <pc:sldChg chg="add del modTransition">
        <pc:chgData name="Safeena Begum Lepakshi" userId="44e4f0de-d6e7-461b-ab64-689bc756e204" providerId="ADAL" clId="{E3EE759B-C4FA-48FB-8678-9CCEE0847AAF}" dt="2025-04-28T00:21:02.764" v="772" actId="47"/>
        <pc:sldMkLst>
          <pc:docMk/>
          <pc:sldMk cId="2401425360" sldId="2147483637"/>
        </pc:sldMkLst>
      </pc:sldChg>
      <pc:sldChg chg="delSp modSp new del mod modShow">
        <pc:chgData name="Safeena Begum Lepakshi" userId="44e4f0de-d6e7-461b-ab64-689bc756e204" providerId="ADAL" clId="{E3EE759B-C4FA-48FB-8678-9CCEE0847AAF}" dt="2025-04-30T14:17:35.965" v="901" actId="47"/>
        <pc:sldMkLst>
          <pc:docMk/>
          <pc:sldMk cId="1336338945" sldId="2147483638"/>
        </pc:sldMkLst>
      </pc:sldChg>
      <pc:sldChg chg="addSp modSp add del mod modNotesTx">
        <pc:chgData name="Safeena Begum Lepakshi" userId="44e4f0de-d6e7-461b-ab64-689bc756e204" providerId="ADAL" clId="{E3EE759B-C4FA-48FB-8678-9CCEE0847AAF}" dt="2025-04-28T00:17:09.500" v="770" actId="47"/>
        <pc:sldMkLst>
          <pc:docMk/>
          <pc:sldMk cId="2837645465" sldId="2147483639"/>
        </pc:sldMkLst>
      </pc:sldChg>
      <pc:sldChg chg="add del">
        <pc:chgData name="Safeena Begum Lepakshi" userId="44e4f0de-d6e7-461b-ab64-689bc756e204" providerId="ADAL" clId="{E3EE759B-C4FA-48FB-8678-9CCEE0847AAF}" dt="2025-04-21T06:16:50" v="320"/>
        <pc:sldMkLst>
          <pc:docMk/>
          <pc:sldMk cId="3548939452" sldId="2147483639"/>
        </pc:sldMkLst>
      </pc:sldChg>
      <pc:sldChg chg="add modNotesTx">
        <pc:chgData name="Safeena Begum Lepakshi" userId="44e4f0de-d6e7-461b-ab64-689bc756e204" providerId="ADAL" clId="{E3EE759B-C4FA-48FB-8678-9CCEE0847AAF}" dt="2025-04-27T23:24:17.508" v="363" actId="20577"/>
        <pc:sldMkLst>
          <pc:docMk/>
          <pc:sldMk cId="2444228563" sldId="2147483644"/>
        </pc:sldMkLst>
      </pc:sldChg>
      <pc:sldChg chg="addSp delSp modSp new del mod modNotesTx">
        <pc:chgData name="Safeena Begum Lepakshi" userId="44e4f0de-d6e7-461b-ab64-689bc756e204" providerId="ADAL" clId="{E3EE759B-C4FA-48FB-8678-9CCEE0847AAF}" dt="2025-05-03T10:11:03.468" v="2652" actId="47"/>
        <pc:sldMkLst>
          <pc:docMk/>
          <pc:sldMk cId="1430100880" sldId="2147483645"/>
        </pc:sldMkLst>
      </pc:sldChg>
      <pc:sldChg chg="add del mod modShow">
        <pc:chgData name="Safeena Begum Lepakshi" userId="44e4f0de-d6e7-461b-ab64-689bc756e204" providerId="ADAL" clId="{E3EE759B-C4FA-48FB-8678-9CCEE0847AAF}" dt="2025-05-02T17:36:51.208" v="1362" actId="729"/>
        <pc:sldMkLst>
          <pc:docMk/>
          <pc:sldMk cId="2444120879" sldId="2147483646"/>
        </pc:sldMkLst>
      </pc:sldChg>
      <pc:sldChg chg="new del">
        <pc:chgData name="Safeena Begum Lepakshi" userId="44e4f0de-d6e7-461b-ab64-689bc756e204" providerId="ADAL" clId="{E3EE759B-C4FA-48FB-8678-9CCEE0847AAF}" dt="2025-05-02T21:41:53.134" v="1721" actId="47"/>
        <pc:sldMkLst>
          <pc:docMk/>
          <pc:sldMk cId="2653013408" sldId="2147483646"/>
        </pc:sldMkLst>
      </pc:sldChg>
      <pc:sldChg chg="addSp delSp modSp new mod">
        <pc:chgData name="Safeena Begum Lepakshi" userId="44e4f0de-d6e7-461b-ab64-689bc756e204" providerId="ADAL" clId="{E3EE759B-C4FA-48FB-8678-9CCEE0847AAF}" dt="2025-05-03T09:07:20.796" v="1997" actId="122"/>
        <pc:sldMkLst>
          <pc:docMk/>
          <pc:sldMk cId="2685641053" sldId="2147483646"/>
        </pc:sldMkLst>
        <pc:spChg chg="add mod">
          <ac:chgData name="Safeena Begum Lepakshi" userId="44e4f0de-d6e7-461b-ab64-689bc756e204" providerId="ADAL" clId="{E3EE759B-C4FA-48FB-8678-9CCEE0847AAF}" dt="2025-05-03T09:01:44.430" v="1970" actId="27636"/>
          <ac:spMkLst>
            <pc:docMk/>
            <pc:sldMk cId="2685641053" sldId="2147483646"/>
            <ac:spMk id="3" creationId="{45D7D80B-4D50-4348-1481-DF42FC431D9C}"/>
          </ac:spMkLst>
        </pc:spChg>
        <pc:spChg chg="add mod">
          <ac:chgData name="Safeena Begum Lepakshi" userId="44e4f0de-d6e7-461b-ab64-689bc756e204" providerId="ADAL" clId="{E3EE759B-C4FA-48FB-8678-9CCEE0847AAF}" dt="2025-05-03T09:03:04.118" v="1976" actId="1076"/>
          <ac:spMkLst>
            <pc:docMk/>
            <pc:sldMk cId="2685641053" sldId="2147483646"/>
            <ac:spMk id="4" creationId="{BF506F38-3F64-869F-6730-E4CDC6667E89}"/>
          </ac:spMkLst>
        </pc:spChg>
        <pc:spChg chg="add mod">
          <ac:chgData name="Safeena Begum Lepakshi" userId="44e4f0de-d6e7-461b-ab64-689bc756e204" providerId="ADAL" clId="{E3EE759B-C4FA-48FB-8678-9CCEE0847AAF}" dt="2025-05-03T09:03:46.729" v="1979" actId="1076"/>
          <ac:spMkLst>
            <pc:docMk/>
            <pc:sldMk cId="2685641053" sldId="2147483646"/>
            <ac:spMk id="5" creationId="{3B5DE903-FCB3-640C-15E8-05F4EA146A76}"/>
          </ac:spMkLst>
        </pc:spChg>
        <pc:spChg chg="mod">
          <ac:chgData name="Safeena Begum Lepakshi" userId="44e4f0de-d6e7-461b-ab64-689bc756e204" providerId="ADAL" clId="{E3EE759B-C4FA-48FB-8678-9CCEE0847AAF}" dt="2025-05-03T09:03:46.729" v="1979" actId="1076"/>
          <ac:spMkLst>
            <pc:docMk/>
            <pc:sldMk cId="2685641053" sldId="2147483646"/>
            <ac:spMk id="6" creationId="{206EB619-80CC-B7BB-09BF-6354069FC86A}"/>
          </ac:spMkLst>
        </pc:spChg>
        <pc:spChg chg="mod">
          <ac:chgData name="Safeena Begum Lepakshi" userId="44e4f0de-d6e7-461b-ab64-689bc756e204" providerId="ADAL" clId="{E3EE759B-C4FA-48FB-8678-9CCEE0847AAF}" dt="2025-05-03T09:03:37.102" v="1978"/>
          <ac:spMkLst>
            <pc:docMk/>
            <pc:sldMk cId="2685641053" sldId="2147483646"/>
            <ac:spMk id="8" creationId="{1FFBE578-2A37-6BB7-66D5-113D447AE34A}"/>
          </ac:spMkLst>
        </pc:spChg>
        <pc:spChg chg="mod">
          <ac:chgData name="Safeena Begum Lepakshi" userId="44e4f0de-d6e7-461b-ab64-689bc756e204" providerId="ADAL" clId="{E3EE759B-C4FA-48FB-8678-9CCEE0847AAF}" dt="2025-05-03T09:03:37.102" v="1978"/>
          <ac:spMkLst>
            <pc:docMk/>
            <pc:sldMk cId="2685641053" sldId="2147483646"/>
            <ac:spMk id="10" creationId="{F4A0165A-FC69-2373-72F3-A90D5D1FB15B}"/>
          </ac:spMkLst>
        </pc:spChg>
        <pc:spChg chg="mod">
          <ac:chgData name="Safeena Begum Lepakshi" userId="44e4f0de-d6e7-461b-ab64-689bc756e204" providerId="ADAL" clId="{E3EE759B-C4FA-48FB-8678-9CCEE0847AAF}" dt="2025-05-03T09:03:37.102" v="1978"/>
          <ac:spMkLst>
            <pc:docMk/>
            <pc:sldMk cId="2685641053" sldId="2147483646"/>
            <ac:spMk id="11" creationId="{4DDDC278-CA04-A8B0-EBD3-8DE5447BD1BC}"/>
          </ac:spMkLst>
        </pc:spChg>
        <pc:spChg chg="mod">
          <ac:chgData name="Safeena Begum Lepakshi" userId="44e4f0de-d6e7-461b-ab64-689bc756e204" providerId="ADAL" clId="{E3EE759B-C4FA-48FB-8678-9CCEE0847AAF}" dt="2025-05-03T09:03:37.102" v="1978"/>
          <ac:spMkLst>
            <pc:docMk/>
            <pc:sldMk cId="2685641053" sldId="2147483646"/>
            <ac:spMk id="12" creationId="{7161B704-A639-E19E-3D94-AEF0F9E17DBA}"/>
          </ac:spMkLst>
        </pc:spChg>
        <pc:spChg chg="mod">
          <ac:chgData name="Safeena Begum Lepakshi" userId="44e4f0de-d6e7-461b-ab64-689bc756e204" providerId="ADAL" clId="{E3EE759B-C4FA-48FB-8678-9CCEE0847AAF}" dt="2025-05-03T09:03:37.102" v="1978"/>
          <ac:spMkLst>
            <pc:docMk/>
            <pc:sldMk cId="2685641053" sldId="2147483646"/>
            <ac:spMk id="15" creationId="{1E74549D-3E1E-E494-DF92-659E4847C002}"/>
          </ac:spMkLst>
        </pc:spChg>
        <pc:spChg chg="mod">
          <ac:chgData name="Safeena Begum Lepakshi" userId="44e4f0de-d6e7-461b-ab64-689bc756e204" providerId="ADAL" clId="{E3EE759B-C4FA-48FB-8678-9CCEE0847AAF}" dt="2025-05-03T09:03:37.102" v="1978"/>
          <ac:spMkLst>
            <pc:docMk/>
            <pc:sldMk cId="2685641053" sldId="2147483646"/>
            <ac:spMk id="16" creationId="{EA214E10-9CFA-A5E1-0AB7-42105B4B6C63}"/>
          </ac:spMkLst>
        </pc:spChg>
        <pc:spChg chg="add mod">
          <ac:chgData name="Safeena Begum Lepakshi" userId="44e4f0de-d6e7-461b-ab64-689bc756e204" providerId="ADAL" clId="{E3EE759B-C4FA-48FB-8678-9CCEE0847AAF}" dt="2025-05-03T09:03:04.118" v="1976" actId="1076"/>
          <ac:spMkLst>
            <pc:docMk/>
            <pc:sldMk cId="2685641053" sldId="2147483646"/>
            <ac:spMk id="17" creationId="{DFB62296-A4B9-CF9C-C2A2-95C4435DE62C}"/>
          </ac:spMkLst>
        </pc:spChg>
        <pc:spChg chg="mod">
          <ac:chgData name="Safeena Begum Lepakshi" userId="44e4f0de-d6e7-461b-ab64-689bc756e204" providerId="ADAL" clId="{E3EE759B-C4FA-48FB-8678-9CCEE0847AAF}" dt="2025-05-03T09:02:41.334" v="1974"/>
          <ac:spMkLst>
            <pc:docMk/>
            <pc:sldMk cId="2685641053" sldId="2147483646"/>
            <ac:spMk id="19" creationId="{90EA8D22-98F0-3929-2F78-E7BCFBB7F554}"/>
          </ac:spMkLst>
        </pc:spChg>
        <pc:spChg chg="mod">
          <ac:chgData name="Safeena Begum Lepakshi" userId="44e4f0de-d6e7-461b-ab64-689bc756e204" providerId="ADAL" clId="{E3EE759B-C4FA-48FB-8678-9CCEE0847AAF}" dt="2025-05-03T09:02:41.334" v="1974"/>
          <ac:spMkLst>
            <pc:docMk/>
            <pc:sldMk cId="2685641053" sldId="2147483646"/>
            <ac:spMk id="21" creationId="{CD95A7C4-367C-0759-04AD-A2FEA58870CA}"/>
          </ac:spMkLst>
        </pc:spChg>
        <pc:spChg chg="mod">
          <ac:chgData name="Safeena Begum Lepakshi" userId="44e4f0de-d6e7-461b-ab64-689bc756e204" providerId="ADAL" clId="{E3EE759B-C4FA-48FB-8678-9CCEE0847AAF}" dt="2025-05-03T09:02:41.334" v="1974"/>
          <ac:spMkLst>
            <pc:docMk/>
            <pc:sldMk cId="2685641053" sldId="2147483646"/>
            <ac:spMk id="22" creationId="{61F2B4DC-BA94-FA2E-2A37-A0C57910F2F0}"/>
          </ac:spMkLst>
        </pc:spChg>
        <pc:spChg chg="mod">
          <ac:chgData name="Safeena Begum Lepakshi" userId="44e4f0de-d6e7-461b-ab64-689bc756e204" providerId="ADAL" clId="{E3EE759B-C4FA-48FB-8678-9CCEE0847AAF}" dt="2025-05-03T09:02:41.334" v="1974"/>
          <ac:spMkLst>
            <pc:docMk/>
            <pc:sldMk cId="2685641053" sldId="2147483646"/>
            <ac:spMk id="24" creationId="{73ADDAEC-8B33-0D41-2C1E-568AB9C59DDB}"/>
          </ac:spMkLst>
        </pc:spChg>
        <pc:spChg chg="mod">
          <ac:chgData name="Safeena Begum Lepakshi" userId="44e4f0de-d6e7-461b-ab64-689bc756e204" providerId="ADAL" clId="{E3EE759B-C4FA-48FB-8678-9CCEE0847AAF}" dt="2025-05-03T09:02:41.334" v="1974"/>
          <ac:spMkLst>
            <pc:docMk/>
            <pc:sldMk cId="2685641053" sldId="2147483646"/>
            <ac:spMk id="26" creationId="{2AB612FC-D694-23B4-89CD-5D79C3F58A37}"/>
          </ac:spMkLst>
        </pc:spChg>
        <pc:spChg chg="add mod">
          <ac:chgData name="Safeena Begum Lepakshi" userId="44e4f0de-d6e7-461b-ab64-689bc756e204" providerId="ADAL" clId="{E3EE759B-C4FA-48FB-8678-9CCEE0847AAF}" dt="2025-05-03T09:03:04.118" v="1976" actId="1076"/>
          <ac:spMkLst>
            <pc:docMk/>
            <pc:sldMk cId="2685641053" sldId="2147483646"/>
            <ac:spMk id="27" creationId="{3AE62CE4-D8FB-FA07-4636-A7A15552EBD7}"/>
          </ac:spMkLst>
        </pc:spChg>
        <pc:spChg chg="add mod">
          <ac:chgData name="Safeena Begum Lepakshi" userId="44e4f0de-d6e7-461b-ab64-689bc756e204" providerId="ADAL" clId="{E3EE759B-C4FA-48FB-8678-9CCEE0847AAF}" dt="2025-05-03T09:03:04.118" v="1976" actId="1076"/>
          <ac:spMkLst>
            <pc:docMk/>
            <pc:sldMk cId="2685641053" sldId="2147483646"/>
            <ac:spMk id="28" creationId="{726409E6-98E4-04B1-6981-642D2EB8F767}"/>
          </ac:spMkLst>
        </pc:spChg>
        <pc:spChg chg="add mod">
          <ac:chgData name="Safeena Begum Lepakshi" userId="44e4f0de-d6e7-461b-ab64-689bc756e204" providerId="ADAL" clId="{E3EE759B-C4FA-48FB-8678-9CCEE0847AAF}" dt="2025-05-03T09:03:46.729" v="1979" actId="1076"/>
          <ac:spMkLst>
            <pc:docMk/>
            <pc:sldMk cId="2685641053" sldId="2147483646"/>
            <ac:spMk id="31" creationId="{5D64FEF1-8362-E3FA-C9C2-6FC10023A908}"/>
          </ac:spMkLst>
        </pc:spChg>
        <pc:spChg chg="add mod">
          <ac:chgData name="Safeena Begum Lepakshi" userId="44e4f0de-d6e7-461b-ab64-689bc756e204" providerId="ADAL" clId="{E3EE759B-C4FA-48FB-8678-9CCEE0847AAF}" dt="2025-05-03T09:03:46.729" v="1979" actId="1076"/>
          <ac:spMkLst>
            <pc:docMk/>
            <pc:sldMk cId="2685641053" sldId="2147483646"/>
            <ac:spMk id="33" creationId="{3737CEED-AF6E-6930-75CD-57C1B94562DF}"/>
          </ac:spMkLst>
        </pc:spChg>
        <pc:spChg chg="add mod">
          <ac:chgData name="Safeena Begum Lepakshi" userId="44e4f0de-d6e7-461b-ab64-689bc756e204" providerId="ADAL" clId="{E3EE759B-C4FA-48FB-8678-9CCEE0847AAF}" dt="2025-05-03T09:03:04.118" v="1976" actId="1076"/>
          <ac:spMkLst>
            <pc:docMk/>
            <pc:sldMk cId="2685641053" sldId="2147483646"/>
            <ac:spMk id="34" creationId="{392BD780-0251-64DA-3621-BA5BCFAE73C9}"/>
          </ac:spMkLst>
        </pc:spChg>
        <pc:spChg chg="add mod">
          <ac:chgData name="Safeena Begum Lepakshi" userId="44e4f0de-d6e7-461b-ab64-689bc756e204" providerId="ADAL" clId="{E3EE759B-C4FA-48FB-8678-9CCEE0847AAF}" dt="2025-05-03T09:03:46.729" v="1979" actId="1076"/>
          <ac:spMkLst>
            <pc:docMk/>
            <pc:sldMk cId="2685641053" sldId="2147483646"/>
            <ac:spMk id="35" creationId="{AA8DF077-440F-1C39-7A5A-A5378576B792}"/>
          </ac:spMkLst>
        </pc:spChg>
        <pc:spChg chg="add mod">
          <ac:chgData name="Safeena Begum Lepakshi" userId="44e4f0de-d6e7-461b-ab64-689bc756e204" providerId="ADAL" clId="{E3EE759B-C4FA-48FB-8678-9CCEE0847AAF}" dt="2025-05-03T09:04:30.463" v="1982" actId="1076"/>
          <ac:spMkLst>
            <pc:docMk/>
            <pc:sldMk cId="2685641053" sldId="2147483646"/>
            <ac:spMk id="36" creationId="{30464490-CCEB-FF2E-DCE3-D48EACBFB486}"/>
          </ac:spMkLst>
        </pc:spChg>
        <pc:spChg chg="add mod">
          <ac:chgData name="Safeena Begum Lepakshi" userId="44e4f0de-d6e7-461b-ab64-689bc756e204" providerId="ADAL" clId="{E3EE759B-C4FA-48FB-8678-9CCEE0847AAF}" dt="2025-05-03T09:04:30.463" v="1982" actId="1076"/>
          <ac:spMkLst>
            <pc:docMk/>
            <pc:sldMk cId="2685641053" sldId="2147483646"/>
            <ac:spMk id="37" creationId="{D68BF80F-0392-AD37-445D-85E2FE4FC859}"/>
          </ac:spMkLst>
        </pc:spChg>
        <pc:spChg chg="mod">
          <ac:chgData name="Safeena Begum Lepakshi" userId="44e4f0de-d6e7-461b-ab64-689bc756e204" providerId="ADAL" clId="{E3EE759B-C4FA-48FB-8678-9CCEE0847AAF}" dt="2025-05-03T09:04:15.413" v="1981"/>
          <ac:spMkLst>
            <pc:docMk/>
            <pc:sldMk cId="2685641053" sldId="2147483646"/>
            <ac:spMk id="39" creationId="{5C9BC620-C9B4-8BF5-125B-02C8F96E3205}"/>
          </ac:spMkLst>
        </pc:spChg>
        <pc:spChg chg="mod">
          <ac:chgData name="Safeena Begum Lepakshi" userId="44e4f0de-d6e7-461b-ab64-689bc756e204" providerId="ADAL" clId="{E3EE759B-C4FA-48FB-8678-9CCEE0847AAF}" dt="2025-05-03T09:04:15.413" v="1981"/>
          <ac:spMkLst>
            <pc:docMk/>
            <pc:sldMk cId="2685641053" sldId="2147483646"/>
            <ac:spMk id="41" creationId="{B28921B3-6BB5-B357-2A03-F46408049490}"/>
          </ac:spMkLst>
        </pc:spChg>
        <pc:spChg chg="mod">
          <ac:chgData name="Safeena Begum Lepakshi" userId="44e4f0de-d6e7-461b-ab64-689bc756e204" providerId="ADAL" clId="{E3EE759B-C4FA-48FB-8678-9CCEE0847AAF}" dt="2025-05-03T09:04:15.413" v="1981"/>
          <ac:spMkLst>
            <pc:docMk/>
            <pc:sldMk cId="2685641053" sldId="2147483646"/>
            <ac:spMk id="42" creationId="{20684A61-1C02-73E3-88C5-45131ACF7D57}"/>
          </ac:spMkLst>
        </pc:spChg>
        <pc:spChg chg="mod">
          <ac:chgData name="Safeena Begum Lepakshi" userId="44e4f0de-d6e7-461b-ab64-689bc756e204" providerId="ADAL" clId="{E3EE759B-C4FA-48FB-8678-9CCEE0847AAF}" dt="2025-05-03T09:04:15.413" v="1981"/>
          <ac:spMkLst>
            <pc:docMk/>
            <pc:sldMk cId="2685641053" sldId="2147483646"/>
            <ac:spMk id="43" creationId="{FD2C1E3F-49EA-676D-3D35-20BA58529F7F}"/>
          </ac:spMkLst>
        </pc:spChg>
        <pc:spChg chg="mod">
          <ac:chgData name="Safeena Begum Lepakshi" userId="44e4f0de-d6e7-461b-ab64-689bc756e204" providerId="ADAL" clId="{E3EE759B-C4FA-48FB-8678-9CCEE0847AAF}" dt="2025-05-03T09:04:15.413" v="1981"/>
          <ac:spMkLst>
            <pc:docMk/>
            <pc:sldMk cId="2685641053" sldId="2147483646"/>
            <ac:spMk id="44" creationId="{607B91AC-2EF2-0503-442C-42FDB2224C2B}"/>
          </ac:spMkLst>
        </pc:spChg>
        <pc:spChg chg="add mod">
          <ac:chgData name="Safeena Begum Lepakshi" userId="44e4f0de-d6e7-461b-ab64-689bc756e204" providerId="ADAL" clId="{E3EE759B-C4FA-48FB-8678-9CCEE0847AAF}" dt="2025-05-03T09:04:30.463" v="1982" actId="1076"/>
          <ac:spMkLst>
            <pc:docMk/>
            <pc:sldMk cId="2685641053" sldId="2147483646"/>
            <ac:spMk id="45" creationId="{D8A1A3ED-962E-1ED7-2E58-F460567B05A3}"/>
          </ac:spMkLst>
        </pc:spChg>
        <pc:spChg chg="add mod">
          <ac:chgData name="Safeena Begum Lepakshi" userId="44e4f0de-d6e7-461b-ab64-689bc756e204" providerId="ADAL" clId="{E3EE759B-C4FA-48FB-8678-9CCEE0847AAF}" dt="2025-05-03T09:04:30.463" v="1982" actId="1076"/>
          <ac:spMkLst>
            <pc:docMk/>
            <pc:sldMk cId="2685641053" sldId="2147483646"/>
            <ac:spMk id="47" creationId="{CDB08212-8FE4-29DC-70DA-F95746396AD4}"/>
          </ac:spMkLst>
        </pc:spChg>
        <pc:spChg chg="add mod">
          <ac:chgData name="Safeena Begum Lepakshi" userId="44e4f0de-d6e7-461b-ab64-689bc756e204" providerId="ADAL" clId="{E3EE759B-C4FA-48FB-8678-9CCEE0847AAF}" dt="2025-05-03T09:04:30.463" v="1982" actId="1076"/>
          <ac:spMkLst>
            <pc:docMk/>
            <pc:sldMk cId="2685641053" sldId="2147483646"/>
            <ac:spMk id="48" creationId="{C17036C0-0D44-9B65-AFE1-4FCC6F72E6ED}"/>
          </ac:spMkLst>
        </pc:spChg>
        <pc:spChg chg="add mod">
          <ac:chgData name="Safeena Begum Lepakshi" userId="44e4f0de-d6e7-461b-ab64-689bc756e204" providerId="ADAL" clId="{E3EE759B-C4FA-48FB-8678-9CCEE0847AAF}" dt="2025-05-03T09:07:20.796" v="1997" actId="122"/>
          <ac:spMkLst>
            <pc:docMk/>
            <pc:sldMk cId="2685641053" sldId="2147483646"/>
            <ac:spMk id="51" creationId="{93FB7260-1E01-3276-5358-F334166F373B}"/>
          </ac:spMkLst>
        </pc:spChg>
        <pc:grpChg chg="mod">
          <ac:chgData name="Safeena Begum Lepakshi" userId="44e4f0de-d6e7-461b-ab64-689bc756e204" providerId="ADAL" clId="{E3EE759B-C4FA-48FB-8678-9CCEE0847AAF}" dt="2025-05-03T09:03:46.729" v="1979" actId="1076"/>
          <ac:grpSpMkLst>
            <pc:docMk/>
            <pc:sldMk cId="2685641053" sldId="2147483646"/>
            <ac:grpSpMk id="7" creationId="{923AA9D6-7E4E-355F-02B2-F641981D55A7}"/>
          </ac:grpSpMkLst>
        </pc:grpChg>
        <pc:grpChg chg="mod">
          <ac:chgData name="Safeena Begum Lepakshi" userId="44e4f0de-d6e7-461b-ab64-689bc756e204" providerId="ADAL" clId="{E3EE759B-C4FA-48FB-8678-9CCEE0847AAF}" dt="2025-05-03T09:03:04.118" v="1976" actId="1076"/>
          <ac:grpSpMkLst>
            <pc:docMk/>
            <pc:sldMk cId="2685641053" sldId="2147483646"/>
            <ac:grpSpMk id="18" creationId="{D51140DD-B2BC-EE69-7F2A-D24AE74C441B}"/>
          </ac:grpSpMkLst>
        </pc:grpChg>
        <pc:grpChg chg="mod">
          <ac:chgData name="Safeena Begum Lepakshi" userId="44e4f0de-d6e7-461b-ab64-689bc756e204" providerId="ADAL" clId="{E3EE759B-C4FA-48FB-8678-9CCEE0847AAF}" dt="2025-05-03T09:04:30.463" v="1982" actId="1076"/>
          <ac:grpSpMkLst>
            <pc:docMk/>
            <pc:sldMk cId="2685641053" sldId="2147483646"/>
            <ac:grpSpMk id="38" creationId="{7B39D7A0-39FB-8CB8-DD58-E2671FA72531}"/>
          </ac:grpSpMkLst>
        </pc:grpChg>
        <pc:graphicFrameChg chg="mod">
          <ac:chgData name="Safeena Begum Lepakshi" userId="44e4f0de-d6e7-461b-ab64-689bc756e204" providerId="ADAL" clId="{E3EE759B-C4FA-48FB-8678-9CCEE0847AAF}" dt="2025-05-03T09:03:04.118" v="1976" actId="1076"/>
          <ac:graphicFrameMkLst>
            <pc:docMk/>
            <pc:sldMk cId="2685641053" sldId="2147483646"/>
            <ac:graphicFrameMk id="30" creationId="{BB0C8620-FC8C-5906-FD94-F974C9E91634}"/>
          </ac:graphicFrameMkLst>
        </pc:graphicFrameChg>
        <pc:graphicFrameChg chg="mod">
          <ac:chgData name="Safeena Begum Lepakshi" userId="44e4f0de-d6e7-461b-ab64-689bc756e204" providerId="ADAL" clId="{E3EE759B-C4FA-48FB-8678-9CCEE0847AAF}" dt="2025-05-03T09:03:46.729" v="1979" actId="1076"/>
          <ac:graphicFrameMkLst>
            <pc:docMk/>
            <pc:sldMk cId="2685641053" sldId="2147483646"/>
            <ac:graphicFrameMk id="32" creationId="{D96A882A-00B1-D113-4252-2411FF144113}"/>
          </ac:graphicFrameMkLst>
        </pc:graphicFrameChg>
        <pc:graphicFrameChg chg="mod">
          <ac:chgData name="Safeena Begum Lepakshi" userId="44e4f0de-d6e7-461b-ab64-689bc756e204" providerId="ADAL" clId="{E3EE759B-C4FA-48FB-8678-9CCEE0847AAF}" dt="2025-05-03T09:04:30.463" v="1982" actId="1076"/>
          <ac:graphicFrameMkLst>
            <pc:docMk/>
            <pc:sldMk cId="2685641053" sldId="2147483646"/>
            <ac:graphicFrameMk id="46" creationId="{BF648C8F-770C-70B6-B060-670BE6497D85}"/>
          </ac:graphicFrameMkLst>
        </pc:graphicFrameChg>
      </pc:sldChg>
      <pc:sldChg chg="addSp modSp new del mod">
        <pc:chgData name="Safeena Begum Lepakshi" userId="44e4f0de-d6e7-461b-ab64-689bc756e204" providerId="ADAL" clId="{E3EE759B-C4FA-48FB-8678-9CCEE0847AAF}" dt="2025-05-03T09:13:01.697" v="2054" actId="47"/>
        <pc:sldMkLst>
          <pc:docMk/>
          <pc:sldMk cId="2585703505" sldId="2147483647"/>
        </pc:sldMkLst>
      </pc:sldChg>
      <pc:sldChg chg="addSp delSp modSp add mod delAnim modAnim modShow">
        <pc:chgData name="Safeena Begum Lepakshi" userId="44e4f0de-d6e7-461b-ab64-689bc756e204" providerId="ADAL" clId="{E3EE759B-C4FA-48FB-8678-9CCEE0847AAF}" dt="2025-05-03T10:03:44.411" v="2619" actId="729"/>
        <pc:sldMkLst>
          <pc:docMk/>
          <pc:sldMk cId="3080866343" sldId="2147483647"/>
        </pc:sldMkLst>
      </pc:sldChg>
      <pc:sldChg chg="add del mod modShow">
        <pc:chgData name="Safeena Begum Lepakshi" userId="44e4f0de-d6e7-461b-ab64-689bc756e204" providerId="ADAL" clId="{E3EE759B-C4FA-48FB-8678-9CCEE0847AAF}" dt="2025-05-02T17:36:51.208" v="1362" actId="729"/>
        <pc:sldMkLst>
          <pc:docMk/>
          <pc:sldMk cId="4271065264" sldId="2147483647"/>
        </pc:sldMkLst>
      </pc:sldChg>
      <pc:sldMasterChg chg="delSldLayout modSldLayout">
        <pc:chgData name="Safeena Begum Lepakshi" userId="44e4f0de-d6e7-461b-ab64-689bc756e204" providerId="ADAL" clId="{E3EE759B-C4FA-48FB-8678-9CCEE0847AAF}" dt="2025-05-07T20:59:10.470" v="5301" actId="1076"/>
        <pc:sldMasterMkLst>
          <pc:docMk/>
          <pc:sldMasterMk cId="74843748" sldId="2147483648"/>
        </pc:sldMasterMkLst>
        <pc:sldLayoutChg chg="modSp mod">
          <pc:chgData name="Safeena Begum Lepakshi" userId="44e4f0de-d6e7-461b-ab64-689bc756e204" providerId="ADAL" clId="{E3EE759B-C4FA-48FB-8678-9CCEE0847AAF}" dt="2025-05-07T20:59:10.470" v="5301" actId="1076"/>
          <pc:sldLayoutMkLst>
            <pc:docMk/>
            <pc:sldMasterMk cId="74843748" sldId="2147483648"/>
            <pc:sldLayoutMk cId="209722228" sldId="2147483655"/>
          </pc:sldLayoutMkLst>
          <pc:spChg chg="mod">
            <ac:chgData name="Safeena Begum Lepakshi" userId="44e4f0de-d6e7-461b-ab64-689bc756e204" providerId="ADAL" clId="{E3EE759B-C4FA-48FB-8678-9CCEE0847AAF}" dt="2025-05-07T20:59:10.470" v="5301" actId="1076"/>
            <ac:spMkLst>
              <pc:docMk/>
              <pc:sldMasterMk cId="74843748" sldId="2147483648"/>
              <pc:sldLayoutMk cId="209722228" sldId="2147483655"/>
              <ac:spMk id="5" creationId="{60239FA0-8DC7-5F1D-3921-B8597DF32CB1}"/>
            </ac:spMkLst>
          </pc:spChg>
        </pc:sldLayoutChg>
        <pc:sldLayoutChg chg="modSp mod">
          <pc:chgData name="Safeena Begum Lepakshi" userId="44e4f0de-d6e7-461b-ab64-689bc756e204" providerId="ADAL" clId="{E3EE759B-C4FA-48FB-8678-9CCEE0847AAF}" dt="2025-05-07T20:58:53.020" v="5299" actId="1076"/>
          <pc:sldLayoutMkLst>
            <pc:docMk/>
            <pc:sldMasterMk cId="74843748" sldId="2147483648"/>
            <pc:sldLayoutMk cId="1261475606" sldId="2147483673"/>
          </pc:sldLayoutMkLst>
          <pc:spChg chg="mod">
            <ac:chgData name="Safeena Begum Lepakshi" userId="44e4f0de-d6e7-461b-ab64-689bc756e204" providerId="ADAL" clId="{E3EE759B-C4FA-48FB-8678-9CCEE0847AAF}" dt="2025-05-07T20:58:53.020" v="5299" actId="1076"/>
            <ac:spMkLst>
              <pc:docMk/>
              <pc:sldMasterMk cId="74843748" sldId="2147483648"/>
              <pc:sldLayoutMk cId="1261475606" sldId="2147483673"/>
              <ac:spMk id="7" creationId="{143208B3-217E-A316-BD41-000CF45068A3}"/>
            </ac:spMkLst>
          </pc:spChg>
        </pc:sldLayoutChg>
        <pc:sldLayoutChg chg="setBg">
          <pc:chgData name="Safeena Begum Lepakshi" userId="44e4f0de-d6e7-461b-ab64-689bc756e204" providerId="ADAL" clId="{E3EE759B-C4FA-48FB-8678-9CCEE0847AAF}" dt="2025-05-07T20:54:09.847" v="5211"/>
          <pc:sldLayoutMkLst>
            <pc:docMk/>
            <pc:sldMasterMk cId="74843748" sldId="2147483648"/>
            <pc:sldLayoutMk cId="4067321654" sldId="2147483891"/>
          </pc:sldLayoutMkLst>
        </pc:sldLayoutChg>
        <pc:sldLayoutChg chg="del">
          <pc:chgData name="Safeena Begum Lepakshi" userId="44e4f0de-d6e7-461b-ab64-689bc756e204" providerId="ADAL" clId="{E3EE759B-C4FA-48FB-8678-9CCEE0847AAF}" dt="2025-05-03T10:11:03.468" v="2652" actId="47"/>
          <pc:sldLayoutMkLst>
            <pc:docMk/>
            <pc:sldMasterMk cId="74843748" sldId="2147483648"/>
            <pc:sldLayoutMk cId="118761494" sldId="2147484018"/>
          </pc:sldLayoutMkLst>
        </pc:sldLayoutChg>
        <pc:sldLayoutChg chg="del">
          <pc:chgData name="Safeena Begum Lepakshi" userId="44e4f0de-d6e7-461b-ab64-689bc756e204" providerId="ADAL" clId="{E3EE759B-C4FA-48FB-8678-9CCEE0847AAF}" dt="2025-05-03T09:42:46.875" v="2426" actId="47"/>
          <pc:sldLayoutMkLst>
            <pc:docMk/>
            <pc:sldMasterMk cId="74843748" sldId="2147483648"/>
            <pc:sldLayoutMk cId="1700811309" sldId="2147484063"/>
          </pc:sldLayoutMkLst>
        </pc:sldLayoutChg>
        <pc:sldLayoutChg chg="del">
          <pc:chgData name="Safeena Begum Lepakshi" userId="44e4f0de-d6e7-461b-ab64-689bc756e204" providerId="ADAL" clId="{E3EE759B-C4FA-48FB-8678-9CCEE0847AAF}" dt="2025-05-03T10:03:37.566" v="2618" actId="47"/>
          <pc:sldLayoutMkLst>
            <pc:docMk/>
            <pc:sldMasterMk cId="74843748" sldId="2147483648"/>
            <pc:sldLayoutMk cId="1962877695" sldId="2147484067"/>
          </pc:sldLayoutMkLst>
        </pc:sldLayoutChg>
      </pc:sldMasterChg>
      <pc:sldMasterChg chg="delSldLayout">
        <pc:chgData name="Safeena Begum Lepakshi" userId="44e4f0de-d6e7-461b-ab64-689bc756e204" providerId="ADAL" clId="{E3EE759B-C4FA-48FB-8678-9CCEE0847AAF}" dt="2025-05-01T08:46:29.428" v="1274" actId="47"/>
        <pc:sldMasterMkLst>
          <pc:docMk/>
          <pc:sldMasterMk cId="423711694" sldId="2147483757"/>
        </pc:sldMasterMkLst>
        <pc:sldLayoutChg chg="del">
          <pc:chgData name="Safeena Begum Lepakshi" userId="44e4f0de-d6e7-461b-ab64-689bc756e204" providerId="ADAL" clId="{E3EE759B-C4FA-48FB-8678-9CCEE0847AAF}" dt="2025-05-01T08:46:29.428" v="1274" actId="47"/>
          <pc:sldLayoutMkLst>
            <pc:docMk/>
            <pc:sldMasterMk cId="423711694" sldId="2147483757"/>
            <pc:sldLayoutMk cId="829166715" sldId="2147483843"/>
          </pc:sldLayoutMkLst>
        </pc:sldLayoutChg>
      </pc:sldMasterChg>
      <pc:sldMasterChg chg="delSldLayout">
        <pc:chgData name="Safeena Begum Lepakshi" userId="44e4f0de-d6e7-461b-ab64-689bc756e204" providerId="ADAL" clId="{E3EE759B-C4FA-48FB-8678-9CCEE0847AAF}" dt="2025-04-27T23:54:56.337" v="406" actId="47"/>
        <pc:sldMasterMkLst>
          <pc:docMk/>
          <pc:sldMasterMk cId="1969851630" sldId="2147483851"/>
        </pc:sldMasterMkLst>
        <pc:sldLayoutChg chg="del">
          <pc:chgData name="Safeena Begum Lepakshi" userId="44e4f0de-d6e7-461b-ab64-689bc756e204" providerId="ADAL" clId="{E3EE759B-C4FA-48FB-8678-9CCEE0847AAF}" dt="2025-04-27T23:54:56.337" v="406" actId="47"/>
          <pc:sldLayoutMkLst>
            <pc:docMk/>
            <pc:sldMasterMk cId="1969851630" sldId="2147483851"/>
            <pc:sldLayoutMk cId="505576790" sldId="2147483891"/>
          </pc:sldLayoutMkLst>
        </pc:sldLayoutChg>
      </pc:sldMasterChg>
      <pc:sldMasterChg chg="new del mod addSldLayout delSldLayout">
        <pc:chgData name="Safeena Begum Lepakshi" userId="44e4f0de-d6e7-461b-ab64-689bc756e204" providerId="ADAL" clId="{E3EE759B-C4FA-48FB-8678-9CCEE0847AAF}" dt="2025-05-07T20:58:43.074" v="5297" actId="6938"/>
        <pc:sldMasterMkLst>
          <pc:docMk/>
          <pc:sldMasterMk cId="1246093909" sldId="2147484068"/>
        </pc:sldMasterMkLst>
        <pc:sldLayoutChg chg="new del replId">
          <pc:chgData name="Safeena Begum Lepakshi" userId="44e4f0de-d6e7-461b-ab64-689bc756e204" providerId="ADAL" clId="{E3EE759B-C4FA-48FB-8678-9CCEE0847AAF}" dt="2025-05-07T20:58:43.074" v="5297" actId="6938"/>
          <pc:sldLayoutMkLst>
            <pc:docMk/>
            <pc:sldMasterMk cId="1246093909" sldId="2147484068"/>
            <pc:sldLayoutMk cId="391896433" sldId="2147484069"/>
          </pc:sldLayoutMkLst>
        </pc:sldLayoutChg>
        <pc:sldLayoutChg chg="new del replId">
          <pc:chgData name="Safeena Begum Lepakshi" userId="44e4f0de-d6e7-461b-ab64-689bc756e204" providerId="ADAL" clId="{E3EE759B-C4FA-48FB-8678-9CCEE0847AAF}" dt="2025-05-07T20:58:43.074" v="5297" actId="6938"/>
          <pc:sldLayoutMkLst>
            <pc:docMk/>
            <pc:sldMasterMk cId="1246093909" sldId="2147484068"/>
            <pc:sldLayoutMk cId="938555176" sldId="2147484070"/>
          </pc:sldLayoutMkLst>
        </pc:sldLayoutChg>
        <pc:sldLayoutChg chg="new del replId">
          <pc:chgData name="Safeena Begum Lepakshi" userId="44e4f0de-d6e7-461b-ab64-689bc756e204" providerId="ADAL" clId="{E3EE759B-C4FA-48FB-8678-9CCEE0847AAF}" dt="2025-05-07T20:58:43.074" v="5297" actId="6938"/>
          <pc:sldLayoutMkLst>
            <pc:docMk/>
            <pc:sldMasterMk cId="1246093909" sldId="2147484068"/>
            <pc:sldLayoutMk cId="1113660371" sldId="2147484071"/>
          </pc:sldLayoutMkLst>
        </pc:sldLayoutChg>
        <pc:sldLayoutChg chg="new del replId">
          <pc:chgData name="Safeena Begum Lepakshi" userId="44e4f0de-d6e7-461b-ab64-689bc756e204" providerId="ADAL" clId="{E3EE759B-C4FA-48FB-8678-9CCEE0847AAF}" dt="2025-05-07T20:58:43.074" v="5297" actId="6938"/>
          <pc:sldLayoutMkLst>
            <pc:docMk/>
            <pc:sldMasterMk cId="1246093909" sldId="2147484068"/>
            <pc:sldLayoutMk cId="3540928283" sldId="2147484072"/>
          </pc:sldLayoutMkLst>
        </pc:sldLayoutChg>
        <pc:sldLayoutChg chg="new del replId">
          <pc:chgData name="Safeena Begum Lepakshi" userId="44e4f0de-d6e7-461b-ab64-689bc756e204" providerId="ADAL" clId="{E3EE759B-C4FA-48FB-8678-9CCEE0847AAF}" dt="2025-05-07T20:58:43.074" v="5297" actId="6938"/>
          <pc:sldLayoutMkLst>
            <pc:docMk/>
            <pc:sldMasterMk cId="1246093909" sldId="2147484068"/>
            <pc:sldLayoutMk cId="1707341593" sldId="2147484073"/>
          </pc:sldLayoutMkLst>
        </pc:sldLayoutChg>
        <pc:sldLayoutChg chg="new del replId">
          <pc:chgData name="Safeena Begum Lepakshi" userId="44e4f0de-d6e7-461b-ab64-689bc756e204" providerId="ADAL" clId="{E3EE759B-C4FA-48FB-8678-9CCEE0847AAF}" dt="2025-05-07T20:58:43.074" v="5297" actId="6938"/>
          <pc:sldLayoutMkLst>
            <pc:docMk/>
            <pc:sldMasterMk cId="1246093909" sldId="2147484068"/>
            <pc:sldLayoutMk cId="1104523087" sldId="2147484074"/>
          </pc:sldLayoutMkLst>
        </pc:sldLayoutChg>
        <pc:sldLayoutChg chg="new del replId">
          <pc:chgData name="Safeena Begum Lepakshi" userId="44e4f0de-d6e7-461b-ab64-689bc756e204" providerId="ADAL" clId="{E3EE759B-C4FA-48FB-8678-9CCEE0847AAF}" dt="2025-05-07T20:58:43.074" v="5297" actId="6938"/>
          <pc:sldLayoutMkLst>
            <pc:docMk/>
            <pc:sldMasterMk cId="1246093909" sldId="2147484068"/>
            <pc:sldLayoutMk cId="2686909106" sldId="2147484075"/>
          </pc:sldLayoutMkLst>
        </pc:sldLayoutChg>
        <pc:sldLayoutChg chg="new del replId">
          <pc:chgData name="Safeena Begum Lepakshi" userId="44e4f0de-d6e7-461b-ab64-689bc756e204" providerId="ADAL" clId="{E3EE759B-C4FA-48FB-8678-9CCEE0847AAF}" dt="2025-05-07T20:58:43.074" v="5297" actId="6938"/>
          <pc:sldLayoutMkLst>
            <pc:docMk/>
            <pc:sldMasterMk cId="1246093909" sldId="2147484068"/>
            <pc:sldLayoutMk cId="546781668" sldId="2147484076"/>
          </pc:sldLayoutMkLst>
        </pc:sldLayoutChg>
        <pc:sldLayoutChg chg="new del replId">
          <pc:chgData name="Safeena Begum Lepakshi" userId="44e4f0de-d6e7-461b-ab64-689bc756e204" providerId="ADAL" clId="{E3EE759B-C4FA-48FB-8678-9CCEE0847AAF}" dt="2025-05-07T20:58:43.074" v="5297" actId="6938"/>
          <pc:sldLayoutMkLst>
            <pc:docMk/>
            <pc:sldMasterMk cId="1246093909" sldId="2147484068"/>
            <pc:sldLayoutMk cId="1730508521" sldId="2147484077"/>
          </pc:sldLayoutMkLst>
        </pc:sldLayoutChg>
        <pc:sldLayoutChg chg="new del replId">
          <pc:chgData name="Safeena Begum Lepakshi" userId="44e4f0de-d6e7-461b-ab64-689bc756e204" providerId="ADAL" clId="{E3EE759B-C4FA-48FB-8678-9CCEE0847AAF}" dt="2025-05-07T20:58:43.074" v="5297" actId="6938"/>
          <pc:sldLayoutMkLst>
            <pc:docMk/>
            <pc:sldMasterMk cId="1246093909" sldId="2147484068"/>
            <pc:sldLayoutMk cId="3409108849" sldId="2147484078"/>
          </pc:sldLayoutMkLst>
        </pc:sldLayoutChg>
        <pc:sldLayoutChg chg="new del replId">
          <pc:chgData name="Safeena Begum Lepakshi" userId="44e4f0de-d6e7-461b-ab64-689bc756e204" providerId="ADAL" clId="{E3EE759B-C4FA-48FB-8678-9CCEE0847AAF}" dt="2025-05-07T20:58:43.074" v="5297" actId="6938"/>
          <pc:sldLayoutMkLst>
            <pc:docMk/>
            <pc:sldMasterMk cId="1246093909" sldId="2147484068"/>
            <pc:sldLayoutMk cId="4043388482" sldId="2147484079"/>
          </pc:sldLayoutMkLst>
        </pc:sldLayoutChg>
      </pc:sldMasterChg>
    </pc:docChg>
  </pc:docChgLst>
  <pc:docChgLst>
    <pc:chgData name="Bryan Wofford (MCAG)" userId="S::brwoff@microsoft.com::af037bd5-f592-429c-a009-a6626d67a49c" providerId="AD" clId="Web-{4723B349-49CB-0AB8-40BC-C7271900678D}"/>
    <pc:docChg chg="delSld modSection">
      <pc:chgData name="Bryan Wofford (MCAG)" userId="S::brwoff@microsoft.com::af037bd5-f592-429c-a009-a6626d67a49c" providerId="AD" clId="Web-{4723B349-49CB-0AB8-40BC-C7271900678D}" dt="2025-05-13T15:36:45.890" v="2"/>
      <pc:docMkLst>
        <pc:docMk/>
      </pc:docMkLst>
      <pc:sldChg chg="del">
        <pc:chgData name="Bryan Wofford (MCAG)" userId="S::brwoff@microsoft.com::af037bd5-f592-429c-a009-a6626d67a49c" providerId="AD" clId="Web-{4723B349-49CB-0AB8-40BC-C7271900678D}" dt="2025-05-13T15:36:44.218" v="1"/>
        <pc:sldMkLst>
          <pc:docMk/>
          <pc:sldMk cId="2906542187" sldId="279"/>
        </pc:sldMkLst>
      </pc:sldChg>
      <pc:sldChg chg="del">
        <pc:chgData name="Bryan Wofford (MCAG)" userId="S::brwoff@microsoft.com::af037bd5-f592-429c-a009-a6626d67a49c" providerId="AD" clId="Web-{4723B349-49CB-0AB8-40BC-C7271900678D}" dt="2025-05-13T15:36:45.890" v="2"/>
        <pc:sldMkLst>
          <pc:docMk/>
          <pc:sldMk cId="1581736101" sldId="295"/>
        </pc:sldMkLst>
      </pc:sldChg>
      <pc:sldChg chg="del">
        <pc:chgData name="Bryan Wofford (MCAG)" userId="S::brwoff@microsoft.com::af037bd5-f592-429c-a009-a6626d67a49c" providerId="AD" clId="Web-{4723B349-49CB-0AB8-40BC-C7271900678D}" dt="2025-05-13T15:36:36.812" v="0"/>
        <pc:sldMkLst>
          <pc:docMk/>
          <pc:sldMk cId="2501033313" sldId="2147482550"/>
        </pc:sldMkLst>
      </pc:sldChg>
    </pc:docChg>
  </pc:docChgLst>
  <pc:docChgLst>
    <pc:chgData name="Brigitta Nord (Avenue In Consulting)" userId="c880af98-32ac-4023-85af-e7aa1f5ec8e3" providerId="ADAL" clId="{5D88DE37-ABA6-4403-99F1-C209F274F46C}"/>
    <pc:docChg chg="undo custSel addSld modSld modSection">
      <pc:chgData name="Brigitta Nord (Avenue In Consulting)" userId="c880af98-32ac-4023-85af-e7aa1f5ec8e3" providerId="ADAL" clId="{5D88DE37-ABA6-4403-99F1-C209F274F46C}" dt="2025-05-07T17:57:51.402" v="135" actId="1035"/>
      <pc:docMkLst>
        <pc:docMk/>
      </pc:docMkLst>
      <pc:sldChg chg="addSp modSp mod modTransition modClrScheme modAnim chgLayout">
        <pc:chgData name="Brigitta Nord (Avenue In Consulting)" userId="c880af98-32ac-4023-85af-e7aa1f5ec8e3" providerId="ADAL" clId="{5D88DE37-ABA6-4403-99F1-C209F274F46C}" dt="2025-05-07T17:57:51.402" v="135" actId="1035"/>
        <pc:sldMkLst>
          <pc:docMk/>
          <pc:sldMk cId="3526042489" sldId="260"/>
        </pc:sldMkLst>
        <pc:picChg chg="add mod">
          <ac:chgData name="Brigitta Nord (Avenue In Consulting)" userId="c880af98-32ac-4023-85af-e7aa1f5ec8e3" providerId="ADAL" clId="{5D88DE37-ABA6-4403-99F1-C209F274F46C}" dt="2025-05-07T17:57:51.402" v="135" actId="1035"/>
          <ac:picMkLst>
            <pc:docMk/>
            <pc:sldMk cId="3526042489" sldId="260"/>
            <ac:picMk id="2" creationId="{3C7293D5-F233-7CE8-9FDA-85140C8CB3A7}"/>
          </ac:picMkLst>
        </pc:picChg>
      </pc:sldChg>
      <pc:sldChg chg="addSp delSp modSp add mod setBg modAnim">
        <pc:chgData name="Brigitta Nord (Avenue In Consulting)" userId="c880af98-32ac-4023-85af-e7aa1f5ec8e3" providerId="ADAL" clId="{5D88DE37-ABA6-4403-99F1-C209F274F46C}" dt="2025-05-07T16:40:42.531" v="29"/>
        <pc:sldMkLst>
          <pc:docMk/>
          <pc:sldMk cId="2009490182" sldId="2147483549"/>
        </pc:sldMkLst>
        <pc:spChg chg="mod">
          <ac:chgData name="Brigitta Nord (Avenue In Consulting)" userId="c880af98-32ac-4023-85af-e7aa1f5ec8e3" providerId="ADAL" clId="{5D88DE37-ABA6-4403-99F1-C209F274F46C}" dt="2025-05-07T16:17:01.243" v="28" actId="1076"/>
          <ac:spMkLst>
            <pc:docMk/>
            <pc:sldMk cId="2009490182" sldId="2147483549"/>
            <ac:spMk id="2" creationId="{75CBF72C-3818-C8A1-C71B-CE08F9EDE605}"/>
          </ac:spMkLst>
        </pc:spChg>
        <pc:spChg chg="mod">
          <ac:chgData name="Brigitta Nord (Avenue In Consulting)" userId="c880af98-32ac-4023-85af-e7aa1f5ec8e3" providerId="ADAL" clId="{5D88DE37-ABA6-4403-99F1-C209F274F46C}" dt="2025-05-07T16:17:01.243" v="28" actId="1076"/>
          <ac:spMkLst>
            <pc:docMk/>
            <pc:sldMk cId="2009490182" sldId="2147483549"/>
            <ac:spMk id="3" creationId="{5248E204-4BA0-CCA7-5B65-8535C370B18D}"/>
          </ac:spMkLst>
        </pc:spChg>
        <pc:picChg chg="add">
          <ac:chgData name="Brigitta Nord (Avenue In Consulting)" userId="c880af98-32ac-4023-85af-e7aa1f5ec8e3" providerId="ADAL" clId="{5D88DE37-ABA6-4403-99F1-C209F274F46C}" dt="2025-05-07T16:12:28.420" v="11"/>
          <ac:picMkLst>
            <pc:docMk/>
            <pc:sldMk cId="2009490182" sldId="2147483549"/>
            <ac:picMk id="4" creationId="{6BC4AF37-93F9-70D1-9812-4DED93DC8B5F}"/>
          </ac:picMkLst>
        </pc:picChg>
        <pc:picChg chg="mod">
          <ac:chgData name="Brigitta Nord (Avenue In Consulting)" userId="c880af98-32ac-4023-85af-e7aa1f5ec8e3" providerId="ADAL" clId="{5D88DE37-ABA6-4403-99F1-C209F274F46C}" dt="2025-05-07T16:17:01.243" v="28" actId="1076"/>
          <ac:picMkLst>
            <pc:docMk/>
            <pc:sldMk cId="2009490182" sldId="2147483549"/>
            <ac:picMk id="6" creationId="{8462B744-DECE-2544-38BB-B1570D26EFE2}"/>
          </ac:picMkLst>
        </pc:picChg>
        <pc:picChg chg="add del mod">
          <ac:chgData name="Brigitta Nord (Avenue In Consulting)" userId="c880af98-32ac-4023-85af-e7aa1f5ec8e3" providerId="ADAL" clId="{5D88DE37-ABA6-4403-99F1-C209F274F46C}" dt="2025-05-07T16:12:59.826" v="15" actId="478"/>
          <ac:picMkLst>
            <pc:docMk/>
            <pc:sldMk cId="2009490182" sldId="2147483549"/>
            <ac:picMk id="7" creationId="{510054F4-F8D8-F0A9-223C-DD3B43A3F80F}"/>
          </ac:picMkLst>
        </pc:picChg>
        <pc:picChg chg="add mod ord">
          <ac:chgData name="Brigitta Nord (Avenue In Consulting)" userId="c880af98-32ac-4023-85af-e7aa1f5ec8e3" providerId="ADAL" clId="{5D88DE37-ABA6-4403-99F1-C209F274F46C}" dt="2025-05-07T16:16:20.809" v="22" actId="167"/>
          <ac:picMkLst>
            <pc:docMk/>
            <pc:sldMk cId="2009490182" sldId="2147483549"/>
            <ac:picMk id="9" creationId="{92C8E034-371A-E685-19D3-68FB0CB4EC75}"/>
          </ac:picMkLst>
        </pc:picChg>
      </pc:sldChg>
      <pc:sldChg chg="new">
        <pc:chgData name="Brigitta Nord (Avenue In Consulting)" userId="c880af98-32ac-4023-85af-e7aa1f5ec8e3" providerId="ADAL" clId="{5D88DE37-ABA6-4403-99F1-C209F274F46C}" dt="2025-05-07T17:50:31.988" v="30" actId="680"/>
        <pc:sldMkLst>
          <pc:docMk/>
          <pc:sldMk cId="3526042489" sldId="2147483647"/>
        </pc:sldMkLst>
      </pc:sldChg>
    </pc:docChg>
  </pc:docChgLst>
  <pc:docChgLst>
    <pc:chgData name="Aashish Ramdas" userId="58210aff-8d50-4a30-b819-63f7dcb02310" providerId="ADAL" clId="{017D8426-9902-4B04-BBD0-FAEA2ACD55C9}"/>
    <pc:docChg chg="undo redo custSel addSld delSld modSld sldOrd delMainMaster modMainMaster addSection delSection modSection">
      <pc:chgData name="Aashish Ramdas" userId="58210aff-8d50-4a30-b819-63f7dcb02310" providerId="ADAL" clId="{017D8426-9902-4B04-BBD0-FAEA2ACD55C9}" dt="2025-05-02T21:19:25.513" v="3781" actId="13926"/>
      <pc:docMkLst>
        <pc:docMk/>
      </pc:docMkLst>
      <pc:sldChg chg="modSp mod">
        <pc:chgData name="Aashish Ramdas" userId="58210aff-8d50-4a30-b819-63f7dcb02310" providerId="ADAL" clId="{017D8426-9902-4B04-BBD0-FAEA2ACD55C9}" dt="2025-05-02T17:53:25.715" v="994" actId="242"/>
        <pc:sldMkLst>
          <pc:docMk/>
          <pc:sldMk cId="662025445" sldId="256"/>
        </pc:sldMkLst>
        <pc:spChg chg="mod">
          <ac:chgData name="Aashish Ramdas" userId="58210aff-8d50-4a30-b819-63f7dcb02310" providerId="ADAL" clId="{017D8426-9902-4B04-BBD0-FAEA2ACD55C9}" dt="2025-05-02T17:53:25.715" v="994" actId="242"/>
          <ac:spMkLst>
            <pc:docMk/>
            <pc:sldMk cId="662025445" sldId="256"/>
            <ac:spMk id="4" creationId="{DF029D6A-C075-7EF0-C6A2-07BC853E1898}"/>
          </ac:spMkLst>
        </pc:spChg>
      </pc:sldChg>
      <pc:sldChg chg="del">
        <pc:chgData name="Aashish Ramdas" userId="58210aff-8d50-4a30-b819-63f7dcb02310" providerId="ADAL" clId="{017D8426-9902-4B04-BBD0-FAEA2ACD55C9}" dt="2025-05-02T18:34:07.413" v="1678" actId="2696"/>
        <pc:sldMkLst>
          <pc:docMk/>
          <pc:sldMk cId="2058830108" sldId="257"/>
        </pc:sldMkLst>
      </pc:sldChg>
      <pc:sldChg chg="add del">
        <pc:chgData name="Aashish Ramdas" userId="58210aff-8d50-4a30-b819-63f7dcb02310" providerId="ADAL" clId="{017D8426-9902-4B04-BBD0-FAEA2ACD55C9}" dt="2025-05-02T21:15:50.022" v="3746" actId="18676"/>
        <pc:sldMkLst>
          <pc:docMk/>
          <pc:sldMk cId="3840659166" sldId="257"/>
        </pc:sldMkLst>
      </pc:sldChg>
      <pc:sldChg chg="add del">
        <pc:chgData name="Aashish Ramdas" userId="58210aff-8d50-4a30-b819-63f7dcb02310" providerId="ADAL" clId="{017D8426-9902-4B04-BBD0-FAEA2ACD55C9}" dt="2025-05-02T21:15:50.022" v="3746" actId="18676"/>
        <pc:sldMkLst>
          <pc:docMk/>
          <pc:sldMk cId="1082542807" sldId="258"/>
        </pc:sldMkLst>
      </pc:sldChg>
      <pc:sldChg chg="del">
        <pc:chgData name="Aashish Ramdas" userId="58210aff-8d50-4a30-b819-63f7dcb02310" providerId="ADAL" clId="{017D8426-9902-4B04-BBD0-FAEA2ACD55C9}" dt="2025-05-02T18:34:07.413" v="1678" actId="2696"/>
        <pc:sldMkLst>
          <pc:docMk/>
          <pc:sldMk cId="4056428976" sldId="258"/>
        </pc:sldMkLst>
      </pc:sldChg>
      <pc:sldChg chg="add del">
        <pc:chgData name="Aashish Ramdas" userId="58210aff-8d50-4a30-b819-63f7dcb02310" providerId="ADAL" clId="{017D8426-9902-4B04-BBD0-FAEA2ACD55C9}" dt="2025-05-02T21:15:50.022" v="3746" actId="18676"/>
        <pc:sldMkLst>
          <pc:docMk/>
          <pc:sldMk cId="1652731809" sldId="259"/>
        </pc:sldMkLst>
      </pc:sldChg>
      <pc:sldChg chg="del">
        <pc:chgData name="Aashish Ramdas" userId="58210aff-8d50-4a30-b819-63f7dcb02310" providerId="ADAL" clId="{017D8426-9902-4B04-BBD0-FAEA2ACD55C9}" dt="2025-05-02T18:34:07.413" v="1678" actId="2696"/>
        <pc:sldMkLst>
          <pc:docMk/>
          <pc:sldMk cId="1697685817" sldId="259"/>
        </pc:sldMkLst>
      </pc:sldChg>
      <pc:sldChg chg="del">
        <pc:chgData name="Aashish Ramdas" userId="58210aff-8d50-4a30-b819-63f7dcb02310" providerId="ADAL" clId="{017D8426-9902-4B04-BBD0-FAEA2ACD55C9}" dt="2025-05-02T18:34:07.413" v="1678" actId="2696"/>
        <pc:sldMkLst>
          <pc:docMk/>
          <pc:sldMk cId="604902482" sldId="260"/>
        </pc:sldMkLst>
      </pc:sldChg>
      <pc:sldChg chg="add del">
        <pc:chgData name="Aashish Ramdas" userId="58210aff-8d50-4a30-b819-63f7dcb02310" providerId="ADAL" clId="{017D8426-9902-4B04-BBD0-FAEA2ACD55C9}" dt="2025-05-02T21:15:50.022" v="3746" actId="18676"/>
        <pc:sldMkLst>
          <pc:docMk/>
          <pc:sldMk cId="2355617603" sldId="260"/>
        </pc:sldMkLst>
      </pc:sldChg>
      <pc:sldChg chg="add del">
        <pc:chgData name="Aashish Ramdas" userId="58210aff-8d50-4a30-b819-63f7dcb02310" providerId="ADAL" clId="{017D8426-9902-4B04-BBD0-FAEA2ACD55C9}" dt="2025-05-02T21:15:50.022" v="3746" actId="18676"/>
        <pc:sldMkLst>
          <pc:docMk/>
          <pc:sldMk cId="35187139" sldId="261"/>
        </pc:sldMkLst>
      </pc:sldChg>
      <pc:sldChg chg="del">
        <pc:chgData name="Aashish Ramdas" userId="58210aff-8d50-4a30-b819-63f7dcb02310" providerId="ADAL" clId="{017D8426-9902-4B04-BBD0-FAEA2ACD55C9}" dt="2025-05-02T18:34:07.413" v="1678" actId="2696"/>
        <pc:sldMkLst>
          <pc:docMk/>
          <pc:sldMk cId="4063293255" sldId="261"/>
        </pc:sldMkLst>
      </pc:sldChg>
      <pc:sldChg chg="modSp del mod">
        <pc:chgData name="Aashish Ramdas" userId="58210aff-8d50-4a30-b819-63f7dcb02310" providerId="ADAL" clId="{017D8426-9902-4B04-BBD0-FAEA2ACD55C9}" dt="2025-05-02T18:34:07.413" v="1678" actId="2696"/>
        <pc:sldMkLst>
          <pc:docMk/>
          <pc:sldMk cId="74011569" sldId="262"/>
        </pc:sldMkLst>
      </pc:sldChg>
      <pc:sldChg chg="add del">
        <pc:chgData name="Aashish Ramdas" userId="58210aff-8d50-4a30-b819-63f7dcb02310" providerId="ADAL" clId="{017D8426-9902-4B04-BBD0-FAEA2ACD55C9}" dt="2025-05-02T21:15:50.022" v="3746" actId="18676"/>
        <pc:sldMkLst>
          <pc:docMk/>
          <pc:sldMk cId="1030672485" sldId="262"/>
        </pc:sldMkLst>
      </pc:sldChg>
      <pc:sldChg chg="add del">
        <pc:chgData name="Aashish Ramdas" userId="58210aff-8d50-4a30-b819-63f7dcb02310" providerId="ADAL" clId="{017D8426-9902-4B04-BBD0-FAEA2ACD55C9}" dt="2025-05-02T21:15:50.022" v="3746" actId="18676"/>
        <pc:sldMkLst>
          <pc:docMk/>
          <pc:sldMk cId="141111250" sldId="263"/>
        </pc:sldMkLst>
      </pc:sldChg>
      <pc:sldChg chg="modSp del mod">
        <pc:chgData name="Aashish Ramdas" userId="58210aff-8d50-4a30-b819-63f7dcb02310" providerId="ADAL" clId="{017D8426-9902-4B04-BBD0-FAEA2ACD55C9}" dt="2025-05-02T18:34:07.413" v="1678" actId="2696"/>
        <pc:sldMkLst>
          <pc:docMk/>
          <pc:sldMk cId="1016132568" sldId="263"/>
        </pc:sldMkLst>
      </pc:sldChg>
      <pc:sldChg chg="add del">
        <pc:chgData name="Aashish Ramdas" userId="58210aff-8d50-4a30-b819-63f7dcb02310" providerId="ADAL" clId="{017D8426-9902-4B04-BBD0-FAEA2ACD55C9}" dt="2025-05-02T21:15:50.022" v="3746" actId="18676"/>
        <pc:sldMkLst>
          <pc:docMk/>
          <pc:sldMk cId="361107195" sldId="264"/>
        </pc:sldMkLst>
      </pc:sldChg>
      <pc:sldChg chg="del">
        <pc:chgData name="Aashish Ramdas" userId="58210aff-8d50-4a30-b819-63f7dcb02310" providerId="ADAL" clId="{017D8426-9902-4B04-BBD0-FAEA2ACD55C9}" dt="2025-05-02T18:34:07.413" v="1678" actId="2696"/>
        <pc:sldMkLst>
          <pc:docMk/>
          <pc:sldMk cId="1569439365" sldId="264"/>
        </pc:sldMkLst>
      </pc:sldChg>
      <pc:sldChg chg="add del">
        <pc:chgData name="Aashish Ramdas" userId="58210aff-8d50-4a30-b819-63f7dcb02310" providerId="ADAL" clId="{017D8426-9902-4B04-BBD0-FAEA2ACD55C9}" dt="2025-05-02T21:15:50.022" v="3746" actId="18676"/>
        <pc:sldMkLst>
          <pc:docMk/>
          <pc:sldMk cId="1021245376" sldId="265"/>
        </pc:sldMkLst>
      </pc:sldChg>
      <pc:sldChg chg="del">
        <pc:chgData name="Aashish Ramdas" userId="58210aff-8d50-4a30-b819-63f7dcb02310" providerId="ADAL" clId="{017D8426-9902-4B04-BBD0-FAEA2ACD55C9}" dt="2025-05-02T18:34:07.413" v="1678" actId="2696"/>
        <pc:sldMkLst>
          <pc:docMk/>
          <pc:sldMk cId="2445464342" sldId="265"/>
        </pc:sldMkLst>
      </pc:sldChg>
      <pc:sldChg chg="add del">
        <pc:chgData name="Aashish Ramdas" userId="58210aff-8d50-4a30-b819-63f7dcb02310" providerId="ADAL" clId="{017D8426-9902-4B04-BBD0-FAEA2ACD55C9}" dt="2025-05-02T21:15:50.022" v="3746" actId="18676"/>
        <pc:sldMkLst>
          <pc:docMk/>
          <pc:sldMk cId="2659274892" sldId="266"/>
        </pc:sldMkLst>
      </pc:sldChg>
      <pc:sldChg chg="del">
        <pc:chgData name="Aashish Ramdas" userId="58210aff-8d50-4a30-b819-63f7dcb02310" providerId="ADAL" clId="{017D8426-9902-4B04-BBD0-FAEA2ACD55C9}" dt="2025-05-02T18:34:07.413" v="1678" actId="2696"/>
        <pc:sldMkLst>
          <pc:docMk/>
          <pc:sldMk cId="3307957510" sldId="266"/>
        </pc:sldMkLst>
      </pc:sldChg>
      <pc:sldChg chg="add del">
        <pc:chgData name="Aashish Ramdas" userId="58210aff-8d50-4a30-b819-63f7dcb02310" providerId="ADAL" clId="{017D8426-9902-4B04-BBD0-FAEA2ACD55C9}" dt="2025-05-02T19:32:39.244" v="2705" actId="47"/>
        <pc:sldMkLst>
          <pc:docMk/>
          <pc:sldMk cId="1706695412" sldId="267"/>
        </pc:sldMkLst>
      </pc:sldChg>
      <pc:sldChg chg="del">
        <pc:chgData name="Aashish Ramdas" userId="58210aff-8d50-4a30-b819-63f7dcb02310" providerId="ADAL" clId="{017D8426-9902-4B04-BBD0-FAEA2ACD55C9}" dt="2025-05-02T19:25:38.499" v="2628" actId="47"/>
        <pc:sldMkLst>
          <pc:docMk/>
          <pc:sldMk cId="3423567103" sldId="267"/>
        </pc:sldMkLst>
      </pc:sldChg>
      <pc:sldChg chg="modSp add mod">
        <pc:chgData name="Aashish Ramdas" userId="58210aff-8d50-4a30-b819-63f7dcb02310" providerId="ADAL" clId="{017D8426-9902-4B04-BBD0-FAEA2ACD55C9}" dt="2025-05-02T19:34:04.798" v="2772" actId="12789"/>
        <pc:sldMkLst>
          <pc:docMk/>
          <pc:sldMk cId="3761912492" sldId="267"/>
        </pc:sldMkLst>
        <pc:spChg chg="mod">
          <ac:chgData name="Aashish Ramdas" userId="58210aff-8d50-4a30-b819-63f7dcb02310" providerId="ADAL" clId="{017D8426-9902-4B04-BBD0-FAEA2ACD55C9}" dt="2025-05-02T19:34:04.798" v="2772" actId="12789"/>
          <ac:spMkLst>
            <pc:docMk/>
            <pc:sldMk cId="3761912492" sldId="267"/>
            <ac:spMk id="3" creationId="{BF220CA8-CC94-4AFC-DB0E-B84AD1AE38F4}"/>
          </ac:spMkLst>
        </pc:spChg>
      </pc:sldChg>
      <pc:sldChg chg="add del">
        <pc:chgData name="Aashish Ramdas" userId="58210aff-8d50-4a30-b819-63f7dcb02310" providerId="ADAL" clId="{017D8426-9902-4B04-BBD0-FAEA2ACD55C9}" dt="2025-05-02T19:07:58.337" v="2500" actId="47"/>
        <pc:sldMkLst>
          <pc:docMk/>
          <pc:sldMk cId="716292425" sldId="268"/>
        </pc:sldMkLst>
      </pc:sldChg>
      <pc:sldChg chg="del modTransition">
        <pc:chgData name="Aashish Ramdas" userId="58210aff-8d50-4a30-b819-63f7dcb02310" providerId="ADAL" clId="{017D8426-9902-4B04-BBD0-FAEA2ACD55C9}" dt="2025-05-02T19:06:45.039" v="2498" actId="47"/>
        <pc:sldMkLst>
          <pc:docMk/>
          <pc:sldMk cId="1317005661" sldId="268"/>
        </pc:sldMkLst>
      </pc:sldChg>
      <pc:sldChg chg="addSp delSp modSp add mod">
        <pc:chgData name="Aashish Ramdas" userId="58210aff-8d50-4a30-b819-63f7dcb02310" providerId="ADAL" clId="{017D8426-9902-4B04-BBD0-FAEA2ACD55C9}" dt="2025-05-02T19:16:27.612" v="2612" actId="1038"/>
        <pc:sldMkLst>
          <pc:docMk/>
          <pc:sldMk cId="1400930065" sldId="268"/>
        </pc:sldMkLst>
      </pc:sldChg>
      <pc:sldChg chg="add del mod modClrScheme chgLayout">
        <pc:chgData name="Aashish Ramdas" userId="58210aff-8d50-4a30-b819-63f7dcb02310" providerId="ADAL" clId="{017D8426-9902-4B04-BBD0-FAEA2ACD55C9}" dt="2025-05-02T21:16:12.851" v="3749" actId="700"/>
        <pc:sldMkLst>
          <pc:docMk/>
          <pc:sldMk cId="2500327725" sldId="269"/>
        </pc:sldMkLst>
      </pc:sldChg>
      <pc:sldChg chg="add">
        <pc:chgData name="Aashish Ramdas" userId="58210aff-8d50-4a30-b819-63f7dcb02310" providerId="ADAL" clId="{017D8426-9902-4B04-BBD0-FAEA2ACD55C9}" dt="2025-05-02T19:04:29.388" v="2494"/>
        <pc:sldMkLst>
          <pc:docMk/>
          <pc:sldMk cId="1407556017" sldId="270"/>
        </pc:sldMkLst>
      </pc:sldChg>
      <pc:sldChg chg="addSp delSp modSp del mod modClrScheme chgLayout">
        <pc:chgData name="Aashish Ramdas" userId="58210aff-8d50-4a30-b819-63f7dcb02310" providerId="ADAL" clId="{017D8426-9902-4B04-BBD0-FAEA2ACD55C9}" dt="2025-05-02T18:54:15.343" v="2486" actId="47"/>
        <pc:sldMkLst>
          <pc:docMk/>
          <pc:sldMk cId="3115850851" sldId="270"/>
        </pc:sldMkLst>
      </pc:sldChg>
      <pc:sldChg chg="ord modTransition">
        <pc:chgData name="Aashish Ramdas" userId="58210aff-8d50-4a30-b819-63f7dcb02310" providerId="ADAL" clId="{017D8426-9902-4B04-BBD0-FAEA2ACD55C9}" dt="2025-05-02T18:53:14.696" v="2481"/>
        <pc:sldMkLst>
          <pc:docMk/>
          <pc:sldMk cId="2858225452" sldId="271"/>
        </pc:sldMkLst>
      </pc:sldChg>
      <pc:sldChg chg="modSp del">
        <pc:chgData name="Aashish Ramdas" userId="58210aff-8d50-4a30-b819-63f7dcb02310" providerId="ADAL" clId="{017D8426-9902-4B04-BBD0-FAEA2ACD55C9}" dt="2025-05-02T18:34:55.700" v="1682" actId="2696"/>
        <pc:sldMkLst>
          <pc:docMk/>
          <pc:sldMk cId="1715018833" sldId="272"/>
        </pc:sldMkLst>
      </pc:sldChg>
      <pc:sldChg chg="add del">
        <pc:chgData name="Aashish Ramdas" userId="58210aff-8d50-4a30-b819-63f7dcb02310" providerId="ADAL" clId="{017D8426-9902-4B04-BBD0-FAEA2ACD55C9}" dt="2025-05-02T21:15:50.022" v="3746" actId="18676"/>
        <pc:sldMkLst>
          <pc:docMk/>
          <pc:sldMk cId="4237377296" sldId="272"/>
        </pc:sldMkLst>
      </pc:sldChg>
      <pc:sldChg chg="delSp modSp del mod modTransition modShow">
        <pc:chgData name="Aashish Ramdas" userId="58210aff-8d50-4a30-b819-63f7dcb02310" providerId="ADAL" clId="{017D8426-9902-4B04-BBD0-FAEA2ACD55C9}" dt="2025-05-02T18:35:21.765" v="1684" actId="2696"/>
        <pc:sldMkLst>
          <pc:docMk/>
          <pc:sldMk cId="2918561252" sldId="273"/>
        </pc:sldMkLst>
      </pc:sldChg>
      <pc:sldChg chg="add del">
        <pc:chgData name="Aashish Ramdas" userId="58210aff-8d50-4a30-b819-63f7dcb02310" providerId="ADAL" clId="{017D8426-9902-4B04-BBD0-FAEA2ACD55C9}" dt="2025-05-02T21:15:50.022" v="3746" actId="18676"/>
        <pc:sldMkLst>
          <pc:docMk/>
          <pc:sldMk cId="3662432529" sldId="273"/>
        </pc:sldMkLst>
      </pc:sldChg>
      <pc:sldChg chg="modSp del mod">
        <pc:chgData name="Aashish Ramdas" userId="58210aff-8d50-4a30-b819-63f7dcb02310" providerId="ADAL" clId="{017D8426-9902-4B04-BBD0-FAEA2ACD55C9}" dt="2025-05-02T18:34:55.700" v="1682" actId="2696"/>
        <pc:sldMkLst>
          <pc:docMk/>
          <pc:sldMk cId="70000188" sldId="274"/>
        </pc:sldMkLst>
      </pc:sldChg>
      <pc:sldChg chg="add del">
        <pc:chgData name="Aashish Ramdas" userId="58210aff-8d50-4a30-b819-63f7dcb02310" providerId="ADAL" clId="{017D8426-9902-4B04-BBD0-FAEA2ACD55C9}" dt="2025-05-02T21:15:50.022" v="3746" actId="18676"/>
        <pc:sldMkLst>
          <pc:docMk/>
          <pc:sldMk cId="2866581876" sldId="274"/>
        </pc:sldMkLst>
      </pc:sldChg>
      <pc:sldChg chg="addSp delSp modSp mod">
        <pc:chgData name="Aashish Ramdas" userId="58210aff-8d50-4a30-b819-63f7dcb02310" providerId="ADAL" clId="{017D8426-9902-4B04-BBD0-FAEA2ACD55C9}" dt="2025-05-02T18:35:44.729" v="1686" actId="1076"/>
        <pc:sldMkLst>
          <pc:docMk/>
          <pc:sldMk cId="1415753022" sldId="275"/>
        </pc:sldMkLst>
        <pc:spChg chg="mod topLvl">
          <ac:chgData name="Aashish Ramdas" userId="58210aff-8d50-4a30-b819-63f7dcb02310" providerId="ADAL" clId="{017D8426-9902-4B04-BBD0-FAEA2ACD55C9}" dt="2025-05-02T17:49:59.940" v="964" actId="20577"/>
          <ac:spMkLst>
            <pc:docMk/>
            <pc:sldMk cId="1415753022" sldId="275"/>
            <ac:spMk id="3" creationId="{E221ACD2-832B-EC7D-1CB4-79FEFEBBBF2B}"/>
          </ac:spMkLst>
        </pc:spChg>
        <pc:spChg chg="topLvl">
          <ac:chgData name="Aashish Ramdas" userId="58210aff-8d50-4a30-b819-63f7dcb02310" providerId="ADAL" clId="{017D8426-9902-4B04-BBD0-FAEA2ACD55C9}" dt="2025-05-02T17:47:20.391" v="873" actId="165"/>
          <ac:spMkLst>
            <pc:docMk/>
            <pc:sldMk cId="1415753022" sldId="275"/>
            <ac:spMk id="5" creationId="{B22BFE91-2C21-A66D-2030-1E143B0C27C6}"/>
          </ac:spMkLst>
        </pc:spChg>
        <pc:spChg chg="add mod">
          <ac:chgData name="Aashish Ramdas" userId="58210aff-8d50-4a30-b819-63f7dcb02310" providerId="ADAL" clId="{017D8426-9902-4B04-BBD0-FAEA2ACD55C9}" dt="2025-05-02T17:49:44.737" v="961" actId="3064"/>
          <ac:spMkLst>
            <pc:docMk/>
            <pc:sldMk cId="1415753022" sldId="275"/>
            <ac:spMk id="6" creationId="{50DD22BA-5D6B-20FF-C81A-F9C777DE20C7}"/>
          </ac:spMkLst>
        </pc:spChg>
        <pc:spChg chg="mod topLvl">
          <ac:chgData name="Aashish Ramdas" userId="58210aff-8d50-4a30-b819-63f7dcb02310" providerId="ADAL" clId="{017D8426-9902-4B04-BBD0-FAEA2ACD55C9}" dt="2025-05-02T17:49:41.964" v="960" actId="3064"/>
          <ac:spMkLst>
            <pc:docMk/>
            <pc:sldMk cId="1415753022" sldId="275"/>
            <ac:spMk id="10" creationId="{BAD370A4-745B-80A3-7798-722C430169E9}"/>
          </ac:spMkLst>
        </pc:spChg>
        <pc:spChg chg="mod">
          <ac:chgData name="Aashish Ramdas" userId="58210aff-8d50-4a30-b819-63f7dcb02310" providerId="ADAL" clId="{017D8426-9902-4B04-BBD0-FAEA2ACD55C9}" dt="2025-05-02T17:48:16.562" v="886" actId="14826"/>
          <ac:spMkLst>
            <pc:docMk/>
            <pc:sldMk cId="1415753022" sldId="275"/>
            <ac:spMk id="15" creationId="{9969D2A6-125F-CAA0-7FC0-B42F29DF0746}"/>
          </ac:spMkLst>
        </pc:spChg>
        <pc:grpChg chg="add mod">
          <ac:chgData name="Aashish Ramdas" userId="58210aff-8d50-4a30-b819-63f7dcb02310" providerId="ADAL" clId="{017D8426-9902-4B04-BBD0-FAEA2ACD55C9}" dt="2025-05-02T17:47:55.650" v="883" actId="14100"/>
          <ac:grpSpMkLst>
            <pc:docMk/>
            <pc:sldMk cId="1415753022" sldId="275"/>
            <ac:grpSpMk id="2" creationId="{A1150760-C341-06C4-EFE4-AE2295BACAF1}"/>
          </ac:grpSpMkLst>
        </pc:grpChg>
        <pc:grpChg chg="add mod">
          <ac:chgData name="Aashish Ramdas" userId="58210aff-8d50-4a30-b819-63f7dcb02310" providerId="ADAL" clId="{017D8426-9902-4B04-BBD0-FAEA2ACD55C9}" dt="2025-05-02T17:49:12.131" v="952" actId="12788"/>
          <ac:grpSpMkLst>
            <pc:docMk/>
            <pc:sldMk cId="1415753022" sldId="275"/>
            <ac:grpSpMk id="7" creationId="{E5079112-C868-BFF0-4B37-0E59C781A071}"/>
          </ac:grpSpMkLst>
        </pc:grpChg>
        <pc:grpChg chg="mod topLvl">
          <ac:chgData name="Aashish Ramdas" userId="58210aff-8d50-4a30-b819-63f7dcb02310" providerId="ADAL" clId="{017D8426-9902-4B04-BBD0-FAEA2ACD55C9}" dt="2025-05-02T17:49:00.105" v="947" actId="12788"/>
          <ac:grpSpMkLst>
            <pc:docMk/>
            <pc:sldMk cId="1415753022" sldId="275"/>
            <ac:grpSpMk id="11" creationId="{D85CA5B9-2A23-78A8-E65E-650D63C7815F}"/>
          </ac:grpSpMkLst>
        </pc:grpChg>
        <pc:grpChg chg="add mod">
          <ac:chgData name="Aashish Ramdas" userId="58210aff-8d50-4a30-b819-63f7dcb02310" providerId="ADAL" clId="{017D8426-9902-4B04-BBD0-FAEA2ACD55C9}" dt="2025-05-02T17:50:23.744" v="982" actId="1037"/>
          <ac:grpSpMkLst>
            <pc:docMk/>
            <pc:sldMk cId="1415753022" sldId="275"/>
            <ac:grpSpMk id="17" creationId="{54EE491E-7919-1C31-33B5-CF8093D8C850}"/>
          </ac:grpSpMkLst>
        </pc:grpChg>
        <pc:grpChg chg="add mod">
          <ac:chgData name="Aashish Ramdas" userId="58210aff-8d50-4a30-b819-63f7dcb02310" providerId="ADAL" clId="{017D8426-9902-4B04-BBD0-FAEA2ACD55C9}" dt="2025-05-02T18:35:44.729" v="1686" actId="1076"/>
          <ac:grpSpMkLst>
            <pc:docMk/>
            <pc:sldMk cId="1415753022" sldId="275"/>
            <ac:grpSpMk id="18" creationId="{55C21783-13B5-978F-BB37-268728CD2781}"/>
          </ac:grpSpMkLst>
        </pc:grpChg>
        <pc:grpChg chg="add mod">
          <ac:chgData name="Aashish Ramdas" userId="58210aff-8d50-4a30-b819-63f7dcb02310" providerId="ADAL" clId="{017D8426-9902-4B04-BBD0-FAEA2ACD55C9}" dt="2025-05-02T17:50:34.896" v="984" actId="1076"/>
          <ac:grpSpMkLst>
            <pc:docMk/>
            <pc:sldMk cId="1415753022" sldId="275"/>
            <ac:grpSpMk id="19" creationId="{6798442F-ACFD-735E-7E16-3B74F61F25AA}"/>
          </ac:grpSpMkLst>
        </pc:grpChg>
        <pc:picChg chg="mod">
          <ac:chgData name="Aashish Ramdas" userId="58210aff-8d50-4a30-b819-63f7dcb02310" providerId="ADAL" clId="{017D8426-9902-4B04-BBD0-FAEA2ACD55C9}" dt="2025-05-02T17:47:01.452" v="871" actId="1076"/>
          <ac:picMkLst>
            <pc:docMk/>
            <pc:sldMk cId="1415753022" sldId="275"/>
            <ac:picMk id="4" creationId="{DC560D86-B528-5243-B737-AE911681015A}"/>
          </ac:picMkLst>
        </pc:picChg>
        <pc:picChg chg="mod">
          <ac:chgData name="Aashish Ramdas" userId="58210aff-8d50-4a30-b819-63f7dcb02310" providerId="ADAL" clId="{017D8426-9902-4B04-BBD0-FAEA2ACD55C9}" dt="2025-05-02T17:48:16.562" v="886" actId="14826"/>
          <ac:picMkLst>
            <pc:docMk/>
            <pc:sldMk cId="1415753022" sldId="275"/>
            <ac:picMk id="16" creationId="{C6CA751B-9CE6-0CFC-8C84-8C7295C72E9A}"/>
          </ac:picMkLst>
        </pc:picChg>
      </pc:sldChg>
      <pc:sldChg chg="add del">
        <pc:chgData name="Aashish Ramdas" userId="58210aff-8d50-4a30-b819-63f7dcb02310" providerId="ADAL" clId="{017D8426-9902-4B04-BBD0-FAEA2ACD55C9}" dt="2025-05-02T21:15:50.022" v="3746" actId="18676"/>
        <pc:sldMkLst>
          <pc:docMk/>
          <pc:sldMk cId="513725827" sldId="276"/>
        </pc:sldMkLst>
      </pc:sldChg>
      <pc:sldChg chg="del">
        <pc:chgData name="Aashish Ramdas" userId="58210aff-8d50-4a30-b819-63f7dcb02310" providerId="ADAL" clId="{017D8426-9902-4B04-BBD0-FAEA2ACD55C9}" dt="2025-05-02T18:34:07.413" v="1678" actId="2696"/>
        <pc:sldMkLst>
          <pc:docMk/>
          <pc:sldMk cId="1791441293" sldId="276"/>
        </pc:sldMkLst>
      </pc:sldChg>
      <pc:sldChg chg="add del">
        <pc:chgData name="Aashish Ramdas" userId="58210aff-8d50-4a30-b819-63f7dcb02310" providerId="ADAL" clId="{017D8426-9902-4B04-BBD0-FAEA2ACD55C9}" dt="2025-05-02T21:15:50.022" v="3746" actId="18676"/>
        <pc:sldMkLst>
          <pc:docMk/>
          <pc:sldMk cId="3151445594" sldId="277"/>
        </pc:sldMkLst>
      </pc:sldChg>
      <pc:sldChg chg="del">
        <pc:chgData name="Aashish Ramdas" userId="58210aff-8d50-4a30-b819-63f7dcb02310" providerId="ADAL" clId="{017D8426-9902-4B04-BBD0-FAEA2ACD55C9}" dt="2025-05-02T18:34:07.413" v="1678" actId="2696"/>
        <pc:sldMkLst>
          <pc:docMk/>
          <pc:sldMk cId="3972483064" sldId="277"/>
        </pc:sldMkLst>
      </pc:sldChg>
      <pc:sldChg chg="ord">
        <pc:chgData name="Aashish Ramdas" userId="58210aff-8d50-4a30-b819-63f7dcb02310" providerId="ADAL" clId="{017D8426-9902-4B04-BBD0-FAEA2ACD55C9}" dt="2025-05-02T18:54:24.037" v="2491"/>
        <pc:sldMkLst>
          <pc:docMk/>
          <pc:sldMk cId="3343947183" sldId="278"/>
        </pc:sldMkLst>
      </pc:sldChg>
      <pc:sldChg chg="modSp new mod ord modShow">
        <pc:chgData name="Aashish Ramdas" userId="58210aff-8d50-4a30-b819-63f7dcb02310" providerId="ADAL" clId="{017D8426-9902-4B04-BBD0-FAEA2ACD55C9}" dt="2025-05-02T19:26:41.512" v="2631"/>
        <pc:sldMkLst>
          <pc:docMk/>
          <pc:sldMk cId="2906542187" sldId="279"/>
        </pc:sldMkLst>
        <pc:spChg chg="mod">
          <ac:chgData name="Aashish Ramdas" userId="58210aff-8d50-4a30-b819-63f7dcb02310" providerId="ADAL" clId="{017D8426-9902-4B04-BBD0-FAEA2ACD55C9}" dt="2025-05-02T18:08:08.590" v="1233"/>
          <ac:spMkLst>
            <pc:docMk/>
            <pc:sldMk cId="2906542187" sldId="279"/>
            <ac:spMk id="2" creationId="{E5A27351-DA4A-382D-D8B4-92AEAD5B7FEF}"/>
          </ac:spMkLst>
        </pc:spChg>
        <pc:spChg chg="mod">
          <ac:chgData name="Aashish Ramdas" userId="58210aff-8d50-4a30-b819-63f7dcb02310" providerId="ADAL" clId="{017D8426-9902-4B04-BBD0-FAEA2ACD55C9}" dt="2025-05-02T18:08:08.787" v="1234" actId="27636"/>
          <ac:spMkLst>
            <pc:docMk/>
            <pc:sldMk cId="2906542187" sldId="279"/>
            <ac:spMk id="3" creationId="{F28B0F52-CB15-C401-E55A-20879F17B046}"/>
          </ac:spMkLst>
        </pc:spChg>
      </pc:sldChg>
      <pc:sldChg chg="del">
        <pc:chgData name="Aashish Ramdas" userId="58210aff-8d50-4a30-b819-63f7dcb02310" providerId="ADAL" clId="{017D8426-9902-4B04-BBD0-FAEA2ACD55C9}" dt="2025-05-02T18:34:07.413" v="1678" actId="2696"/>
        <pc:sldMkLst>
          <pc:docMk/>
          <pc:sldMk cId="1233697860" sldId="280"/>
        </pc:sldMkLst>
      </pc:sldChg>
      <pc:sldChg chg="add del">
        <pc:chgData name="Aashish Ramdas" userId="58210aff-8d50-4a30-b819-63f7dcb02310" providerId="ADAL" clId="{017D8426-9902-4B04-BBD0-FAEA2ACD55C9}" dt="2025-05-02T21:15:50.022" v="3746" actId="18676"/>
        <pc:sldMkLst>
          <pc:docMk/>
          <pc:sldMk cId="3893460951" sldId="280"/>
        </pc:sldMkLst>
      </pc:sldChg>
      <pc:sldChg chg="add del">
        <pc:chgData name="Aashish Ramdas" userId="58210aff-8d50-4a30-b819-63f7dcb02310" providerId="ADAL" clId="{017D8426-9902-4B04-BBD0-FAEA2ACD55C9}" dt="2025-05-02T21:15:50.022" v="3746" actId="18676"/>
        <pc:sldMkLst>
          <pc:docMk/>
          <pc:sldMk cId="1256631528" sldId="281"/>
        </pc:sldMkLst>
      </pc:sldChg>
      <pc:sldChg chg="del">
        <pc:chgData name="Aashish Ramdas" userId="58210aff-8d50-4a30-b819-63f7dcb02310" providerId="ADAL" clId="{017D8426-9902-4B04-BBD0-FAEA2ACD55C9}" dt="2025-05-02T18:34:07.413" v="1678" actId="2696"/>
        <pc:sldMkLst>
          <pc:docMk/>
          <pc:sldMk cId="3157775253" sldId="281"/>
        </pc:sldMkLst>
      </pc:sldChg>
      <pc:sldChg chg="add del">
        <pc:chgData name="Aashish Ramdas" userId="58210aff-8d50-4a30-b819-63f7dcb02310" providerId="ADAL" clId="{017D8426-9902-4B04-BBD0-FAEA2ACD55C9}" dt="2025-05-02T21:15:50.022" v="3746" actId="18676"/>
        <pc:sldMkLst>
          <pc:docMk/>
          <pc:sldMk cId="1743211005" sldId="282"/>
        </pc:sldMkLst>
      </pc:sldChg>
      <pc:sldChg chg="del">
        <pc:chgData name="Aashish Ramdas" userId="58210aff-8d50-4a30-b819-63f7dcb02310" providerId="ADAL" clId="{017D8426-9902-4B04-BBD0-FAEA2ACD55C9}" dt="2025-05-02T18:34:07.413" v="1678" actId="2696"/>
        <pc:sldMkLst>
          <pc:docMk/>
          <pc:sldMk cId="4273413535" sldId="282"/>
        </pc:sldMkLst>
      </pc:sldChg>
      <pc:sldChg chg="add del">
        <pc:chgData name="Aashish Ramdas" userId="58210aff-8d50-4a30-b819-63f7dcb02310" providerId="ADAL" clId="{017D8426-9902-4B04-BBD0-FAEA2ACD55C9}" dt="2025-05-02T21:15:50.022" v="3746" actId="18676"/>
        <pc:sldMkLst>
          <pc:docMk/>
          <pc:sldMk cId="275513785" sldId="283"/>
        </pc:sldMkLst>
      </pc:sldChg>
      <pc:sldChg chg="del">
        <pc:chgData name="Aashish Ramdas" userId="58210aff-8d50-4a30-b819-63f7dcb02310" providerId="ADAL" clId="{017D8426-9902-4B04-BBD0-FAEA2ACD55C9}" dt="2025-05-02T18:34:07.413" v="1678" actId="2696"/>
        <pc:sldMkLst>
          <pc:docMk/>
          <pc:sldMk cId="756651163" sldId="283"/>
        </pc:sldMkLst>
      </pc:sldChg>
      <pc:sldChg chg="modSp add mod">
        <pc:chgData name="Aashish Ramdas" userId="58210aff-8d50-4a30-b819-63f7dcb02310" providerId="ADAL" clId="{017D8426-9902-4B04-BBD0-FAEA2ACD55C9}" dt="2025-05-02T19:33:55.298" v="2771" actId="12789"/>
        <pc:sldMkLst>
          <pc:docMk/>
          <pc:sldMk cId="222487472" sldId="284"/>
        </pc:sldMkLst>
        <pc:spChg chg="mod">
          <ac:chgData name="Aashish Ramdas" userId="58210aff-8d50-4a30-b819-63f7dcb02310" providerId="ADAL" clId="{017D8426-9902-4B04-BBD0-FAEA2ACD55C9}" dt="2025-05-02T19:33:55.298" v="2771" actId="12789"/>
          <ac:spMkLst>
            <pc:docMk/>
            <pc:sldMk cId="222487472" sldId="284"/>
            <ac:spMk id="3" creationId="{CF6CC5DD-1F15-5612-4E93-77EFC857E212}"/>
          </ac:spMkLst>
        </pc:spChg>
      </pc:sldChg>
      <pc:sldChg chg="add del">
        <pc:chgData name="Aashish Ramdas" userId="58210aff-8d50-4a30-b819-63f7dcb02310" providerId="ADAL" clId="{017D8426-9902-4B04-BBD0-FAEA2ACD55C9}" dt="2025-05-02T19:25:35.256" v="2627" actId="47"/>
        <pc:sldMkLst>
          <pc:docMk/>
          <pc:sldMk cId="500103178" sldId="284"/>
        </pc:sldMkLst>
      </pc:sldChg>
      <pc:sldChg chg="add del setBg">
        <pc:chgData name="Aashish Ramdas" userId="58210aff-8d50-4a30-b819-63f7dcb02310" providerId="ADAL" clId="{017D8426-9902-4B04-BBD0-FAEA2ACD55C9}" dt="2025-05-02T19:25:00.757" v="2625"/>
        <pc:sldMkLst>
          <pc:docMk/>
          <pc:sldMk cId="2396386204" sldId="284"/>
        </pc:sldMkLst>
      </pc:sldChg>
      <pc:sldChg chg="add del">
        <pc:chgData name="Aashish Ramdas" userId="58210aff-8d50-4a30-b819-63f7dcb02310" providerId="ADAL" clId="{017D8426-9902-4B04-BBD0-FAEA2ACD55C9}" dt="2025-05-02T19:33:05.926" v="2733" actId="47"/>
        <pc:sldMkLst>
          <pc:docMk/>
          <pc:sldMk cId="2432017844" sldId="284"/>
        </pc:sldMkLst>
      </pc:sldChg>
      <pc:sldChg chg="modSp del">
        <pc:chgData name="Aashish Ramdas" userId="58210aff-8d50-4a30-b819-63f7dcb02310" providerId="ADAL" clId="{017D8426-9902-4B04-BBD0-FAEA2ACD55C9}" dt="2025-05-02T18:53:45.936" v="2483" actId="2696"/>
        <pc:sldMkLst>
          <pc:docMk/>
          <pc:sldMk cId="3575004653" sldId="284"/>
        </pc:sldMkLst>
      </pc:sldChg>
      <pc:sldChg chg="add del">
        <pc:chgData name="Aashish Ramdas" userId="58210aff-8d50-4a30-b819-63f7dcb02310" providerId="ADAL" clId="{017D8426-9902-4B04-BBD0-FAEA2ACD55C9}" dt="2025-05-02T19:19:21.175" v="2616" actId="47"/>
        <pc:sldMkLst>
          <pc:docMk/>
          <pc:sldMk cId="3663286140" sldId="284"/>
        </pc:sldMkLst>
      </pc:sldChg>
      <pc:sldChg chg="add del">
        <pc:chgData name="Aashish Ramdas" userId="58210aff-8d50-4a30-b819-63f7dcb02310" providerId="ADAL" clId="{017D8426-9902-4B04-BBD0-FAEA2ACD55C9}" dt="2025-05-02T21:15:50.022" v="3746" actId="18676"/>
        <pc:sldMkLst>
          <pc:docMk/>
          <pc:sldMk cId="2335718786" sldId="285"/>
        </pc:sldMkLst>
      </pc:sldChg>
      <pc:sldChg chg="del">
        <pc:chgData name="Aashish Ramdas" userId="58210aff-8d50-4a30-b819-63f7dcb02310" providerId="ADAL" clId="{017D8426-9902-4B04-BBD0-FAEA2ACD55C9}" dt="2025-05-02T18:34:07.413" v="1678" actId="2696"/>
        <pc:sldMkLst>
          <pc:docMk/>
          <pc:sldMk cId="3962841755" sldId="285"/>
        </pc:sldMkLst>
      </pc:sldChg>
      <pc:sldChg chg="del">
        <pc:chgData name="Aashish Ramdas" userId="58210aff-8d50-4a30-b819-63f7dcb02310" providerId="ADAL" clId="{017D8426-9902-4B04-BBD0-FAEA2ACD55C9}" dt="2025-05-02T18:34:07.413" v="1678" actId="2696"/>
        <pc:sldMkLst>
          <pc:docMk/>
          <pc:sldMk cId="1093561080" sldId="286"/>
        </pc:sldMkLst>
      </pc:sldChg>
      <pc:sldChg chg="add del">
        <pc:chgData name="Aashish Ramdas" userId="58210aff-8d50-4a30-b819-63f7dcb02310" providerId="ADAL" clId="{017D8426-9902-4B04-BBD0-FAEA2ACD55C9}" dt="2025-05-02T21:15:50.022" v="3746" actId="18676"/>
        <pc:sldMkLst>
          <pc:docMk/>
          <pc:sldMk cId="4081166480" sldId="286"/>
        </pc:sldMkLst>
      </pc:sldChg>
      <pc:sldChg chg="del">
        <pc:chgData name="Aashish Ramdas" userId="58210aff-8d50-4a30-b819-63f7dcb02310" providerId="ADAL" clId="{017D8426-9902-4B04-BBD0-FAEA2ACD55C9}" dt="2025-05-02T19:11:15.612" v="2507" actId="47"/>
        <pc:sldMkLst>
          <pc:docMk/>
          <pc:sldMk cId="1884756846" sldId="287"/>
        </pc:sldMkLst>
      </pc:sldChg>
      <pc:sldChg chg="add del">
        <pc:chgData name="Aashish Ramdas" userId="58210aff-8d50-4a30-b819-63f7dcb02310" providerId="ADAL" clId="{017D8426-9902-4B04-BBD0-FAEA2ACD55C9}" dt="2025-05-02T19:33:20.551" v="2745" actId="47"/>
        <pc:sldMkLst>
          <pc:docMk/>
          <pc:sldMk cId="2159685391" sldId="287"/>
        </pc:sldMkLst>
      </pc:sldChg>
      <pc:sldChg chg="addSp delSp modSp add mod addAnim delAnim modAnim">
        <pc:chgData name="Aashish Ramdas" userId="58210aff-8d50-4a30-b819-63f7dcb02310" providerId="ADAL" clId="{017D8426-9902-4B04-BBD0-FAEA2ACD55C9}" dt="2025-05-02T20:55:52.980" v="3525"/>
        <pc:sldMkLst>
          <pc:docMk/>
          <pc:sldMk cId="3903176985" sldId="287"/>
        </pc:sldMkLst>
        <pc:spChg chg="mod">
          <ac:chgData name="Aashish Ramdas" userId="58210aff-8d50-4a30-b819-63f7dcb02310" providerId="ADAL" clId="{017D8426-9902-4B04-BBD0-FAEA2ACD55C9}" dt="2025-05-02T20:27:06.598" v="3299" actId="14100"/>
          <ac:spMkLst>
            <pc:docMk/>
            <pc:sldMk cId="3903176985" sldId="287"/>
            <ac:spMk id="5" creationId="{D4E9D2BB-E66C-D955-B118-5D61CCE48FA6}"/>
          </ac:spMkLst>
        </pc:spChg>
        <pc:spChg chg="add mod">
          <ac:chgData name="Aashish Ramdas" userId="58210aff-8d50-4a30-b819-63f7dcb02310" providerId="ADAL" clId="{017D8426-9902-4B04-BBD0-FAEA2ACD55C9}" dt="2025-05-02T20:54:42.361" v="3489"/>
          <ac:spMkLst>
            <pc:docMk/>
            <pc:sldMk cId="3903176985" sldId="287"/>
            <ac:spMk id="16" creationId="{0687B9F4-C0EB-7287-BC7F-BBF09A7F5741}"/>
          </ac:spMkLst>
        </pc:spChg>
        <pc:cxnChg chg="add mod">
          <ac:chgData name="Aashish Ramdas" userId="58210aff-8d50-4a30-b819-63f7dcb02310" providerId="ADAL" clId="{017D8426-9902-4B04-BBD0-FAEA2ACD55C9}" dt="2025-05-02T20:54:42.361" v="3489"/>
          <ac:cxnSpMkLst>
            <pc:docMk/>
            <pc:sldMk cId="3903176985" sldId="287"/>
            <ac:cxnSpMk id="15" creationId="{B11F160E-7E34-CDBB-3B32-AAE423C16410}"/>
          </ac:cxnSpMkLst>
        </pc:cxnChg>
      </pc:sldChg>
      <pc:sldChg chg="addSp modSp new mod">
        <pc:chgData name="Aashish Ramdas" userId="58210aff-8d50-4a30-b819-63f7dcb02310" providerId="ADAL" clId="{017D8426-9902-4B04-BBD0-FAEA2ACD55C9}" dt="2025-05-02T19:34:36.609" v="2784" actId="1076"/>
        <pc:sldMkLst>
          <pc:docMk/>
          <pc:sldMk cId="2884835615" sldId="288"/>
        </pc:sldMkLst>
        <pc:graphicFrameChg chg="add mod modGraphic">
          <ac:chgData name="Aashish Ramdas" userId="58210aff-8d50-4a30-b819-63f7dcb02310" providerId="ADAL" clId="{017D8426-9902-4B04-BBD0-FAEA2ACD55C9}" dt="2025-05-02T19:34:29.304" v="2779" actId="1076"/>
          <ac:graphicFrameMkLst>
            <pc:docMk/>
            <pc:sldMk cId="2884835615" sldId="288"/>
            <ac:graphicFrameMk id="3" creationId="{31DCF3A1-5261-1B41-1F26-EFCA7902915A}"/>
          </ac:graphicFrameMkLst>
        </pc:graphicFrameChg>
        <pc:graphicFrameChg chg="add mod modGraphic">
          <ac:chgData name="Aashish Ramdas" userId="58210aff-8d50-4a30-b819-63f7dcb02310" providerId="ADAL" clId="{017D8426-9902-4B04-BBD0-FAEA2ACD55C9}" dt="2025-05-02T19:34:36.609" v="2784" actId="1076"/>
          <ac:graphicFrameMkLst>
            <pc:docMk/>
            <pc:sldMk cId="2884835615" sldId="288"/>
            <ac:graphicFrameMk id="5" creationId="{97B8FDF5-5BEA-E805-A72D-D0B3FA1F2D97}"/>
          </ac:graphicFrameMkLst>
        </pc:graphicFrameChg>
        <pc:graphicFrameChg chg="add mod modGraphic">
          <ac:chgData name="Aashish Ramdas" userId="58210aff-8d50-4a30-b819-63f7dcb02310" providerId="ADAL" clId="{017D8426-9902-4B04-BBD0-FAEA2ACD55C9}" dt="2025-05-02T19:34:32.384" v="2781" actId="1076"/>
          <ac:graphicFrameMkLst>
            <pc:docMk/>
            <pc:sldMk cId="2884835615" sldId="288"/>
            <ac:graphicFrameMk id="7" creationId="{21C61FCC-EA56-9285-3DEE-EC8119AD69FC}"/>
          </ac:graphicFrameMkLst>
        </pc:graphicFrameChg>
        <pc:graphicFrameChg chg="add mod modGraphic">
          <ac:chgData name="Aashish Ramdas" userId="58210aff-8d50-4a30-b819-63f7dcb02310" providerId="ADAL" clId="{017D8426-9902-4B04-BBD0-FAEA2ACD55C9}" dt="2025-05-02T19:34:34.750" v="2782" actId="1076"/>
          <ac:graphicFrameMkLst>
            <pc:docMk/>
            <pc:sldMk cId="2884835615" sldId="288"/>
            <ac:graphicFrameMk id="9" creationId="{DFE5EDD1-789B-F274-6E82-F88EC82EFC0D}"/>
          </ac:graphicFrameMkLst>
        </pc:graphicFrameChg>
      </pc:sldChg>
      <pc:sldChg chg="del">
        <pc:chgData name="Aashish Ramdas" userId="58210aff-8d50-4a30-b819-63f7dcb02310" providerId="ADAL" clId="{017D8426-9902-4B04-BBD0-FAEA2ACD55C9}" dt="2025-05-02T19:11:22.910" v="2509" actId="47"/>
        <pc:sldMkLst>
          <pc:docMk/>
          <pc:sldMk cId="3713410046" sldId="288"/>
        </pc:sldMkLst>
      </pc:sldChg>
      <pc:sldChg chg="modSp del mod">
        <pc:chgData name="Aashish Ramdas" userId="58210aff-8d50-4a30-b819-63f7dcb02310" providerId="ADAL" clId="{017D8426-9902-4B04-BBD0-FAEA2ACD55C9}" dt="2025-05-02T18:34:55.700" v="1682" actId="2696"/>
        <pc:sldMkLst>
          <pc:docMk/>
          <pc:sldMk cId="3504579776" sldId="289"/>
        </pc:sldMkLst>
      </pc:sldChg>
      <pc:sldChg chg="add del">
        <pc:chgData name="Aashish Ramdas" userId="58210aff-8d50-4a30-b819-63f7dcb02310" providerId="ADAL" clId="{017D8426-9902-4B04-BBD0-FAEA2ACD55C9}" dt="2025-05-02T21:15:50.022" v="3746" actId="18676"/>
        <pc:sldMkLst>
          <pc:docMk/>
          <pc:sldMk cId="3959488758" sldId="289"/>
        </pc:sldMkLst>
      </pc:sldChg>
      <pc:sldChg chg="del">
        <pc:chgData name="Aashish Ramdas" userId="58210aff-8d50-4a30-b819-63f7dcb02310" providerId="ADAL" clId="{017D8426-9902-4B04-BBD0-FAEA2ACD55C9}" dt="2025-05-02T19:11:25.051" v="2510" actId="47"/>
        <pc:sldMkLst>
          <pc:docMk/>
          <pc:sldMk cId="759678739" sldId="290"/>
        </pc:sldMkLst>
      </pc:sldChg>
      <pc:sldChg chg="modSp add mod">
        <pc:chgData name="Aashish Ramdas" userId="58210aff-8d50-4a30-b819-63f7dcb02310" providerId="ADAL" clId="{017D8426-9902-4B04-BBD0-FAEA2ACD55C9}" dt="2025-05-02T19:34:14.839" v="2775" actId="12788"/>
        <pc:sldMkLst>
          <pc:docMk/>
          <pc:sldMk cId="1476051316" sldId="290"/>
        </pc:sldMkLst>
        <pc:spChg chg="mod">
          <ac:chgData name="Aashish Ramdas" userId="58210aff-8d50-4a30-b819-63f7dcb02310" providerId="ADAL" clId="{017D8426-9902-4B04-BBD0-FAEA2ACD55C9}" dt="2025-05-02T19:34:14.839" v="2775" actId="12788"/>
          <ac:spMkLst>
            <pc:docMk/>
            <pc:sldMk cId="1476051316" sldId="290"/>
            <ac:spMk id="3" creationId="{70A1F8F2-E4C7-5BAA-748F-DCAE0B7ED57E}"/>
          </ac:spMkLst>
        </pc:spChg>
      </pc:sldChg>
      <pc:sldChg chg="modSp mod modClrScheme chgLayout">
        <pc:chgData name="Aashish Ramdas" userId="58210aff-8d50-4a30-b819-63f7dcb02310" providerId="ADAL" clId="{017D8426-9902-4B04-BBD0-FAEA2ACD55C9}" dt="2025-05-02T21:16:31.208" v="3750" actId="700"/>
        <pc:sldMkLst>
          <pc:docMk/>
          <pc:sldMk cId="3423567103" sldId="291"/>
        </pc:sldMkLst>
        <pc:spChg chg="mod ord">
          <ac:chgData name="Aashish Ramdas" userId="58210aff-8d50-4a30-b819-63f7dcb02310" providerId="ADAL" clId="{017D8426-9902-4B04-BBD0-FAEA2ACD55C9}" dt="2025-05-02T21:16:31.208" v="3750" actId="700"/>
          <ac:spMkLst>
            <pc:docMk/>
            <pc:sldMk cId="3423567103" sldId="291"/>
            <ac:spMk id="2" creationId="{4A539BF5-1C25-389B-9190-4F33395BF976}"/>
          </ac:spMkLst>
        </pc:spChg>
      </pc:sldChg>
      <pc:sldChg chg="del">
        <pc:chgData name="Aashish Ramdas" userId="58210aff-8d50-4a30-b819-63f7dcb02310" providerId="ADAL" clId="{017D8426-9902-4B04-BBD0-FAEA2ACD55C9}" dt="2025-05-02T19:11:31.878" v="2511" actId="47"/>
        <pc:sldMkLst>
          <pc:docMk/>
          <pc:sldMk cId="3595058816" sldId="291"/>
        </pc:sldMkLst>
      </pc:sldChg>
      <pc:sldChg chg="del">
        <pc:chgData name="Aashish Ramdas" userId="58210aff-8d50-4a30-b819-63f7dcb02310" providerId="ADAL" clId="{017D8426-9902-4B04-BBD0-FAEA2ACD55C9}" dt="2025-05-02T19:11:40.159" v="2512" actId="47"/>
        <pc:sldMkLst>
          <pc:docMk/>
          <pc:sldMk cId="546826912" sldId="292"/>
        </pc:sldMkLst>
      </pc:sldChg>
      <pc:sldChg chg="addSp modSp add mod addAnim delAnim modAnim">
        <pc:chgData name="Aashish Ramdas" userId="58210aff-8d50-4a30-b819-63f7dcb02310" providerId="ADAL" clId="{017D8426-9902-4B04-BBD0-FAEA2ACD55C9}" dt="2025-05-02T20:56:15.413" v="3529"/>
        <pc:sldMkLst>
          <pc:docMk/>
          <pc:sldMk cId="745375629" sldId="292"/>
        </pc:sldMkLst>
        <pc:spChg chg="mod">
          <ac:chgData name="Aashish Ramdas" userId="58210aff-8d50-4a30-b819-63f7dcb02310" providerId="ADAL" clId="{017D8426-9902-4B04-BBD0-FAEA2ACD55C9}" dt="2025-05-02T20:55:21.528" v="3520" actId="20577"/>
          <ac:spMkLst>
            <pc:docMk/>
            <pc:sldMk cId="745375629" sldId="292"/>
            <ac:spMk id="14" creationId="{64900DF5-A430-0C39-A408-4B11E104DF64}"/>
          </ac:spMkLst>
        </pc:spChg>
        <pc:cxnChg chg="mod">
          <ac:chgData name="Aashish Ramdas" userId="58210aff-8d50-4a30-b819-63f7dcb02310" providerId="ADAL" clId="{017D8426-9902-4B04-BBD0-FAEA2ACD55C9}" dt="2025-05-02T20:55:26.738" v="3522" actId="14100"/>
          <ac:cxnSpMkLst>
            <pc:docMk/>
            <pc:sldMk cId="745375629" sldId="292"/>
            <ac:cxnSpMk id="4" creationId="{8FF076B6-0E8F-1BF7-E1C6-910BA7EB2D37}"/>
          </ac:cxnSpMkLst>
        </pc:cxnChg>
      </pc:sldChg>
      <pc:sldChg chg="del">
        <pc:chgData name="Aashish Ramdas" userId="58210aff-8d50-4a30-b819-63f7dcb02310" providerId="ADAL" clId="{017D8426-9902-4B04-BBD0-FAEA2ACD55C9}" dt="2025-05-02T19:11:42.297" v="2513" actId="47"/>
        <pc:sldMkLst>
          <pc:docMk/>
          <pc:sldMk cId="677166386" sldId="293"/>
        </pc:sldMkLst>
      </pc:sldChg>
      <pc:sldChg chg="del">
        <pc:chgData name="Aashish Ramdas" userId="58210aff-8d50-4a30-b819-63f7dcb02310" providerId="ADAL" clId="{017D8426-9902-4B04-BBD0-FAEA2ACD55C9}" dt="2025-05-02T19:11:44.970" v="2514" actId="47"/>
        <pc:sldMkLst>
          <pc:docMk/>
          <pc:sldMk cId="3560070526" sldId="294"/>
        </pc:sldMkLst>
      </pc:sldChg>
      <pc:sldChg chg="modSp new mod ord modShow">
        <pc:chgData name="Aashish Ramdas" userId="58210aff-8d50-4a30-b819-63f7dcb02310" providerId="ADAL" clId="{017D8426-9902-4B04-BBD0-FAEA2ACD55C9}" dt="2025-05-02T19:26:41.512" v="2631"/>
        <pc:sldMkLst>
          <pc:docMk/>
          <pc:sldMk cId="1581736101" sldId="295"/>
        </pc:sldMkLst>
        <pc:spChg chg="mod">
          <ac:chgData name="Aashish Ramdas" userId="58210aff-8d50-4a30-b819-63f7dcb02310" providerId="ADAL" clId="{017D8426-9902-4B04-BBD0-FAEA2ACD55C9}" dt="2025-05-02T18:08:08.590" v="1233"/>
          <ac:spMkLst>
            <pc:docMk/>
            <pc:sldMk cId="1581736101" sldId="295"/>
            <ac:spMk id="2" creationId="{D8288652-EF9C-31AB-5BFB-E02B20AF4783}"/>
          </ac:spMkLst>
        </pc:spChg>
        <pc:spChg chg="mod">
          <ac:chgData name="Aashish Ramdas" userId="58210aff-8d50-4a30-b819-63f7dcb02310" providerId="ADAL" clId="{017D8426-9902-4B04-BBD0-FAEA2ACD55C9}" dt="2025-05-02T17:44:44.785" v="864" actId="20577"/>
          <ac:spMkLst>
            <pc:docMk/>
            <pc:sldMk cId="1581736101" sldId="295"/>
            <ac:spMk id="3" creationId="{5215C2EF-734E-3EE0-D474-DDDD35E30070}"/>
          </ac:spMkLst>
        </pc:spChg>
      </pc:sldChg>
      <pc:sldChg chg="modSp add del mod">
        <pc:chgData name="Aashish Ramdas" userId="58210aff-8d50-4a30-b819-63f7dcb02310" providerId="ADAL" clId="{017D8426-9902-4B04-BBD0-FAEA2ACD55C9}" dt="2025-05-02T17:53:36.148" v="998" actId="47"/>
        <pc:sldMkLst>
          <pc:docMk/>
          <pc:sldMk cId="2001091071" sldId="296"/>
        </pc:sldMkLst>
      </pc:sldChg>
      <pc:sldChg chg="add del modAnim">
        <pc:chgData name="Aashish Ramdas" userId="58210aff-8d50-4a30-b819-63f7dcb02310" providerId="ADAL" clId="{017D8426-9902-4B04-BBD0-FAEA2ACD55C9}" dt="2025-05-02T18:00:02.927" v="1055" actId="47"/>
        <pc:sldMkLst>
          <pc:docMk/>
          <pc:sldMk cId="2482896594" sldId="296"/>
        </pc:sldMkLst>
      </pc:sldChg>
      <pc:sldChg chg="addSp delSp modSp add mod modAnim">
        <pc:chgData name="Aashish Ramdas" userId="58210aff-8d50-4a30-b819-63f7dcb02310" providerId="ADAL" clId="{017D8426-9902-4B04-BBD0-FAEA2ACD55C9}" dt="2025-05-02T18:44:28.947" v="2126" actId="478"/>
        <pc:sldMkLst>
          <pc:docMk/>
          <pc:sldMk cId="4282388163" sldId="296"/>
        </pc:sldMkLst>
        <pc:spChg chg="add mod">
          <ac:chgData name="Aashish Ramdas" userId="58210aff-8d50-4a30-b819-63f7dcb02310" providerId="ADAL" clId="{017D8426-9902-4B04-BBD0-FAEA2ACD55C9}" dt="2025-05-02T18:00:50.414" v="1064" actId="14100"/>
          <ac:spMkLst>
            <pc:docMk/>
            <pc:sldMk cId="4282388163" sldId="296"/>
            <ac:spMk id="2" creationId="{4D6D0CB4-A617-43DC-2913-FCA46DF4DF7E}"/>
          </ac:spMkLst>
        </pc:spChg>
        <pc:spChg chg="add mod">
          <ac:chgData name="Aashish Ramdas" userId="58210aff-8d50-4a30-b819-63f7dcb02310" providerId="ADAL" clId="{017D8426-9902-4B04-BBD0-FAEA2ACD55C9}" dt="2025-05-02T18:43:31.530" v="2118" actId="20577"/>
          <ac:spMkLst>
            <pc:docMk/>
            <pc:sldMk cId="4282388163" sldId="296"/>
            <ac:spMk id="3" creationId="{E4B9BE85-C5C2-3E00-13B7-716F872BEA69}"/>
          </ac:spMkLst>
        </pc:spChg>
        <pc:spChg chg="add mod">
          <ac:chgData name="Aashish Ramdas" userId="58210aff-8d50-4a30-b819-63f7dcb02310" providerId="ADAL" clId="{017D8426-9902-4B04-BBD0-FAEA2ACD55C9}" dt="2025-05-02T18:43:05.964" v="2049" actId="1037"/>
          <ac:spMkLst>
            <pc:docMk/>
            <pc:sldMk cId="4282388163" sldId="296"/>
            <ac:spMk id="5" creationId="{5E7141E7-9B16-B805-026A-C7D086C416C7}"/>
          </ac:spMkLst>
        </pc:spChg>
      </pc:sldChg>
      <pc:sldChg chg="addSp delSp modSp add del mod ord addAnim delAnim modAnim">
        <pc:chgData name="Aashish Ramdas" userId="58210aff-8d50-4a30-b819-63f7dcb02310" providerId="ADAL" clId="{017D8426-9902-4B04-BBD0-FAEA2ACD55C9}" dt="2025-05-02T18:00:01.912" v="1054" actId="47"/>
        <pc:sldMkLst>
          <pc:docMk/>
          <pc:sldMk cId="2256003591" sldId="297"/>
        </pc:sldMkLst>
      </pc:sldChg>
      <pc:sldChg chg="addSp delSp modSp add mod addAnim delAnim modAnim">
        <pc:chgData name="Aashish Ramdas" userId="58210aff-8d50-4a30-b819-63f7dcb02310" providerId="ADAL" clId="{017D8426-9902-4B04-BBD0-FAEA2ACD55C9}" dt="2025-05-02T18:44:23.145" v="2124" actId="478"/>
        <pc:sldMkLst>
          <pc:docMk/>
          <pc:sldMk cId="2964061118" sldId="297"/>
        </pc:sldMkLst>
        <pc:spChg chg="mod">
          <ac:chgData name="Aashish Ramdas" userId="58210aff-8d50-4a30-b819-63f7dcb02310" providerId="ADAL" clId="{017D8426-9902-4B04-BBD0-FAEA2ACD55C9}" dt="2025-05-02T18:01:40.620" v="1075" actId="1036"/>
          <ac:spMkLst>
            <pc:docMk/>
            <pc:sldMk cId="2964061118" sldId="297"/>
            <ac:spMk id="2" creationId="{21F494D5-050B-5B6F-CC77-4C004DF012F6}"/>
          </ac:spMkLst>
        </pc:spChg>
        <pc:spChg chg="add mod">
          <ac:chgData name="Aashish Ramdas" userId="58210aff-8d50-4a30-b819-63f7dcb02310" providerId="ADAL" clId="{017D8426-9902-4B04-BBD0-FAEA2ACD55C9}" dt="2025-05-02T18:02:53.498" v="1159" actId="207"/>
          <ac:spMkLst>
            <pc:docMk/>
            <pc:sldMk cId="2964061118" sldId="297"/>
            <ac:spMk id="8" creationId="{48A5883C-33FD-FFF2-D154-7406F872493A}"/>
          </ac:spMkLst>
        </pc:spChg>
        <pc:spChg chg="add mod">
          <ac:chgData name="Aashish Ramdas" userId="58210aff-8d50-4a30-b819-63f7dcb02310" providerId="ADAL" clId="{017D8426-9902-4B04-BBD0-FAEA2ACD55C9}" dt="2025-05-02T18:04:24.382" v="1186" actId="1582"/>
          <ac:spMkLst>
            <pc:docMk/>
            <pc:sldMk cId="2964061118" sldId="297"/>
            <ac:spMk id="12" creationId="{2FBA6707-8CDD-46D8-DCF5-459A8B3B0D1D}"/>
          </ac:spMkLst>
        </pc:spChg>
      </pc:sldChg>
      <pc:sldChg chg="addSp delSp modSp add del mod modAnim">
        <pc:chgData name="Aashish Ramdas" userId="58210aff-8d50-4a30-b819-63f7dcb02310" providerId="ADAL" clId="{017D8426-9902-4B04-BBD0-FAEA2ACD55C9}" dt="2025-05-02T19:53:08.234" v="3098" actId="47"/>
        <pc:sldMkLst>
          <pc:docMk/>
          <pc:sldMk cId="1849421526" sldId="298"/>
        </pc:sldMkLst>
      </pc:sldChg>
      <pc:sldChg chg="delSp modSp add del mod delAnim modAnim">
        <pc:chgData name="Aashish Ramdas" userId="58210aff-8d50-4a30-b819-63f7dcb02310" providerId="ADAL" clId="{017D8426-9902-4B04-BBD0-FAEA2ACD55C9}" dt="2025-05-02T20:47:19.562" v="3307" actId="47"/>
        <pc:sldMkLst>
          <pc:docMk/>
          <pc:sldMk cId="3411405761" sldId="299"/>
        </pc:sldMkLst>
      </pc:sldChg>
      <pc:sldChg chg="addSp delSp modSp add mod ord">
        <pc:chgData name="Aashish Ramdas" userId="58210aff-8d50-4a30-b819-63f7dcb02310" providerId="ADAL" clId="{017D8426-9902-4B04-BBD0-FAEA2ACD55C9}" dt="2025-05-02T21:19:25.513" v="3781" actId="13926"/>
        <pc:sldMkLst>
          <pc:docMk/>
          <pc:sldMk cId="3313817200" sldId="300"/>
        </pc:sldMkLst>
        <pc:spChg chg="mod">
          <ac:chgData name="Aashish Ramdas" userId="58210aff-8d50-4a30-b819-63f7dcb02310" providerId="ADAL" clId="{017D8426-9902-4B04-BBD0-FAEA2ACD55C9}" dt="2025-05-02T18:39:09.542" v="1907" actId="1035"/>
          <ac:spMkLst>
            <pc:docMk/>
            <pc:sldMk cId="3313817200" sldId="300"/>
            <ac:spMk id="3" creationId="{404EEE76-100F-EE85-48FC-C289BEC16EBD}"/>
          </ac:spMkLst>
        </pc:spChg>
        <pc:spChg chg="add del mod">
          <ac:chgData name="Aashish Ramdas" userId="58210aff-8d50-4a30-b819-63f7dcb02310" providerId="ADAL" clId="{017D8426-9902-4B04-BBD0-FAEA2ACD55C9}" dt="2025-05-02T18:40:44.492" v="1983" actId="478"/>
          <ac:spMkLst>
            <pc:docMk/>
            <pc:sldMk cId="3313817200" sldId="300"/>
            <ac:spMk id="7" creationId="{DD42B64A-BE0C-1ED1-3287-B4B6C64F3616}"/>
          </ac:spMkLst>
        </pc:spChg>
        <pc:spChg chg="add del mod">
          <ac:chgData name="Aashish Ramdas" userId="58210aff-8d50-4a30-b819-63f7dcb02310" providerId="ADAL" clId="{017D8426-9902-4B04-BBD0-FAEA2ACD55C9}" dt="2025-05-02T18:40:44.492" v="1983" actId="478"/>
          <ac:spMkLst>
            <pc:docMk/>
            <pc:sldMk cId="3313817200" sldId="300"/>
            <ac:spMk id="10" creationId="{8CD279B6-4F4E-9ED9-66F0-B5BE53B919B2}"/>
          </ac:spMkLst>
        </pc:spChg>
        <pc:spChg chg="add del mod">
          <ac:chgData name="Aashish Ramdas" userId="58210aff-8d50-4a30-b819-63f7dcb02310" providerId="ADAL" clId="{017D8426-9902-4B04-BBD0-FAEA2ACD55C9}" dt="2025-05-02T18:40:59.778" v="2028" actId="20577"/>
          <ac:spMkLst>
            <pc:docMk/>
            <pc:sldMk cId="3313817200" sldId="300"/>
            <ac:spMk id="11" creationId="{FC2994F1-8D9D-C82A-300E-20CF5D55C568}"/>
          </ac:spMkLst>
        </pc:spChg>
        <pc:spChg chg="add mod">
          <ac:chgData name="Aashish Ramdas" userId="58210aff-8d50-4a30-b819-63f7dcb02310" providerId="ADAL" clId="{017D8426-9902-4B04-BBD0-FAEA2ACD55C9}" dt="2025-05-02T18:39:44.898" v="1914" actId="1076"/>
          <ac:spMkLst>
            <pc:docMk/>
            <pc:sldMk cId="3313817200" sldId="300"/>
            <ac:spMk id="12" creationId="{57AF7AAC-EF76-4098-63BD-C88D3720AA3B}"/>
          </ac:spMkLst>
        </pc:spChg>
        <pc:spChg chg="add mod">
          <ac:chgData name="Aashish Ramdas" userId="58210aff-8d50-4a30-b819-63f7dcb02310" providerId="ADAL" clId="{017D8426-9902-4B04-BBD0-FAEA2ACD55C9}" dt="2025-05-02T18:39:56.354" v="1916" actId="1076"/>
          <ac:spMkLst>
            <pc:docMk/>
            <pc:sldMk cId="3313817200" sldId="300"/>
            <ac:spMk id="16" creationId="{4A91B676-21B1-14C4-8238-9494D7344CFD}"/>
          </ac:spMkLst>
        </pc:spChg>
        <pc:spChg chg="mod">
          <ac:chgData name="Aashish Ramdas" userId="58210aff-8d50-4a30-b819-63f7dcb02310" providerId="ADAL" clId="{017D8426-9902-4B04-BBD0-FAEA2ACD55C9}" dt="2025-05-02T18:39:09.542" v="1907" actId="1035"/>
          <ac:spMkLst>
            <pc:docMk/>
            <pc:sldMk cId="3313817200" sldId="300"/>
            <ac:spMk id="18" creationId="{DA40489B-A418-37D9-9074-EFEB71A310F3}"/>
          </ac:spMkLst>
        </pc:spChg>
        <pc:spChg chg="mod">
          <ac:chgData name="Aashish Ramdas" userId="58210aff-8d50-4a30-b819-63f7dcb02310" providerId="ADAL" clId="{017D8426-9902-4B04-BBD0-FAEA2ACD55C9}" dt="2025-05-02T18:39:30.982" v="1909"/>
          <ac:spMkLst>
            <pc:docMk/>
            <pc:sldMk cId="3313817200" sldId="300"/>
            <ac:spMk id="19" creationId="{12F9B729-F6FB-A76E-39AA-9817CF6B7362}"/>
          </ac:spMkLst>
        </pc:spChg>
        <pc:spChg chg="add del mod">
          <ac:chgData name="Aashish Ramdas" userId="58210aff-8d50-4a30-b819-63f7dcb02310" providerId="ADAL" clId="{017D8426-9902-4B04-BBD0-FAEA2ACD55C9}" dt="2025-05-02T18:40:35.887" v="1981" actId="20577"/>
          <ac:spMkLst>
            <pc:docMk/>
            <pc:sldMk cId="3313817200" sldId="300"/>
            <ac:spMk id="21" creationId="{66263ECB-B773-85CF-5F5D-E0BE4C21794D}"/>
          </ac:spMkLst>
        </pc:spChg>
        <pc:spChg chg="mod">
          <ac:chgData name="Aashish Ramdas" userId="58210aff-8d50-4a30-b819-63f7dcb02310" providerId="ADAL" clId="{017D8426-9902-4B04-BBD0-FAEA2ACD55C9}" dt="2025-05-02T21:19:25.513" v="3781" actId="13926"/>
          <ac:spMkLst>
            <pc:docMk/>
            <pc:sldMk cId="3313817200" sldId="300"/>
            <ac:spMk id="23" creationId="{614CBEDC-A67B-F43B-E12E-1858F90EF0EA}"/>
          </ac:spMkLst>
        </pc:spChg>
        <pc:spChg chg="mod">
          <ac:chgData name="Aashish Ramdas" userId="58210aff-8d50-4a30-b819-63f7dcb02310" providerId="ADAL" clId="{017D8426-9902-4B04-BBD0-FAEA2ACD55C9}" dt="2025-05-02T18:39:02.936" v="1884" actId="1036"/>
          <ac:spMkLst>
            <pc:docMk/>
            <pc:sldMk cId="3313817200" sldId="300"/>
            <ac:spMk id="32" creationId="{E61B2B70-D2EF-62DF-6143-1F5580D60257}"/>
          </ac:spMkLst>
        </pc:spChg>
        <pc:spChg chg="mod">
          <ac:chgData name="Aashish Ramdas" userId="58210aff-8d50-4a30-b819-63f7dcb02310" providerId="ADAL" clId="{017D8426-9902-4B04-BBD0-FAEA2ACD55C9}" dt="2025-05-02T18:39:09.542" v="1907" actId="1035"/>
          <ac:spMkLst>
            <pc:docMk/>
            <pc:sldMk cId="3313817200" sldId="300"/>
            <ac:spMk id="40" creationId="{99426D3C-5BA9-FA35-FF62-356A250A952D}"/>
          </ac:spMkLst>
        </pc:spChg>
        <pc:spChg chg="mod">
          <ac:chgData name="Aashish Ramdas" userId="58210aff-8d50-4a30-b819-63f7dcb02310" providerId="ADAL" clId="{017D8426-9902-4B04-BBD0-FAEA2ACD55C9}" dt="2025-05-02T18:39:09.542" v="1907" actId="1035"/>
          <ac:spMkLst>
            <pc:docMk/>
            <pc:sldMk cId="3313817200" sldId="300"/>
            <ac:spMk id="55" creationId="{489034FE-5253-816A-B43A-984572DBDC4B}"/>
          </ac:spMkLst>
        </pc:spChg>
        <pc:spChg chg="mod">
          <ac:chgData name="Aashish Ramdas" userId="58210aff-8d50-4a30-b819-63f7dcb02310" providerId="ADAL" clId="{017D8426-9902-4B04-BBD0-FAEA2ACD55C9}" dt="2025-05-02T18:39:02.936" v="1884" actId="1036"/>
          <ac:spMkLst>
            <pc:docMk/>
            <pc:sldMk cId="3313817200" sldId="300"/>
            <ac:spMk id="67" creationId="{D519F04E-9365-B27C-2869-E6CF3927C722}"/>
          </ac:spMkLst>
        </pc:spChg>
        <pc:grpChg chg="add">
          <ac:chgData name="Aashish Ramdas" userId="58210aff-8d50-4a30-b819-63f7dcb02310" providerId="ADAL" clId="{017D8426-9902-4B04-BBD0-FAEA2ACD55C9}" dt="2025-05-02T18:41:13.473" v="2029" actId="164"/>
          <ac:grpSpMkLst>
            <pc:docMk/>
            <pc:sldMk cId="3313817200" sldId="300"/>
            <ac:grpSpMk id="22" creationId="{44948DDA-E474-F826-7833-63946C6E838C}"/>
          </ac:grpSpMkLst>
        </pc:grpChg>
        <pc:grpChg chg="add mod">
          <ac:chgData name="Aashish Ramdas" userId="58210aff-8d50-4a30-b819-63f7dcb02310" providerId="ADAL" clId="{017D8426-9902-4B04-BBD0-FAEA2ACD55C9}" dt="2025-05-02T18:41:58.376" v="2037" actId="465"/>
          <ac:grpSpMkLst>
            <pc:docMk/>
            <pc:sldMk cId="3313817200" sldId="300"/>
            <ac:grpSpMk id="26" creationId="{47F602F9-6B67-9B2D-7805-4FCCF96F7B73}"/>
          </ac:grpSpMkLst>
        </pc:grpChg>
        <pc:grpChg chg="add mod">
          <ac:chgData name="Aashish Ramdas" userId="58210aff-8d50-4a30-b819-63f7dcb02310" providerId="ADAL" clId="{017D8426-9902-4B04-BBD0-FAEA2ACD55C9}" dt="2025-05-02T18:41:58.376" v="2037" actId="465"/>
          <ac:grpSpMkLst>
            <pc:docMk/>
            <pc:sldMk cId="3313817200" sldId="300"/>
            <ac:grpSpMk id="27" creationId="{C6603B46-6D13-591F-D703-A4E4A5AEB867}"/>
          </ac:grpSpMkLst>
        </pc:grpChg>
        <pc:grpChg chg="add mod">
          <ac:chgData name="Aashish Ramdas" userId="58210aff-8d50-4a30-b819-63f7dcb02310" providerId="ADAL" clId="{017D8426-9902-4B04-BBD0-FAEA2ACD55C9}" dt="2025-05-02T18:41:58.376" v="2037" actId="465"/>
          <ac:grpSpMkLst>
            <pc:docMk/>
            <pc:sldMk cId="3313817200" sldId="300"/>
            <ac:grpSpMk id="28" creationId="{20FE9F3F-B95F-152F-6095-3D5891C65943}"/>
          </ac:grpSpMkLst>
        </pc:grpChg>
        <pc:grpChg chg="add mod">
          <ac:chgData name="Aashish Ramdas" userId="58210aff-8d50-4a30-b819-63f7dcb02310" providerId="ADAL" clId="{017D8426-9902-4B04-BBD0-FAEA2ACD55C9}" dt="2025-05-02T18:41:58.376" v="2037" actId="465"/>
          <ac:grpSpMkLst>
            <pc:docMk/>
            <pc:sldMk cId="3313817200" sldId="300"/>
            <ac:grpSpMk id="33" creationId="{BC273E2F-43A2-4A69-6E2A-75C13C162960}"/>
          </ac:grpSpMkLst>
        </pc:grpChg>
        <pc:grpChg chg="add mod">
          <ac:chgData name="Aashish Ramdas" userId="58210aff-8d50-4a30-b819-63f7dcb02310" providerId="ADAL" clId="{017D8426-9902-4B04-BBD0-FAEA2ACD55C9}" dt="2025-05-02T18:41:58.376" v="2037" actId="465"/>
          <ac:grpSpMkLst>
            <pc:docMk/>
            <pc:sldMk cId="3313817200" sldId="300"/>
            <ac:grpSpMk id="34" creationId="{8CF16D2F-36E5-B98C-A127-BFD2DC452CC4}"/>
          </ac:grpSpMkLst>
        </pc:grpChg>
        <pc:grpChg chg="add mod">
          <ac:chgData name="Aashish Ramdas" userId="58210aff-8d50-4a30-b819-63f7dcb02310" providerId="ADAL" clId="{017D8426-9902-4B04-BBD0-FAEA2ACD55C9}" dt="2025-05-02T18:41:49.264" v="2036" actId="1076"/>
          <ac:grpSpMkLst>
            <pc:docMk/>
            <pc:sldMk cId="3313817200" sldId="300"/>
            <ac:grpSpMk id="35" creationId="{FBCB878B-6270-2F17-F897-23E75A94813B}"/>
          </ac:grpSpMkLst>
        </pc:grpChg>
        <pc:cxnChg chg="add del mod">
          <ac:chgData name="Aashish Ramdas" userId="58210aff-8d50-4a30-b819-63f7dcb02310" providerId="ADAL" clId="{017D8426-9902-4B04-BBD0-FAEA2ACD55C9}" dt="2025-05-02T18:40:44.492" v="1983" actId="478"/>
          <ac:cxnSpMkLst>
            <pc:docMk/>
            <pc:sldMk cId="3313817200" sldId="300"/>
            <ac:cxnSpMk id="2" creationId="{8F709BB6-BA2D-74EB-8E75-A1E9E36AFC03}"/>
          </ac:cxnSpMkLst>
        </pc:cxnChg>
      </pc:sldChg>
      <pc:sldChg chg="modSp add mod modAnim">
        <pc:chgData name="Aashish Ramdas" userId="58210aff-8d50-4a30-b819-63f7dcb02310" providerId="ADAL" clId="{017D8426-9902-4B04-BBD0-FAEA2ACD55C9}" dt="2025-05-02T18:48:11.150" v="2286" actId="14100"/>
        <pc:sldMkLst>
          <pc:docMk/>
          <pc:sldMk cId="3536990995" sldId="301"/>
        </pc:sldMkLst>
        <pc:spChg chg="mod">
          <ac:chgData name="Aashish Ramdas" userId="58210aff-8d50-4a30-b819-63f7dcb02310" providerId="ADAL" clId="{017D8426-9902-4B04-BBD0-FAEA2ACD55C9}" dt="2025-05-02T18:47:07.630" v="2227" actId="14100"/>
          <ac:spMkLst>
            <pc:docMk/>
            <pc:sldMk cId="3536990995" sldId="301"/>
            <ac:spMk id="2" creationId="{2E74335F-69C4-BAD7-0222-2C9F213B58D1}"/>
          </ac:spMkLst>
        </pc:spChg>
        <pc:spChg chg="mod">
          <ac:chgData name="Aashish Ramdas" userId="58210aff-8d50-4a30-b819-63f7dcb02310" providerId="ADAL" clId="{017D8426-9902-4B04-BBD0-FAEA2ACD55C9}" dt="2025-05-02T18:48:07.236" v="2285" actId="1076"/>
          <ac:spMkLst>
            <pc:docMk/>
            <pc:sldMk cId="3536990995" sldId="301"/>
            <ac:spMk id="8" creationId="{220B0D73-379F-1E92-7935-C60E2CB1C98A}"/>
          </ac:spMkLst>
        </pc:spChg>
        <pc:spChg chg="mod">
          <ac:chgData name="Aashish Ramdas" userId="58210aff-8d50-4a30-b819-63f7dcb02310" providerId="ADAL" clId="{017D8426-9902-4B04-BBD0-FAEA2ACD55C9}" dt="2025-05-02T18:48:11.150" v="2286" actId="14100"/>
          <ac:spMkLst>
            <pc:docMk/>
            <pc:sldMk cId="3536990995" sldId="301"/>
            <ac:spMk id="12" creationId="{D015AE39-2F95-8705-DF90-A717122B6B19}"/>
          </ac:spMkLst>
        </pc:spChg>
      </pc:sldChg>
      <pc:sldChg chg="modSp add mod">
        <pc:chgData name="Aashish Ramdas" userId="58210aff-8d50-4a30-b819-63f7dcb02310" providerId="ADAL" clId="{017D8426-9902-4B04-BBD0-FAEA2ACD55C9}" dt="2025-05-02T18:49:39.379" v="2319" actId="1076"/>
        <pc:sldMkLst>
          <pc:docMk/>
          <pc:sldMk cId="739644419" sldId="302"/>
        </pc:sldMkLst>
        <pc:spChg chg="mod">
          <ac:chgData name="Aashish Ramdas" userId="58210aff-8d50-4a30-b819-63f7dcb02310" providerId="ADAL" clId="{017D8426-9902-4B04-BBD0-FAEA2ACD55C9}" dt="2025-05-02T18:49:20.018" v="2290" actId="14100"/>
          <ac:spMkLst>
            <pc:docMk/>
            <pc:sldMk cId="739644419" sldId="302"/>
            <ac:spMk id="2" creationId="{D11A956B-5D7F-A7BD-8E7F-35299924C618}"/>
          </ac:spMkLst>
        </pc:spChg>
        <pc:spChg chg="mod">
          <ac:chgData name="Aashish Ramdas" userId="58210aff-8d50-4a30-b819-63f7dcb02310" providerId="ADAL" clId="{017D8426-9902-4B04-BBD0-FAEA2ACD55C9}" dt="2025-05-02T18:49:39.379" v="2319" actId="1076"/>
          <ac:spMkLst>
            <pc:docMk/>
            <pc:sldMk cId="739644419" sldId="302"/>
            <ac:spMk id="8" creationId="{82094AE2-164F-DD9D-F909-6A3534EB0726}"/>
          </ac:spMkLst>
        </pc:spChg>
        <pc:spChg chg="mod">
          <ac:chgData name="Aashish Ramdas" userId="58210aff-8d50-4a30-b819-63f7dcb02310" providerId="ADAL" clId="{017D8426-9902-4B04-BBD0-FAEA2ACD55C9}" dt="2025-05-02T18:49:27.076" v="2291" actId="1076"/>
          <ac:spMkLst>
            <pc:docMk/>
            <pc:sldMk cId="739644419" sldId="302"/>
            <ac:spMk id="12" creationId="{40387E53-0436-6FF6-E2DA-CDA511EA8756}"/>
          </ac:spMkLst>
        </pc:spChg>
      </pc:sldChg>
      <pc:sldChg chg="modSp add mod">
        <pc:chgData name="Aashish Ramdas" userId="58210aff-8d50-4a30-b819-63f7dcb02310" providerId="ADAL" clId="{017D8426-9902-4B04-BBD0-FAEA2ACD55C9}" dt="2025-05-02T18:51:09.576" v="2413" actId="1076"/>
        <pc:sldMkLst>
          <pc:docMk/>
          <pc:sldMk cId="3179468848" sldId="303"/>
        </pc:sldMkLst>
        <pc:spChg chg="mod">
          <ac:chgData name="Aashish Ramdas" userId="58210aff-8d50-4a30-b819-63f7dcb02310" providerId="ADAL" clId="{017D8426-9902-4B04-BBD0-FAEA2ACD55C9}" dt="2025-05-02T18:50:17.520" v="2324" actId="14100"/>
          <ac:spMkLst>
            <pc:docMk/>
            <pc:sldMk cId="3179468848" sldId="303"/>
            <ac:spMk id="2" creationId="{16F0952A-3EFB-79CC-7D2F-3224682D6878}"/>
          </ac:spMkLst>
        </pc:spChg>
        <pc:spChg chg="mod">
          <ac:chgData name="Aashish Ramdas" userId="58210aff-8d50-4a30-b819-63f7dcb02310" providerId="ADAL" clId="{017D8426-9902-4B04-BBD0-FAEA2ACD55C9}" dt="2025-05-02T18:51:09.576" v="2413" actId="1076"/>
          <ac:spMkLst>
            <pc:docMk/>
            <pc:sldMk cId="3179468848" sldId="303"/>
            <ac:spMk id="8" creationId="{DF9F85C1-7CF0-2E61-F774-0DD9D2EF61C3}"/>
          </ac:spMkLst>
        </pc:spChg>
        <pc:spChg chg="mod">
          <ac:chgData name="Aashish Ramdas" userId="58210aff-8d50-4a30-b819-63f7dcb02310" providerId="ADAL" clId="{017D8426-9902-4B04-BBD0-FAEA2ACD55C9}" dt="2025-05-02T18:50:24.135" v="2325" actId="1076"/>
          <ac:spMkLst>
            <pc:docMk/>
            <pc:sldMk cId="3179468848" sldId="303"/>
            <ac:spMk id="12" creationId="{2DCA1454-4337-6597-42CC-6CE9141405AA}"/>
          </ac:spMkLst>
        </pc:spChg>
      </pc:sldChg>
      <pc:sldChg chg="addSp delSp modSp add mod delAnim modAnim">
        <pc:chgData name="Aashish Ramdas" userId="58210aff-8d50-4a30-b819-63f7dcb02310" providerId="ADAL" clId="{017D8426-9902-4B04-BBD0-FAEA2ACD55C9}" dt="2025-05-02T18:52:52.173" v="2476" actId="20577"/>
        <pc:sldMkLst>
          <pc:docMk/>
          <pc:sldMk cId="4212272479" sldId="304"/>
        </pc:sldMkLst>
        <pc:spChg chg="mod">
          <ac:chgData name="Aashish Ramdas" userId="58210aff-8d50-4a30-b819-63f7dcb02310" providerId="ADAL" clId="{017D8426-9902-4B04-BBD0-FAEA2ACD55C9}" dt="2025-05-02T18:51:55.879" v="2418" actId="14100"/>
          <ac:spMkLst>
            <pc:docMk/>
            <pc:sldMk cId="4212272479" sldId="304"/>
            <ac:spMk id="2" creationId="{B155ED67-B303-DB89-D140-83EB9F364A3D}"/>
          </ac:spMkLst>
        </pc:spChg>
        <pc:spChg chg="add mod">
          <ac:chgData name="Aashish Ramdas" userId="58210aff-8d50-4a30-b819-63f7dcb02310" providerId="ADAL" clId="{017D8426-9902-4B04-BBD0-FAEA2ACD55C9}" dt="2025-05-02T18:52:52.173" v="2476" actId="20577"/>
          <ac:spMkLst>
            <pc:docMk/>
            <pc:sldMk cId="4212272479" sldId="304"/>
            <ac:spMk id="3" creationId="{4C8B7854-9A17-2967-9933-907DAAA18BAA}"/>
          </ac:spMkLst>
        </pc:spChg>
        <pc:spChg chg="add mod">
          <ac:chgData name="Aashish Ramdas" userId="58210aff-8d50-4a30-b819-63f7dcb02310" providerId="ADAL" clId="{017D8426-9902-4B04-BBD0-FAEA2ACD55C9}" dt="2025-05-02T18:52:20.581" v="2420"/>
          <ac:spMkLst>
            <pc:docMk/>
            <pc:sldMk cId="4212272479" sldId="304"/>
            <ac:spMk id="5" creationId="{99EB5C57-6316-3D0A-E72C-56574EAF5D65}"/>
          </ac:spMkLst>
        </pc:spChg>
      </pc:sldChg>
      <pc:sldChg chg="delSp add mod">
        <pc:chgData name="Aashish Ramdas" userId="58210aff-8d50-4a30-b819-63f7dcb02310" providerId="ADAL" clId="{017D8426-9902-4B04-BBD0-FAEA2ACD55C9}" dt="2025-05-02T19:13:37.103" v="2525" actId="478"/>
        <pc:sldMkLst>
          <pc:docMk/>
          <pc:sldMk cId="3264492943" sldId="305"/>
        </pc:sldMkLst>
      </pc:sldChg>
      <pc:sldChg chg="delSp add mod">
        <pc:chgData name="Aashish Ramdas" userId="58210aff-8d50-4a30-b819-63f7dcb02310" providerId="ADAL" clId="{017D8426-9902-4B04-BBD0-FAEA2ACD55C9}" dt="2025-05-02T19:13:27.653" v="2523" actId="478"/>
        <pc:sldMkLst>
          <pc:docMk/>
          <pc:sldMk cId="3557780479" sldId="306"/>
        </pc:sldMkLst>
      </pc:sldChg>
      <pc:sldChg chg="delSp add mod">
        <pc:chgData name="Aashish Ramdas" userId="58210aff-8d50-4a30-b819-63f7dcb02310" providerId="ADAL" clId="{017D8426-9902-4B04-BBD0-FAEA2ACD55C9}" dt="2025-05-02T19:13:01.404" v="2522" actId="478"/>
        <pc:sldMkLst>
          <pc:docMk/>
          <pc:sldMk cId="2791069343" sldId="307"/>
        </pc:sldMkLst>
      </pc:sldChg>
      <pc:sldChg chg="add del">
        <pc:chgData name="Aashish Ramdas" userId="58210aff-8d50-4a30-b819-63f7dcb02310" providerId="ADAL" clId="{017D8426-9902-4B04-BBD0-FAEA2ACD55C9}" dt="2025-05-02T21:15:50.022" v="3746" actId="18676"/>
        <pc:sldMkLst>
          <pc:docMk/>
          <pc:sldMk cId="1637795581" sldId="308"/>
        </pc:sldMkLst>
      </pc:sldChg>
      <pc:sldChg chg="del">
        <pc:chgData name="Aashish Ramdas" userId="58210aff-8d50-4a30-b819-63f7dcb02310" providerId="ADAL" clId="{017D8426-9902-4B04-BBD0-FAEA2ACD55C9}" dt="2025-05-02T18:34:07.413" v="1678" actId="2696"/>
        <pc:sldMkLst>
          <pc:docMk/>
          <pc:sldMk cId="3144761593" sldId="308"/>
        </pc:sldMkLst>
      </pc:sldChg>
      <pc:sldChg chg="add del">
        <pc:chgData name="Aashish Ramdas" userId="58210aff-8d50-4a30-b819-63f7dcb02310" providerId="ADAL" clId="{017D8426-9902-4B04-BBD0-FAEA2ACD55C9}" dt="2025-05-02T21:15:50.022" v="3746" actId="18676"/>
        <pc:sldMkLst>
          <pc:docMk/>
          <pc:sldMk cId="3195597696" sldId="309"/>
        </pc:sldMkLst>
      </pc:sldChg>
      <pc:sldChg chg="del">
        <pc:chgData name="Aashish Ramdas" userId="58210aff-8d50-4a30-b819-63f7dcb02310" providerId="ADAL" clId="{017D8426-9902-4B04-BBD0-FAEA2ACD55C9}" dt="2025-05-02T18:34:07.413" v="1678" actId="2696"/>
        <pc:sldMkLst>
          <pc:docMk/>
          <pc:sldMk cId="3574140323" sldId="309"/>
        </pc:sldMkLst>
      </pc:sldChg>
      <pc:sldChg chg="del">
        <pc:chgData name="Aashish Ramdas" userId="58210aff-8d50-4a30-b819-63f7dcb02310" providerId="ADAL" clId="{017D8426-9902-4B04-BBD0-FAEA2ACD55C9}" dt="2025-05-02T18:34:07.413" v="1678" actId="2696"/>
        <pc:sldMkLst>
          <pc:docMk/>
          <pc:sldMk cId="1289244679" sldId="310"/>
        </pc:sldMkLst>
      </pc:sldChg>
      <pc:sldChg chg="add del">
        <pc:chgData name="Aashish Ramdas" userId="58210aff-8d50-4a30-b819-63f7dcb02310" providerId="ADAL" clId="{017D8426-9902-4B04-BBD0-FAEA2ACD55C9}" dt="2025-05-02T21:15:50.022" v="3746" actId="18676"/>
        <pc:sldMkLst>
          <pc:docMk/>
          <pc:sldMk cId="2710402409" sldId="310"/>
        </pc:sldMkLst>
      </pc:sldChg>
      <pc:sldChg chg="delSp modSp add mod modClrScheme chgLayout">
        <pc:chgData name="Aashish Ramdas" userId="58210aff-8d50-4a30-b819-63f7dcb02310" providerId="ADAL" clId="{017D8426-9902-4B04-BBD0-FAEA2ACD55C9}" dt="2025-05-02T19:12:27.774" v="2521" actId="478"/>
        <pc:sldMkLst>
          <pc:docMk/>
          <pc:sldMk cId="4198841978" sldId="311"/>
        </pc:sldMkLst>
        <pc:spChg chg="mod ord">
          <ac:chgData name="Aashish Ramdas" userId="58210aff-8d50-4a30-b819-63f7dcb02310" providerId="ADAL" clId="{017D8426-9902-4B04-BBD0-FAEA2ACD55C9}" dt="2025-05-02T19:12:25.325" v="2520" actId="700"/>
          <ac:spMkLst>
            <pc:docMk/>
            <pc:sldMk cId="4198841978" sldId="311"/>
            <ac:spMk id="23" creationId="{4E89B945-BA08-2CF8-72C1-31092C5B53B1}"/>
          </ac:spMkLst>
        </pc:spChg>
      </pc:sldChg>
      <pc:sldChg chg="add del">
        <pc:chgData name="Aashish Ramdas" userId="58210aff-8d50-4a30-b819-63f7dcb02310" providerId="ADAL" clId="{017D8426-9902-4B04-BBD0-FAEA2ACD55C9}" dt="2025-05-02T19:08:00.261" v="2501" actId="47"/>
        <pc:sldMkLst>
          <pc:docMk/>
          <pc:sldMk cId="3402526062" sldId="312"/>
        </pc:sldMkLst>
      </pc:sldChg>
      <pc:sldChg chg="add del">
        <pc:chgData name="Aashish Ramdas" userId="58210aff-8d50-4a30-b819-63f7dcb02310" providerId="ADAL" clId="{017D8426-9902-4B04-BBD0-FAEA2ACD55C9}" dt="2025-05-02T21:15:50.022" v="3746" actId="18676"/>
        <pc:sldMkLst>
          <pc:docMk/>
          <pc:sldMk cId="1517648392" sldId="313"/>
        </pc:sldMkLst>
      </pc:sldChg>
      <pc:sldChg chg="del">
        <pc:chgData name="Aashish Ramdas" userId="58210aff-8d50-4a30-b819-63f7dcb02310" providerId="ADAL" clId="{017D8426-9902-4B04-BBD0-FAEA2ACD55C9}" dt="2025-05-02T18:34:07.413" v="1678" actId="2696"/>
        <pc:sldMkLst>
          <pc:docMk/>
          <pc:sldMk cId="4013898040" sldId="313"/>
        </pc:sldMkLst>
      </pc:sldChg>
      <pc:sldChg chg="add del">
        <pc:chgData name="Aashish Ramdas" userId="58210aff-8d50-4a30-b819-63f7dcb02310" providerId="ADAL" clId="{017D8426-9902-4B04-BBD0-FAEA2ACD55C9}" dt="2025-05-02T21:15:50.022" v="3746" actId="18676"/>
        <pc:sldMkLst>
          <pc:docMk/>
          <pc:sldMk cId="379713632" sldId="314"/>
        </pc:sldMkLst>
      </pc:sldChg>
      <pc:sldChg chg="del">
        <pc:chgData name="Aashish Ramdas" userId="58210aff-8d50-4a30-b819-63f7dcb02310" providerId="ADAL" clId="{017D8426-9902-4B04-BBD0-FAEA2ACD55C9}" dt="2025-05-02T18:34:07.413" v="1678" actId="2696"/>
        <pc:sldMkLst>
          <pc:docMk/>
          <pc:sldMk cId="1626078918" sldId="314"/>
        </pc:sldMkLst>
      </pc:sldChg>
      <pc:sldChg chg="addSp delSp modSp add mod ord delAnim">
        <pc:chgData name="Aashish Ramdas" userId="58210aff-8d50-4a30-b819-63f7dcb02310" providerId="ADAL" clId="{017D8426-9902-4B04-BBD0-FAEA2ACD55C9}" dt="2025-05-02T21:13:11.324" v="3745" actId="478"/>
        <pc:sldMkLst>
          <pc:docMk/>
          <pc:sldMk cId="2902385885" sldId="315"/>
        </pc:sldMkLst>
        <pc:spChg chg="mod">
          <ac:chgData name="Aashish Ramdas" userId="58210aff-8d50-4a30-b819-63f7dcb02310" providerId="ADAL" clId="{017D8426-9902-4B04-BBD0-FAEA2ACD55C9}" dt="2025-05-02T21:12:34.680" v="3739" actId="1076"/>
          <ac:spMkLst>
            <pc:docMk/>
            <pc:sldMk cId="2902385885" sldId="315"/>
            <ac:spMk id="8" creationId="{A6D58B9E-6AE8-F8CE-9276-D676EA664673}"/>
          </ac:spMkLst>
        </pc:spChg>
        <pc:spChg chg="mod">
          <ac:chgData name="Aashish Ramdas" userId="58210aff-8d50-4a30-b819-63f7dcb02310" providerId="ADAL" clId="{017D8426-9902-4B04-BBD0-FAEA2ACD55C9}" dt="2025-05-02T21:11:05.424" v="3722" actId="404"/>
          <ac:spMkLst>
            <pc:docMk/>
            <pc:sldMk cId="2902385885" sldId="315"/>
            <ac:spMk id="29" creationId="{AC661B62-D3B0-9C75-1A4D-3FF98F7538CE}"/>
          </ac:spMkLst>
        </pc:spChg>
        <pc:graphicFrameChg chg="mod modGraphic">
          <ac:chgData name="Aashish Ramdas" userId="58210aff-8d50-4a30-b819-63f7dcb02310" providerId="ADAL" clId="{017D8426-9902-4B04-BBD0-FAEA2ACD55C9}" dt="2025-05-02T21:13:02.242" v="3744" actId="404"/>
          <ac:graphicFrameMkLst>
            <pc:docMk/>
            <pc:sldMk cId="2902385885" sldId="315"/>
            <ac:graphicFrameMk id="12" creationId="{A6A885C0-66D5-BFC7-48BB-2AE57F2BFE5E}"/>
          </ac:graphicFrameMkLst>
        </pc:graphicFrameChg>
        <pc:graphicFrameChg chg="mod modGraphic">
          <ac:chgData name="Aashish Ramdas" userId="58210aff-8d50-4a30-b819-63f7dcb02310" providerId="ADAL" clId="{017D8426-9902-4B04-BBD0-FAEA2ACD55C9}" dt="2025-05-02T21:12:58.438" v="3743" actId="404"/>
          <ac:graphicFrameMkLst>
            <pc:docMk/>
            <pc:sldMk cId="2902385885" sldId="315"/>
            <ac:graphicFrameMk id="28" creationId="{B6598E90-A87C-DBD1-7AF3-513455C1DB6B}"/>
          </ac:graphicFrameMkLst>
        </pc:graphicFrameChg>
      </pc:sldChg>
      <pc:sldChg chg="add del">
        <pc:chgData name="Aashish Ramdas" userId="58210aff-8d50-4a30-b819-63f7dcb02310" providerId="ADAL" clId="{017D8426-9902-4B04-BBD0-FAEA2ACD55C9}" dt="2025-05-02T21:15:50.022" v="3746" actId="18676"/>
        <pc:sldMkLst>
          <pc:docMk/>
          <pc:sldMk cId="2000849877" sldId="317"/>
        </pc:sldMkLst>
      </pc:sldChg>
      <pc:sldChg chg="del">
        <pc:chgData name="Aashish Ramdas" userId="58210aff-8d50-4a30-b819-63f7dcb02310" providerId="ADAL" clId="{017D8426-9902-4B04-BBD0-FAEA2ACD55C9}" dt="2025-05-02T18:34:07.413" v="1678" actId="2696"/>
        <pc:sldMkLst>
          <pc:docMk/>
          <pc:sldMk cId="2745370640" sldId="317"/>
        </pc:sldMkLst>
      </pc:sldChg>
      <pc:sldChg chg="add del">
        <pc:chgData name="Aashish Ramdas" userId="58210aff-8d50-4a30-b819-63f7dcb02310" providerId="ADAL" clId="{017D8426-9902-4B04-BBD0-FAEA2ACD55C9}" dt="2025-05-02T21:15:50.022" v="3746" actId="18676"/>
        <pc:sldMkLst>
          <pc:docMk/>
          <pc:sldMk cId="496647442" sldId="318"/>
        </pc:sldMkLst>
      </pc:sldChg>
      <pc:sldChg chg="del">
        <pc:chgData name="Aashish Ramdas" userId="58210aff-8d50-4a30-b819-63f7dcb02310" providerId="ADAL" clId="{017D8426-9902-4B04-BBD0-FAEA2ACD55C9}" dt="2025-05-02T18:34:07.413" v="1678" actId="2696"/>
        <pc:sldMkLst>
          <pc:docMk/>
          <pc:sldMk cId="1518425765" sldId="318"/>
        </pc:sldMkLst>
      </pc:sldChg>
      <pc:sldChg chg="del">
        <pc:chgData name="Aashish Ramdas" userId="58210aff-8d50-4a30-b819-63f7dcb02310" providerId="ADAL" clId="{017D8426-9902-4B04-BBD0-FAEA2ACD55C9}" dt="2025-05-02T18:34:07.413" v="1678" actId="2696"/>
        <pc:sldMkLst>
          <pc:docMk/>
          <pc:sldMk cId="307338190" sldId="319"/>
        </pc:sldMkLst>
      </pc:sldChg>
      <pc:sldChg chg="add del">
        <pc:chgData name="Aashish Ramdas" userId="58210aff-8d50-4a30-b819-63f7dcb02310" providerId="ADAL" clId="{017D8426-9902-4B04-BBD0-FAEA2ACD55C9}" dt="2025-05-02T21:15:50.022" v="3746" actId="18676"/>
        <pc:sldMkLst>
          <pc:docMk/>
          <pc:sldMk cId="360215176" sldId="319"/>
        </pc:sldMkLst>
      </pc:sldChg>
      <pc:sldChg chg="delSp modSp add mod delAnim">
        <pc:chgData name="Aashish Ramdas" userId="58210aff-8d50-4a30-b819-63f7dcb02310" providerId="ADAL" clId="{017D8426-9902-4B04-BBD0-FAEA2ACD55C9}" dt="2025-05-02T20:48:53.861" v="3357" actId="1076"/>
        <pc:sldMkLst>
          <pc:docMk/>
          <pc:sldMk cId="1847986343" sldId="353"/>
        </pc:sldMkLst>
        <pc:spChg chg="mod">
          <ac:chgData name="Aashish Ramdas" userId="58210aff-8d50-4a30-b819-63f7dcb02310" providerId="ADAL" clId="{017D8426-9902-4B04-BBD0-FAEA2ACD55C9}" dt="2025-05-02T20:48:13.423" v="3349" actId="1037"/>
          <ac:spMkLst>
            <pc:docMk/>
            <pc:sldMk cId="1847986343" sldId="353"/>
            <ac:spMk id="6" creationId="{A837124F-E741-AA6F-03E7-3E8DBDF3E9F9}"/>
          </ac:spMkLst>
        </pc:spChg>
        <pc:grpChg chg="mod">
          <ac:chgData name="Aashish Ramdas" userId="58210aff-8d50-4a30-b819-63f7dcb02310" providerId="ADAL" clId="{017D8426-9902-4B04-BBD0-FAEA2ACD55C9}" dt="2025-05-02T20:48:53.861" v="3357" actId="1076"/>
          <ac:grpSpMkLst>
            <pc:docMk/>
            <pc:sldMk cId="1847986343" sldId="353"/>
            <ac:grpSpMk id="31" creationId="{B763FE3A-8D1E-97D5-8E9A-5A30C4145EDC}"/>
          </ac:grpSpMkLst>
        </pc:grpChg>
        <pc:graphicFrameChg chg="mod modGraphic">
          <ac:chgData name="Aashish Ramdas" userId="58210aff-8d50-4a30-b819-63f7dcb02310" providerId="ADAL" clId="{017D8426-9902-4B04-BBD0-FAEA2ACD55C9}" dt="2025-05-02T20:48:41.841" v="3355"/>
          <ac:graphicFrameMkLst>
            <pc:docMk/>
            <pc:sldMk cId="1847986343" sldId="353"/>
            <ac:graphicFrameMk id="28" creationId="{CAD3E8CA-9382-A845-9590-7052012BBBEA}"/>
          </ac:graphicFrameMkLst>
        </pc:graphicFrameChg>
      </pc:sldChg>
      <pc:sldChg chg="delSp modSp add mod delAnim">
        <pc:chgData name="Aashish Ramdas" userId="58210aff-8d50-4a30-b819-63f7dcb02310" providerId="ADAL" clId="{017D8426-9902-4B04-BBD0-FAEA2ACD55C9}" dt="2025-05-02T20:49:26.746" v="3369" actId="1076"/>
        <pc:sldMkLst>
          <pc:docMk/>
          <pc:sldMk cId="1681410922" sldId="354"/>
        </pc:sldMkLst>
        <pc:spChg chg="mod">
          <ac:chgData name="Aashish Ramdas" userId="58210aff-8d50-4a30-b819-63f7dcb02310" providerId="ADAL" clId="{017D8426-9902-4B04-BBD0-FAEA2ACD55C9}" dt="2025-05-02T20:49:08.669" v="3364" actId="1037"/>
          <ac:spMkLst>
            <pc:docMk/>
            <pc:sldMk cId="1681410922" sldId="354"/>
            <ac:spMk id="7" creationId="{09D74DB9-A625-F90D-10E3-72E642BC60AA}"/>
          </ac:spMkLst>
        </pc:spChg>
        <pc:grpChg chg="mod">
          <ac:chgData name="Aashish Ramdas" userId="58210aff-8d50-4a30-b819-63f7dcb02310" providerId="ADAL" clId="{017D8426-9902-4B04-BBD0-FAEA2ACD55C9}" dt="2025-05-02T20:49:12.675" v="3365" actId="1076"/>
          <ac:grpSpMkLst>
            <pc:docMk/>
            <pc:sldMk cId="1681410922" sldId="354"/>
            <ac:grpSpMk id="20" creationId="{8F1F5F92-72E7-4BE5-C8D6-421BA7347115}"/>
          </ac:grpSpMkLst>
        </pc:grpChg>
        <pc:graphicFrameChg chg="mod modGraphic">
          <ac:chgData name="Aashish Ramdas" userId="58210aff-8d50-4a30-b819-63f7dcb02310" providerId="ADAL" clId="{017D8426-9902-4B04-BBD0-FAEA2ACD55C9}" dt="2025-05-02T20:49:26.746" v="3369" actId="1076"/>
          <ac:graphicFrameMkLst>
            <pc:docMk/>
            <pc:sldMk cId="1681410922" sldId="354"/>
            <ac:graphicFrameMk id="17" creationId="{4A3CE218-10B1-3F1C-B6F9-E0D20143AB2B}"/>
          </ac:graphicFrameMkLst>
        </pc:graphicFrameChg>
      </pc:sldChg>
      <pc:sldChg chg="add">
        <pc:chgData name="Aashish Ramdas" userId="58210aff-8d50-4a30-b819-63f7dcb02310" providerId="ADAL" clId="{017D8426-9902-4B04-BBD0-FAEA2ACD55C9}" dt="2025-05-02T19:04:29.388" v="2494"/>
        <pc:sldMkLst>
          <pc:docMk/>
          <pc:sldMk cId="3819884410" sldId="362"/>
        </pc:sldMkLst>
      </pc:sldChg>
      <pc:sldChg chg="add">
        <pc:chgData name="Aashish Ramdas" userId="58210aff-8d50-4a30-b819-63f7dcb02310" providerId="ADAL" clId="{017D8426-9902-4B04-BBD0-FAEA2ACD55C9}" dt="2025-05-02T19:04:29.388" v="2494"/>
        <pc:sldMkLst>
          <pc:docMk/>
          <pc:sldMk cId="1437155147" sldId="365"/>
        </pc:sldMkLst>
      </pc:sldChg>
      <pc:sldChg chg="add">
        <pc:chgData name="Aashish Ramdas" userId="58210aff-8d50-4a30-b819-63f7dcb02310" providerId="ADAL" clId="{017D8426-9902-4B04-BBD0-FAEA2ACD55C9}" dt="2025-05-02T19:04:29.388" v="2494"/>
        <pc:sldMkLst>
          <pc:docMk/>
          <pc:sldMk cId="1642752267" sldId="367"/>
        </pc:sldMkLst>
      </pc:sldChg>
      <pc:sldChg chg="add">
        <pc:chgData name="Aashish Ramdas" userId="58210aff-8d50-4a30-b819-63f7dcb02310" providerId="ADAL" clId="{017D8426-9902-4B04-BBD0-FAEA2ACD55C9}" dt="2025-05-02T19:04:29.388" v="2494"/>
        <pc:sldMkLst>
          <pc:docMk/>
          <pc:sldMk cId="1516484304" sldId="368"/>
        </pc:sldMkLst>
      </pc:sldChg>
      <pc:sldChg chg="modSp add mod modTransition modClrScheme chgLayout">
        <pc:chgData name="Aashish Ramdas" userId="58210aff-8d50-4a30-b819-63f7dcb02310" providerId="ADAL" clId="{017D8426-9902-4B04-BBD0-FAEA2ACD55C9}" dt="2025-05-02T19:12:17.418" v="2519" actId="700"/>
        <pc:sldMkLst>
          <pc:docMk/>
          <pc:sldMk cId="997565174" sldId="374"/>
        </pc:sldMkLst>
        <pc:spChg chg="mod ord">
          <ac:chgData name="Aashish Ramdas" userId="58210aff-8d50-4a30-b819-63f7dcb02310" providerId="ADAL" clId="{017D8426-9902-4B04-BBD0-FAEA2ACD55C9}" dt="2025-05-02T19:12:17.418" v="2519" actId="700"/>
          <ac:spMkLst>
            <pc:docMk/>
            <pc:sldMk cId="997565174" sldId="374"/>
            <ac:spMk id="7" creationId="{E6CB28EB-CD37-CAD3-7CBE-266D4825A5D9}"/>
          </ac:spMkLst>
        </pc:spChg>
      </pc:sldChg>
      <pc:sldChg chg="delSp modSp add mod modTransition delAnim">
        <pc:chgData name="Aashish Ramdas" userId="58210aff-8d50-4a30-b819-63f7dcb02310" providerId="ADAL" clId="{017D8426-9902-4B04-BBD0-FAEA2ACD55C9}" dt="2025-05-02T20:50:01.733" v="3394" actId="14734"/>
        <pc:sldMkLst>
          <pc:docMk/>
          <pc:sldMk cId="682599236" sldId="375"/>
        </pc:sldMkLst>
        <pc:spChg chg="mod">
          <ac:chgData name="Aashish Ramdas" userId="58210aff-8d50-4a30-b819-63f7dcb02310" providerId="ADAL" clId="{017D8426-9902-4B04-BBD0-FAEA2ACD55C9}" dt="2025-05-02T20:49:43.547" v="3387" actId="1038"/>
          <ac:spMkLst>
            <pc:docMk/>
            <pc:sldMk cId="682599236" sldId="375"/>
            <ac:spMk id="12" creationId="{EE3B9278-AB9D-3CF5-AF78-C6C7082D7E1A}"/>
          </ac:spMkLst>
        </pc:spChg>
        <pc:grpChg chg="mod">
          <ac:chgData name="Aashish Ramdas" userId="58210aff-8d50-4a30-b819-63f7dcb02310" providerId="ADAL" clId="{017D8426-9902-4B04-BBD0-FAEA2ACD55C9}" dt="2025-05-02T20:49:48.463" v="3388" actId="1076"/>
          <ac:grpSpMkLst>
            <pc:docMk/>
            <pc:sldMk cId="682599236" sldId="375"/>
            <ac:grpSpMk id="5" creationId="{21299051-23E4-9A79-807A-F86065821311}"/>
          </ac:grpSpMkLst>
        </pc:grpChg>
        <pc:graphicFrameChg chg="mod modGraphic">
          <ac:chgData name="Aashish Ramdas" userId="58210aff-8d50-4a30-b819-63f7dcb02310" providerId="ADAL" clId="{017D8426-9902-4B04-BBD0-FAEA2ACD55C9}" dt="2025-05-02T20:50:01.733" v="3394" actId="14734"/>
          <ac:graphicFrameMkLst>
            <pc:docMk/>
            <pc:sldMk cId="682599236" sldId="375"/>
            <ac:graphicFrameMk id="15" creationId="{81A576EC-50F8-3DCF-7DEF-AF4B87BC6C67}"/>
          </ac:graphicFrameMkLst>
        </pc:graphicFrameChg>
      </pc:sldChg>
      <pc:sldChg chg="delSp add mod">
        <pc:chgData name="Aashish Ramdas" userId="58210aff-8d50-4a30-b819-63f7dcb02310" providerId="ADAL" clId="{017D8426-9902-4B04-BBD0-FAEA2ACD55C9}" dt="2025-05-02T19:13:34.074" v="2524" actId="478"/>
        <pc:sldMkLst>
          <pc:docMk/>
          <pc:sldMk cId="1460333827" sldId="384"/>
        </pc:sldMkLst>
      </pc:sldChg>
      <pc:sldChg chg="delSp add mod">
        <pc:chgData name="Aashish Ramdas" userId="58210aff-8d50-4a30-b819-63f7dcb02310" providerId="ADAL" clId="{017D8426-9902-4B04-BBD0-FAEA2ACD55C9}" dt="2025-05-02T21:06:19.979" v="3697" actId="478"/>
        <pc:sldMkLst>
          <pc:docMk/>
          <pc:sldMk cId="361017442" sldId="388"/>
        </pc:sldMkLst>
      </pc:sldChg>
      <pc:sldChg chg="add">
        <pc:chgData name="Aashish Ramdas" userId="58210aff-8d50-4a30-b819-63f7dcb02310" providerId="ADAL" clId="{017D8426-9902-4B04-BBD0-FAEA2ACD55C9}" dt="2025-05-02T19:04:29.388" v="2494"/>
        <pc:sldMkLst>
          <pc:docMk/>
          <pc:sldMk cId="644170466" sldId="389"/>
        </pc:sldMkLst>
      </pc:sldChg>
      <pc:sldChg chg="add">
        <pc:chgData name="Aashish Ramdas" userId="58210aff-8d50-4a30-b819-63f7dcb02310" providerId="ADAL" clId="{017D8426-9902-4B04-BBD0-FAEA2ACD55C9}" dt="2025-05-02T19:04:29.388" v="2494"/>
        <pc:sldMkLst>
          <pc:docMk/>
          <pc:sldMk cId="1836268192" sldId="391"/>
        </pc:sldMkLst>
      </pc:sldChg>
      <pc:sldChg chg="addSp delSp modSp add del mod modClrScheme chgLayout">
        <pc:chgData name="Aashish Ramdas" userId="58210aff-8d50-4a30-b819-63f7dcb02310" providerId="ADAL" clId="{017D8426-9902-4B04-BBD0-FAEA2ACD55C9}" dt="2025-05-02T20:57:11.323" v="3531" actId="47"/>
        <pc:sldMkLst>
          <pc:docMk/>
          <pc:sldMk cId="2988369897" sldId="407"/>
        </pc:sldMkLst>
      </pc:sldChg>
      <pc:sldChg chg="add del">
        <pc:chgData name="Aashish Ramdas" userId="58210aff-8d50-4a30-b819-63f7dcb02310" providerId="ADAL" clId="{017D8426-9902-4B04-BBD0-FAEA2ACD55C9}" dt="2025-05-02T19:10:34.393" v="2505" actId="47"/>
        <pc:sldMkLst>
          <pc:docMk/>
          <pc:sldMk cId="684311896" sldId="413"/>
        </pc:sldMkLst>
      </pc:sldChg>
      <pc:sldChg chg="add del">
        <pc:chgData name="Aashish Ramdas" userId="58210aff-8d50-4a30-b819-63f7dcb02310" providerId="ADAL" clId="{017D8426-9902-4B04-BBD0-FAEA2ACD55C9}" dt="2025-05-02T19:08:03.612" v="2502" actId="47"/>
        <pc:sldMkLst>
          <pc:docMk/>
          <pc:sldMk cId="314754275" sldId="2147482075"/>
        </pc:sldMkLst>
      </pc:sldChg>
      <pc:sldChg chg="addSp modSp">
        <pc:chgData name="Aashish Ramdas" userId="58210aff-8d50-4a30-b819-63f7dcb02310" providerId="ADAL" clId="{017D8426-9902-4B04-BBD0-FAEA2ACD55C9}" dt="2025-05-02T19:55:30.520" v="3119"/>
        <pc:sldMkLst>
          <pc:docMk/>
          <pc:sldMk cId="2902050926" sldId="2147482555"/>
        </pc:sldMkLst>
      </pc:sldChg>
      <pc:sldChg chg="modSp del">
        <pc:chgData name="Aashish Ramdas" userId="58210aff-8d50-4a30-b819-63f7dcb02310" providerId="ADAL" clId="{017D8426-9902-4B04-BBD0-FAEA2ACD55C9}" dt="2025-05-02T18:53:45.936" v="2483" actId="2696"/>
        <pc:sldMkLst>
          <pc:docMk/>
          <pc:sldMk cId="255043029" sldId="2147482614"/>
        </pc:sldMkLst>
      </pc:sldChg>
      <pc:sldChg chg="add del">
        <pc:chgData name="Aashish Ramdas" userId="58210aff-8d50-4a30-b819-63f7dcb02310" providerId="ADAL" clId="{017D8426-9902-4B04-BBD0-FAEA2ACD55C9}" dt="2025-05-02T19:16:41.007" v="2613" actId="47"/>
        <pc:sldMkLst>
          <pc:docMk/>
          <pc:sldMk cId="3936009326" sldId="2147482614"/>
        </pc:sldMkLst>
      </pc:sldChg>
      <pc:sldChg chg="addSp delSp modSp add mod modTransition delAnim">
        <pc:chgData name="Aashish Ramdas" userId="58210aff-8d50-4a30-b819-63f7dcb02310" providerId="ADAL" clId="{017D8426-9902-4B04-BBD0-FAEA2ACD55C9}" dt="2025-05-02T20:53:08.036" v="3463" actId="404"/>
        <pc:sldMkLst>
          <pc:docMk/>
          <pc:sldMk cId="3767867572" sldId="2147482615"/>
        </pc:sldMkLst>
        <pc:spChg chg="mod">
          <ac:chgData name="Aashish Ramdas" userId="58210aff-8d50-4a30-b819-63f7dcb02310" providerId="ADAL" clId="{017D8426-9902-4B04-BBD0-FAEA2ACD55C9}" dt="2025-05-02T20:53:08.036" v="3463" actId="404"/>
          <ac:spMkLst>
            <pc:docMk/>
            <pc:sldMk cId="3767867572" sldId="2147482615"/>
            <ac:spMk id="2" creationId="{DBBC4B57-862C-9C2C-C910-C6A85A0D6EE0}"/>
          </ac:spMkLst>
        </pc:spChg>
        <pc:spChg chg="mod">
          <ac:chgData name="Aashish Ramdas" userId="58210aff-8d50-4a30-b819-63f7dcb02310" providerId="ADAL" clId="{017D8426-9902-4B04-BBD0-FAEA2ACD55C9}" dt="2025-05-02T20:50:36.900" v="3423" actId="1037"/>
          <ac:spMkLst>
            <pc:docMk/>
            <pc:sldMk cId="3767867572" sldId="2147482615"/>
            <ac:spMk id="5" creationId="{EBCC7721-EFB6-743E-EDC5-D584471ECD48}"/>
          </ac:spMkLst>
        </pc:spChg>
        <pc:spChg chg="add mod ord">
          <ac:chgData name="Aashish Ramdas" userId="58210aff-8d50-4a30-b819-63f7dcb02310" providerId="ADAL" clId="{017D8426-9902-4B04-BBD0-FAEA2ACD55C9}" dt="2025-05-02T20:52:55.022" v="3459" actId="207"/>
          <ac:spMkLst>
            <pc:docMk/>
            <pc:sldMk cId="3767867572" sldId="2147482615"/>
            <ac:spMk id="12" creationId="{C0500415-8BBE-B17F-B542-6F1D19C4F867}"/>
          </ac:spMkLst>
        </pc:spChg>
        <pc:spChg chg="mod">
          <ac:chgData name="Aashish Ramdas" userId="58210aff-8d50-4a30-b819-63f7dcb02310" providerId="ADAL" clId="{017D8426-9902-4B04-BBD0-FAEA2ACD55C9}" dt="2025-05-02T20:52:33.767" v="3458" actId="1038"/>
          <ac:spMkLst>
            <pc:docMk/>
            <pc:sldMk cId="3767867572" sldId="2147482615"/>
            <ac:spMk id="14" creationId="{646DA72F-0666-2EDE-C2DA-2F5B5BDE5B63}"/>
          </ac:spMkLst>
        </pc:spChg>
        <pc:spChg chg="mod">
          <ac:chgData name="Aashish Ramdas" userId="58210aff-8d50-4a30-b819-63f7dcb02310" providerId="ADAL" clId="{017D8426-9902-4B04-BBD0-FAEA2ACD55C9}" dt="2025-05-02T20:52:33.767" v="3458" actId="1038"/>
          <ac:spMkLst>
            <pc:docMk/>
            <pc:sldMk cId="3767867572" sldId="2147482615"/>
            <ac:spMk id="22" creationId="{28E4016E-1826-85B6-94EA-CF2124C27D9B}"/>
          </ac:spMkLst>
        </pc:spChg>
        <pc:spChg chg="mod">
          <ac:chgData name="Aashish Ramdas" userId="58210aff-8d50-4a30-b819-63f7dcb02310" providerId="ADAL" clId="{017D8426-9902-4B04-BBD0-FAEA2ACD55C9}" dt="2025-05-02T20:52:33.767" v="3458" actId="1038"/>
          <ac:spMkLst>
            <pc:docMk/>
            <pc:sldMk cId="3767867572" sldId="2147482615"/>
            <ac:spMk id="30" creationId="{8F361EC7-D224-1F6E-C612-CDACDBDE1262}"/>
          </ac:spMkLst>
        </pc:spChg>
        <pc:spChg chg="mod">
          <ac:chgData name="Aashish Ramdas" userId="58210aff-8d50-4a30-b819-63f7dcb02310" providerId="ADAL" clId="{017D8426-9902-4B04-BBD0-FAEA2ACD55C9}" dt="2025-05-02T20:52:33.767" v="3458" actId="1038"/>
          <ac:spMkLst>
            <pc:docMk/>
            <pc:sldMk cId="3767867572" sldId="2147482615"/>
            <ac:spMk id="38" creationId="{2B1B957A-AC19-D53C-679F-8067D47803AC}"/>
          </ac:spMkLst>
        </pc:spChg>
        <pc:spChg chg="mod">
          <ac:chgData name="Aashish Ramdas" userId="58210aff-8d50-4a30-b819-63f7dcb02310" providerId="ADAL" clId="{017D8426-9902-4B04-BBD0-FAEA2ACD55C9}" dt="2025-05-02T20:52:33.767" v="3458" actId="1038"/>
          <ac:spMkLst>
            <pc:docMk/>
            <pc:sldMk cId="3767867572" sldId="2147482615"/>
            <ac:spMk id="39" creationId="{3BC4C1B8-E7C4-093F-A44B-7602C04BB24C}"/>
          </ac:spMkLst>
        </pc:spChg>
        <pc:spChg chg="mod">
          <ac:chgData name="Aashish Ramdas" userId="58210aff-8d50-4a30-b819-63f7dcb02310" providerId="ADAL" clId="{017D8426-9902-4B04-BBD0-FAEA2ACD55C9}" dt="2025-05-02T20:52:33.767" v="3458" actId="1038"/>
          <ac:spMkLst>
            <pc:docMk/>
            <pc:sldMk cId="3767867572" sldId="2147482615"/>
            <ac:spMk id="45" creationId="{AEDB0B8A-8D71-0A85-A050-A44942CE86B5}"/>
          </ac:spMkLst>
        </pc:spChg>
        <pc:picChg chg="mod">
          <ac:chgData name="Aashish Ramdas" userId="58210aff-8d50-4a30-b819-63f7dcb02310" providerId="ADAL" clId="{017D8426-9902-4B04-BBD0-FAEA2ACD55C9}" dt="2025-05-02T20:52:33.767" v="3458" actId="1038"/>
          <ac:picMkLst>
            <pc:docMk/>
            <pc:sldMk cId="3767867572" sldId="2147482615"/>
            <ac:picMk id="42" creationId="{CFFC9680-E514-2A64-76EC-F7B8A14EC691}"/>
          </ac:picMkLst>
        </pc:picChg>
        <pc:picChg chg="mod">
          <ac:chgData name="Aashish Ramdas" userId="58210aff-8d50-4a30-b819-63f7dcb02310" providerId="ADAL" clId="{017D8426-9902-4B04-BBD0-FAEA2ACD55C9}" dt="2025-05-02T20:52:33.767" v="3458" actId="1038"/>
          <ac:picMkLst>
            <pc:docMk/>
            <pc:sldMk cId="3767867572" sldId="2147482615"/>
            <ac:picMk id="46" creationId="{E5074363-5B5F-1501-B8B1-6928C3871A6F}"/>
          </ac:picMkLst>
        </pc:picChg>
        <pc:picChg chg="mod">
          <ac:chgData name="Aashish Ramdas" userId="58210aff-8d50-4a30-b819-63f7dcb02310" providerId="ADAL" clId="{017D8426-9902-4B04-BBD0-FAEA2ACD55C9}" dt="2025-05-02T20:52:33.767" v="3458" actId="1038"/>
          <ac:picMkLst>
            <pc:docMk/>
            <pc:sldMk cId="3767867572" sldId="2147482615"/>
            <ac:picMk id="47" creationId="{B891B00A-0A3E-1E63-BB73-FFCDB7E1B60A}"/>
          </ac:picMkLst>
        </pc:picChg>
      </pc:sldChg>
      <pc:sldChg chg="add del setBg">
        <pc:chgData name="Aashish Ramdas" userId="58210aff-8d50-4a30-b819-63f7dcb02310" providerId="ADAL" clId="{017D8426-9902-4B04-BBD0-FAEA2ACD55C9}" dt="2025-05-02T18:42:13.778" v="2038" actId="47"/>
        <pc:sldMkLst>
          <pc:docMk/>
          <pc:sldMk cId="1236433200" sldId="2147482617"/>
        </pc:sldMkLst>
      </pc:sldChg>
      <pc:sldChg chg="modSp del">
        <pc:chgData name="Aashish Ramdas" userId="58210aff-8d50-4a30-b819-63f7dcb02310" providerId="ADAL" clId="{017D8426-9902-4B04-BBD0-FAEA2ACD55C9}" dt="2025-05-02T18:53:45.936" v="2483" actId="2696"/>
        <pc:sldMkLst>
          <pc:docMk/>
          <pc:sldMk cId="1641419689" sldId="2147483397"/>
        </pc:sldMkLst>
      </pc:sldChg>
      <pc:sldChg chg="add del">
        <pc:chgData name="Aashish Ramdas" userId="58210aff-8d50-4a30-b819-63f7dcb02310" providerId="ADAL" clId="{017D8426-9902-4B04-BBD0-FAEA2ACD55C9}" dt="2025-05-02T19:23:17.919" v="2622" actId="47"/>
        <pc:sldMkLst>
          <pc:docMk/>
          <pc:sldMk cId="2904798161" sldId="2147483397"/>
        </pc:sldMkLst>
      </pc:sldChg>
      <pc:sldChg chg="modSp del">
        <pc:chgData name="Aashish Ramdas" userId="58210aff-8d50-4a30-b819-63f7dcb02310" providerId="ADAL" clId="{017D8426-9902-4B04-BBD0-FAEA2ACD55C9}" dt="2025-05-02T18:53:45.936" v="2483" actId="2696"/>
        <pc:sldMkLst>
          <pc:docMk/>
          <pc:sldMk cId="1478439722" sldId="2147483402"/>
        </pc:sldMkLst>
      </pc:sldChg>
      <pc:sldChg chg="add del mod modShow">
        <pc:chgData name="Aashish Ramdas" userId="58210aff-8d50-4a30-b819-63f7dcb02310" providerId="ADAL" clId="{017D8426-9902-4B04-BBD0-FAEA2ACD55C9}" dt="2025-05-02T19:23:20.021" v="2623" actId="47"/>
        <pc:sldMkLst>
          <pc:docMk/>
          <pc:sldMk cId="3122952984" sldId="2147483402"/>
        </pc:sldMkLst>
      </pc:sldChg>
      <pc:sldChg chg="add del mod modShow">
        <pc:chgData name="Aashish Ramdas" userId="58210aff-8d50-4a30-b819-63f7dcb02310" providerId="ADAL" clId="{017D8426-9902-4B04-BBD0-FAEA2ACD55C9}" dt="2025-05-02T19:23:17.919" v="2622" actId="47"/>
        <pc:sldMkLst>
          <pc:docMk/>
          <pc:sldMk cId="1922952731" sldId="2147483428"/>
        </pc:sldMkLst>
      </pc:sldChg>
      <pc:sldChg chg="modSp del">
        <pc:chgData name="Aashish Ramdas" userId="58210aff-8d50-4a30-b819-63f7dcb02310" providerId="ADAL" clId="{017D8426-9902-4B04-BBD0-FAEA2ACD55C9}" dt="2025-05-02T18:53:45.936" v="2483" actId="2696"/>
        <pc:sldMkLst>
          <pc:docMk/>
          <pc:sldMk cId="3810696148" sldId="2147483428"/>
        </pc:sldMkLst>
      </pc:sldChg>
      <pc:sldChg chg="add del mod modShow">
        <pc:chgData name="Aashish Ramdas" userId="58210aff-8d50-4a30-b819-63f7dcb02310" providerId="ADAL" clId="{017D8426-9902-4B04-BBD0-FAEA2ACD55C9}" dt="2025-05-02T19:23:17.919" v="2622" actId="47"/>
        <pc:sldMkLst>
          <pc:docMk/>
          <pc:sldMk cId="85369818" sldId="2147483431"/>
        </pc:sldMkLst>
      </pc:sldChg>
      <pc:sldChg chg="modSp del">
        <pc:chgData name="Aashish Ramdas" userId="58210aff-8d50-4a30-b819-63f7dcb02310" providerId="ADAL" clId="{017D8426-9902-4B04-BBD0-FAEA2ACD55C9}" dt="2025-05-02T18:53:45.936" v="2483" actId="2696"/>
        <pc:sldMkLst>
          <pc:docMk/>
          <pc:sldMk cId="1188245848" sldId="2147483431"/>
        </pc:sldMkLst>
      </pc:sldChg>
      <pc:sldChg chg="modSp del">
        <pc:chgData name="Aashish Ramdas" userId="58210aff-8d50-4a30-b819-63f7dcb02310" providerId="ADAL" clId="{017D8426-9902-4B04-BBD0-FAEA2ACD55C9}" dt="2025-05-02T18:53:45.936" v="2483" actId="2696"/>
        <pc:sldMkLst>
          <pc:docMk/>
          <pc:sldMk cId="2188890477" sldId="2147483435"/>
        </pc:sldMkLst>
      </pc:sldChg>
      <pc:sldChg chg="add">
        <pc:chgData name="Aashish Ramdas" userId="58210aff-8d50-4a30-b819-63f7dcb02310" providerId="ADAL" clId="{017D8426-9902-4B04-BBD0-FAEA2ACD55C9}" dt="2025-05-02T18:53:53.045" v="2484"/>
        <pc:sldMkLst>
          <pc:docMk/>
          <pc:sldMk cId="4045407142" sldId="2147483435"/>
        </pc:sldMkLst>
      </pc:sldChg>
      <pc:sldChg chg="add del">
        <pc:chgData name="Aashish Ramdas" userId="58210aff-8d50-4a30-b819-63f7dcb02310" providerId="ADAL" clId="{017D8426-9902-4B04-BBD0-FAEA2ACD55C9}" dt="2025-05-02T19:29:15.267" v="2645" actId="47"/>
        <pc:sldMkLst>
          <pc:docMk/>
          <pc:sldMk cId="17820162" sldId="2147483441"/>
        </pc:sldMkLst>
      </pc:sldChg>
      <pc:sldChg chg="del">
        <pc:chgData name="Aashish Ramdas" userId="58210aff-8d50-4a30-b819-63f7dcb02310" providerId="ADAL" clId="{017D8426-9902-4B04-BBD0-FAEA2ACD55C9}" dt="2025-05-02T18:53:45.936" v="2483" actId="2696"/>
        <pc:sldMkLst>
          <pc:docMk/>
          <pc:sldMk cId="1659233338" sldId="2147483441"/>
        </pc:sldMkLst>
      </pc:sldChg>
      <pc:sldChg chg="addSp delSp modSp add mod delAnim modAnim">
        <pc:chgData name="Aashish Ramdas" userId="58210aff-8d50-4a30-b819-63f7dcb02310" providerId="ADAL" clId="{017D8426-9902-4B04-BBD0-FAEA2ACD55C9}" dt="2025-05-02T21:07:42.258" v="3701"/>
        <pc:sldMkLst>
          <pc:docMk/>
          <pc:sldMk cId="314410236" sldId="2147483443"/>
        </pc:sldMkLst>
        <pc:spChg chg="add mod">
          <ac:chgData name="Aashish Ramdas" userId="58210aff-8d50-4a30-b819-63f7dcb02310" providerId="ADAL" clId="{017D8426-9902-4B04-BBD0-FAEA2ACD55C9}" dt="2025-05-02T21:05:48.576" v="3696" actId="1076"/>
          <ac:spMkLst>
            <pc:docMk/>
            <pc:sldMk cId="314410236" sldId="2147483443"/>
            <ac:spMk id="5" creationId="{7C07B285-5920-A499-18A5-9F461D606E57}"/>
          </ac:spMkLst>
        </pc:spChg>
        <pc:picChg chg="add mod ord">
          <ac:chgData name="Aashish Ramdas" userId="58210aff-8d50-4a30-b819-63f7dcb02310" providerId="ADAL" clId="{017D8426-9902-4B04-BBD0-FAEA2ACD55C9}" dt="2025-05-02T21:05:37.464" v="3695" actId="14100"/>
          <ac:picMkLst>
            <pc:docMk/>
            <pc:sldMk cId="314410236" sldId="2147483443"/>
            <ac:picMk id="6" creationId="{FCE80FF7-DC12-781D-2046-94F95FAF8168}"/>
          </ac:picMkLst>
        </pc:picChg>
        <pc:picChg chg="mod">
          <ac:chgData name="Aashish Ramdas" userId="58210aff-8d50-4a30-b819-63f7dcb02310" providerId="ADAL" clId="{017D8426-9902-4B04-BBD0-FAEA2ACD55C9}" dt="2025-05-02T21:05:30.542" v="3689" actId="14100"/>
          <ac:picMkLst>
            <pc:docMk/>
            <pc:sldMk cId="314410236" sldId="2147483443"/>
            <ac:picMk id="7" creationId="{DB6F8B79-DA0F-A667-F416-DC33CD686B00}"/>
          </ac:picMkLst>
        </pc:picChg>
      </pc:sldChg>
      <pc:sldChg chg="modSp del">
        <pc:chgData name="Aashish Ramdas" userId="58210aff-8d50-4a30-b819-63f7dcb02310" providerId="ADAL" clId="{017D8426-9902-4B04-BBD0-FAEA2ACD55C9}" dt="2025-05-02T18:53:45.936" v="2483" actId="2696"/>
        <pc:sldMkLst>
          <pc:docMk/>
          <pc:sldMk cId="361017442" sldId="2147483443"/>
        </pc:sldMkLst>
      </pc:sldChg>
      <pc:sldChg chg="modSp del">
        <pc:chgData name="Aashish Ramdas" userId="58210aff-8d50-4a30-b819-63f7dcb02310" providerId="ADAL" clId="{017D8426-9902-4B04-BBD0-FAEA2ACD55C9}" dt="2025-05-02T18:53:45.936" v="2483" actId="2696"/>
        <pc:sldMkLst>
          <pc:docMk/>
          <pc:sldMk cId="644170466" sldId="2147483444"/>
        </pc:sldMkLst>
      </pc:sldChg>
      <pc:sldChg chg="add del">
        <pc:chgData name="Aashish Ramdas" userId="58210aff-8d50-4a30-b819-63f7dcb02310" providerId="ADAL" clId="{017D8426-9902-4B04-BBD0-FAEA2ACD55C9}" dt="2025-05-02T20:58:20.120" v="3541" actId="47"/>
        <pc:sldMkLst>
          <pc:docMk/>
          <pc:sldMk cId="1656236661" sldId="2147483444"/>
        </pc:sldMkLst>
      </pc:sldChg>
      <pc:sldChg chg="add del">
        <pc:chgData name="Aashish Ramdas" userId="58210aff-8d50-4a30-b819-63f7dcb02310" providerId="ADAL" clId="{017D8426-9902-4B04-BBD0-FAEA2ACD55C9}" dt="2025-05-02T19:30:27.222" v="2650" actId="47"/>
        <pc:sldMkLst>
          <pc:docMk/>
          <pc:sldMk cId="1019982371" sldId="2147483450"/>
        </pc:sldMkLst>
      </pc:sldChg>
      <pc:sldChg chg="modSp del">
        <pc:chgData name="Aashish Ramdas" userId="58210aff-8d50-4a30-b819-63f7dcb02310" providerId="ADAL" clId="{017D8426-9902-4B04-BBD0-FAEA2ACD55C9}" dt="2025-05-02T18:53:45.936" v="2483" actId="2696"/>
        <pc:sldMkLst>
          <pc:docMk/>
          <pc:sldMk cId="1325585555" sldId="2147483450"/>
        </pc:sldMkLst>
      </pc:sldChg>
      <pc:sldChg chg="modSp del">
        <pc:chgData name="Aashish Ramdas" userId="58210aff-8d50-4a30-b819-63f7dcb02310" providerId="ADAL" clId="{017D8426-9902-4B04-BBD0-FAEA2ACD55C9}" dt="2025-05-02T18:53:45.936" v="2483" actId="2696"/>
        <pc:sldMkLst>
          <pc:docMk/>
          <pc:sldMk cId="2776508344" sldId="2147483451"/>
        </pc:sldMkLst>
      </pc:sldChg>
      <pc:sldChg chg="add del">
        <pc:chgData name="Aashish Ramdas" userId="58210aff-8d50-4a30-b819-63f7dcb02310" providerId="ADAL" clId="{017D8426-9902-4B04-BBD0-FAEA2ACD55C9}" dt="2025-05-02T19:30:27.274" v="2651" actId="47"/>
        <pc:sldMkLst>
          <pc:docMk/>
          <pc:sldMk cId="3602353966" sldId="2147483451"/>
        </pc:sldMkLst>
      </pc:sldChg>
      <pc:sldChg chg="addSp delSp modSp add mod modAnim">
        <pc:chgData name="Aashish Ramdas" userId="58210aff-8d50-4a30-b819-63f7dcb02310" providerId="ADAL" clId="{017D8426-9902-4B04-BBD0-FAEA2ACD55C9}" dt="2025-05-02T21:10:34.380" v="3718" actId="14100"/>
        <pc:sldMkLst>
          <pc:docMk/>
          <pc:sldMk cId="2124720997" sldId="2147483453"/>
        </pc:sldMkLst>
        <pc:spChg chg="mod">
          <ac:chgData name="Aashish Ramdas" userId="58210aff-8d50-4a30-b819-63f7dcb02310" providerId="ADAL" clId="{017D8426-9902-4B04-BBD0-FAEA2ACD55C9}" dt="2025-05-02T21:08:57.115" v="3707" actId="404"/>
          <ac:spMkLst>
            <pc:docMk/>
            <pc:sldMk cId="2124720997" sldId="2147483453"/>
            <ac:spMk id="2" creationId="{AFDC6DAB-EB1F-5C14-A461-0213317CCE33}"/>
          </ac:spMkLst>
        </pc:spChg>
        <pc:spChg chg="add mod">
          <ac:chgData name="Aashish Ramdas" userId="58210aff-8d50-4a30-b819-63f7dcb02310" providerId="ADAL" clId="{017D8426-9902-4B04-BBD0-FAEA2ACD55C9}" dt="2025-05-02T21:10:34.380" v="3718" actId="14100"/>
          <ac:spMkLst>
            <pc:docMk/>
            <pc:sldMk cId="2124720997" sldId="2147483453"/>
            <ac:spMk id="5" creationId="{905C2617-F295-A3B2-9DBF-6D7A93DEE4FC}"/>
          </ac:spMkLst>
        </pc:spChg>
      </pc:sldChg>
      <pc:sldChg chg="modSp del">
        <pc:chgData name="Aashish Ramdas" userId="58210aff-8d50-4a30-b819-63f7dcb02310" providerId="ADAL" clId="{017D8426-9902-4B04-BBD0-FAEA2ACD55C9}" dt="2025-05-02T18:53:45.936" v="2483" actId="2696"/>
        <pc:sldMkLst>
          <pc:docMk/>
          <pc:sldMk cId="2412566053" sldId="2147483453"/>
        </pc:sldMkLst>
      </pc:sldChg>
      <pc:sldChg chg="modSp del">
        <pc:chgData name="Aashish Ramdas" userId="58210aff-8d50-4a30-b819-63f7dcb02310" providerId="ADAL" clId="{017D8426-9902-4B04-BBD0-FAEA2ACD55C9}" dt="2025-05-02T18:53:45.936" v="2483" actId="2696"/>
        <pc:sldMkLst>
          <pc:docMk/>
          <pc:sldMk cId="1373271650" sldId="2147483454"/>
        </pc:sldMkLst>
      </pc:sldChg>
      <pc:sldChg chg="addSp modSp add mod modAnim">
        <pc:chgData name="Aashish Ramdas" userId="58210aff-8d50-4a30-b819-63f7dcb02310" providerId="ADAL" clId="{017D8426-9902-4B04-BBD0-FAEA2ACD55C9}" dt="2025-05-02T21:10:54.755" v="3721" actId="14100"/>
        <pc:sldMkLst>
          <pc:docMk/>
          <pc:sldMk cId="3799328240" sldId="2147483454"/>
        </pc:sldMkLst>
        <pc:spChg chg="add mod ord">
          <ac:chgData name="Aashish Ramdas" userId="58210aff-8d50-4a30-b819-63f7dcb02310" providerId="ADAL" clId="{017D8426-9902-4B04-BBD0-FAEA2ACD55C9}" dt="2025-05-02T21:09:51.843" v="3715" actId="167"/>
          <ac:spMkLst>
            <pc:docMk/>
            <pc:sldMk cId="3799328240" sldId="2147483454"/>
            <ac:spMk id="2" creationId="{AC9DF6F9-DF33-D49E-E1DB-8C82289E0D09}"/>
          </ac:spMkLst>
        </pc:spChg>
        <pc:spChg chg="add mod">
          <ac:chgData name="Aashish Ramdas" userId="58210aff-8d50-4a30-b819-63f7dcb02310" providerId="ADAL" clId="{017D8426-9902-4B04-BBD0-FAEA2ACD55C9}" dt="2025-05-02T21:10:54.755" v="3721" actId="14100"/>
          <ac:spMkLst>
            <pc:docMk/>
            <pc:sldMk cId="3799328240" sldId="2147483454"/>
            <ac:spMk id="4" creationId="{50F73045-5536-ACEF-95B0-905E7997941C}"/>
          </ac:spMkLst>
        </pc:spChg>
        <pc:spChg chg="mod">
          <ac:chgData name="Aashish Ramdas" userId="58210aff-8d50-4a30-b819-63f7dcb02310" providerId="ADAL" clId="{017D8426-9902-4B04-BBD0-FAEA2ACD55C9}" dt="2025-05-02T21:09:31.356" v="3711" actId="1076"/>
          <ac:spMkLst>
            <pc:docMk/>
            <pc:sldMk cId="3799328240" sldId="2147483454"/>
            <ac:spMk id="5" creationId="{65DF6647-3F6D-26BC-CA14-D91864792400}"/>
          </ac:spMkLst>
        </pc:spChg>
      </pc:sldChg>
      <pc:sldChg chg="modSp del">
        <pc:chgData name="Aashish Ramdas" userId="58210aff-8d50-4a30-b819-63f7dcb02310" providerId="ADAL" clId="{017D8426-9902-4B04-BBD0-FAEA2ACD55C9}" dt="2025-05-02T18:53:45.936" v="2483" actId="2696"/>
        <pc:sldMkLst>
          <pc:docMk/>
          <pc:sldMk cId="528246313" sldId="2147483456"/>
        </pc:sldMkLst>
      </pc:sldChg>
      <pc:sldChg chg="add del mod modShow">
        <pc:chgData name="Aashish Ramdas" userId="58210aff-8d50-4a30-b819-63f7dcb02310" providerId="ADAL" clId="{017D8426-9902-4B04-BBD0-FAEA2ACD55C9}" dt="2025-05-02T19:23:17.919" v="2622" actId="47"/>
        <pc:sldMkLst>
          <pc:docMk/>
          <pc:sldMk cId="2794698446" sldId="2147483456"/>
        </pc:sldMkLst>
      </pc:sldChg>
      <pc:sldChg chg="modSp del">
        <pc:chgData name="Aashish Ramdas" userId="58210aff-8d50-4a30-b819-63f7dcb02310" providerId="ADAL" clId="{017D8426-9902-4B04-BBD0-FAEA2ACD55C9}" dt="2025-05-02T18:53:45.936" v="2483" actId="2696"/>
        <pc:sldMkLst>
          <pc:docMk/>
          <pc:sldMk cId="1698062117" sldId="2147483457"/>
        </pc:sldMkLst>
      </pc:sldChg>
      <pc:sldChg chg="add del mod modShow">
        <pc:chgData name="Aashish Ramdas" userId="58210aff-8d50-4a30-b819-63f7dcb02310" providerId="ADAL" clId="{017D8426-9902-4B04-BBD0-FAEA2ACD55C9}" dt="2025-05-02T19:23:17.919" v="2622" actId="47"/>
        <pc:sldMkLst>
          <pc:docMk/>
          <pc:sldMk cId="3480055160" sldId="2147483457"/>
        </pc:sldMkLst>
      </pc:sldChg>
      <pc:sldChg chg="addSp delSp modSp add del mod addAnim delAnim modAnim">
        <pc:chgData name="Aashish Ramdas" userId="58210aff-8d50-4a30-b819-63f7dcb02310" providerId="ADAL" clId="{017D8426-9902-4B04-BBD0-FAEA2ACD55C9}" dt="2025-05-02T20:59:46.142" v="3558"/>
        <pc:sldMkLst>
          <pc:docMk/>
          <pc:sldMk cId="899159382" sldId="2147483458"/>
        </pc:sldMkLst>
        <pc:spChg chg="add mod">
          <ac:chgData name="Aashish Ramdas" userId="58210aff-8d50-4a30-b819-63f7dcb02310" providerId="ADAL" clId="{017D8426-9902-4B04-BBD0-FAEA2ACD55C9}" dt="2025-05-02T20:59:31.999" v="3557" actId="692"/>
          <ac:spMkLst>
            <pc:docMk/>
            <pc:sldMk cId="899159382" sldId="2147483458"/>
            <ac:spMk id="3" creationId="{C98AD856-C169-D0BC-CC5D-7B94351B6A6D}"/>
          </ac:spMkLst>
        </pc:spChg>
      </pc:sldChg>
      <pc:sldChg chg="del">
        <pc:chgData name="Aashish Ramdas" userId="58210aff-8d50-4a30-b819-63f7dcb02310" providerId="ADAL" clId="{017D8426-9902-4B04-BBD0-FAEA2ACD55C9}" dt="2025-05-02T18:53:45.936" v="2483" actId="2696"/>
        <pc:sldMkLst>
          <pc:docMk/>
          <pc:sldMk cId="995683651" sldId="2147483458"/>
        </pc:sldMkLst>
      </pc:sldChg>
      <pc:sldChg chg="modSp del">
        <pc:chgData name="Aashish Ramdas" userId="58210aff-8d50-4a30-b819-63f7dcb02310" providerId="ADAL" clId="{017D8426-9902-4B04-BBD0-FAEA2ACD55C9}" dt="2025-05-02T18:53:45.936" v="2483" actId="2696"/>
        <pc:sldMkLst>
          <pc:docMk/>
          <pc:sldMk cId="1175999612" sldId="2147483459"/>
        </pc:sldMkLst>
      </pc:sldChg>
      <pc:sldChg chg="addSp modSp add del mod modAnim">
        <pc:chgData name="Aashish Ramdas" userId="58210aff-8d50-4a30-b819-63f7dcb02310" providerId="ADAL" clId="{017D8426-9902-4B04-BBD0-FAEA2ACD55C9}" dt="2025-05-02T21:04:38.328" v="3679" actId="47"/>
        <pc:sldMkLst>
          <pc:docMk/>
          <pc:sldMk cId="4248558953" sldId="2147483459"/>
        </pc:sldMkLst>
      </pc:sldChg>
      <pc:sldChg chg="add del">
        <pc:chgData name="Aashish Ramdas" userId="58210aff-8d50-4a30-b819-63f7dcb02310" providerId="ADAL" clId="{017D8426-9902-4B04-BBD0-FAEA2ACD55C9}" dt="2025-05-02T21:00:32.671" v="3571" actId="47"/>
        <pc:sldMkLst>
          <pc:docMk/>
          <pc:sldMk cId="2360555567" sldId="2147483460"/>
        </pc:sldMkLst>
      </pc:sldChg>
      <pc:sldChg chg="modSp del">
        <pc:chgData name="Aashish Ramdas" userId="58210aff-8d50-4a30-b819-63f7dcb02310" providerId="ADAL" clId="{017D8426-9902-4B04-BBD0-FAEA2ACD55C9}" dt="2025-05-02T18:53:45.936" v="2483" actId="2696"/>
        <pc:sldMkLst>
          <pc:docMk/>
          <pc:sldMk cId="2747424092" sldId="2147483460"/>
        </pc:sldMkLst>
      </pc:sldChg>
      <pc:sldChg chg="modSp del">
        <pc:chgData name="Aashish Ramdas" userId="58210aff-8d50-4a30-b819-63f7dcb02310" providerId="ADAL" clId="{017D8426-9902-4B04-BBD0-FAEA2ACD55C9}" dt="2025-05-02T18:53:45.936" v="2483" actId="2696"/>
        <pc:sldMkLst>
          <pc:docMk/>
          <pc:sldMk cId="847686503" sldId="2147483461"/>
        </pc:sldMkLst>
      </pc:sldChg>
      <pc:sldChg chg="addSp modSp add del mod modAnim">
        <pc:chgData name="Aashish Ramdas" userId="58210aff-8d50-4a30-b819-63f7dcb02310" providerId="ADAL" clId="{017D8426-9902-4B04-BBD0-FAEA2ACD55C9}" dt="2025-05-02T21:04:46.383" v="3680" actId="47"/>
        <pc:sldMkLst>
          <pc:docMk/>
          <pc:sldMk cId="3445935198" sldId="2147483461"/>
        </pc:sldMkLst>
      </pc:sldChg>
      <pc:sldChg chg="addSp delSp modSp add mod modNotesTx">
        <pc:chgData name="Aashish Ramdas" userId="58210aff-8d50-4a30-b819-63f7dcb02310" providerId="ADAL" clId="{017D8426-9902-4B04-BBD0-FAEA2ACD55C9}" dt="2025-05-02T20:46:54.098" v="3304" actId="27636"/>
        <pc:sldMkLst>
          <pc:docMk/>
          <pc:sldMk cId="1436275142" sldId="2147483462"/>
        </pc:sldMkLst>
        <pc:spChg chg="mod">
          <ac:chgData name="Aashish Ramdas" userId="58210aff-8d50-4a30-b819-63f7dcb02310" providerId="ADAL" clId="{017D8426-9902-4B04-BBD0-FAEA2ACD55C9}" dt="2025-05-02T20:46:54.098" v="3304" actId="27636"/>
          <ac:spMkLst>
            <pc:docMk/>
            <pc:sldMk cId="1436275142" sldId="2147483462"/>
            <ac:spMk id="2" creationId="{3E6CF670-CCE2-5919-7732-B397C1E255EA}"/>
          </ac:spMkLst>
        </pc:spChg>
        <pc:spChg chg="mod">
          <ac:chgData name="Aashish Ramdas" userId="58210aff-8d50-4a30-b819-63f7dcb02310" providerId="ADAL" clId="{017D8426-9902-4B04-BBD0-FAEA2ACD55C9}" dt="2025-05-02T20:00:48.194" v="3206"/>
          <ac:spMkLst>
            <pc:docMk/>
            <pc:sldMk cId="1436275142" sldId="2147483462"/>
            <ac:spMk id="10" creationId="{6FB75360-A44D-D097-EFB3-92585B196232}"/>
          </ac:spMkLst>
        </pc:spChg>
        <pc:spChg chg="mod">
          <ac:chgData name="Aashish Ramdas" userId="58210aff-8d50-4a30-b819-63f7dcb02310" providerId="ADAL" clId="{017D8426-9902-4B04-BBD0-FAEA2ACD55C9}" dt="2025-05-02T20:00:48.194" v="3206"/>
          <ac:spMkLst>
            <pc:docMk/>
            <pc:sldMk cId="1436275142" sldId="2147483462"/>
            <ac:spMk id="11" creationId="{D659CE25-BCA7-C406-E212-C94815DA8578}"/>
          </ac:spMkLst>
        </pc:spChg>
        <pc:spChg chg="mod">
          <ac:chgData name="Aashish Ramdas" userId="58210aff-8d50-4a30-b819-63f7dcb02310" providerId="ADAL" clId="{017D8426-9902-4B04-BBD0-FAEA2ACD55C9}" dt="2025-05-02T20:00:48.194" v="3206"/>
          <ac:spMkLst>
            <pc:docMk/>
            <pc:sldMk cId="1436275142" sldId="2147483462"/>
            <ac:spMk id="12" creationId="{C9E30DDF-B03D-7FFF-F23F-6F98EF43F74B}"/>
          </ac:spMkLst>
        </pc:spChg>
        <pc:spChg chg="mod">
          <ac:chgData name="Aashish Ramdas" userId="58210aff-8d50-4a30-b819-63f7dcb02310" providerId="ADAL" clId="{017D8426-9902-4B04-BBD0-FAEA2ACD55C9}" dt="2025-05-02T20:01:27.642" v="3214"/>
          <ac:spMkLst>
            <pc:docMk/>
            <pc:sldMk cId="1436275142" sldId="2147483462"/>
            <ac:spMk id="15" creationId="{DF00AC08-DC5F-FDAC-0953-99ACA9B42578}"/>
          </ac:spMkLst>
        </pc:spChg>
        <pc:spChg chg="mod">
          <ac:chgData name="Aashish Ramdas" userId="58210aff-8d50-4a30-b819-63f7dcb02310" providerId="ADAL" clId="{017D8426-9902-4B04-BBD0-FAEA2ACD55C9}" dt="2025-05-02T20:01:27.642" v="3214"/>
          <ac:spMkLst>
            <pc:docMk/>
            <pc:sldMk cId="1436275142" sldId="2147483462"/>
            <ac:spMk id="16" creationId="{527CF293-4902-D9E1-DD05-25822FA4140C}"/>
          </ac:spMkLst>
        </pc:spChg>
        <pc:spChg chg="mod">
          <ac:chgData name="Aashish Ramdas" userId="58210aff-8d50-4a30-b819-63f7dcb02310" providerId="ADAL" clId="{017D8426-9902-4B04-BBD0-FAEA2ACD55C9}" dt="2025-05-02T20:01:27.642" v="3214"/>
          <ac:spMkLst>
            <pc:docMk/>
            <pc:sldMk cId="1436275142" sldId="2147483462"/>
            <ac:spMk id="17" creationId="{FC1964C5-1FD3-CA64-8B70-AA7E8113064F}"/>
          </ac:spMkLst>
        </pc:spChg>
        <pc:spChg chg="mod">
          <ac:chgData name="Aashish Ramdas" userId="58210aff-8d50-4a30-b819-63f7dcb02310" providerId="ADAL" clId="{017D8426-9902-4B04-BBD0-FAEA2ACD55C9}" dt="2025-05-02T20:01:55.425" v="3220"/>
          <ac:spMkLst>
            <pc:docMk/>
            <pc:sldMk cId="1436275142" sldId="2147483462"/>
            <ac:spMk id="24" creationId="{337FF454-40CF-B11E-8FA0-AE304A7FFF4B}"/>
          </ac:spMkLst>
        </pc:spChg>
        <pc:spChg chg="mod">
          <ac:chgData name="Aashish Ramdas" userId="58210aff-8d50-4a30-b819-63f7dcb02310" providerId="ADAL" clId="{017D8426-9902-4B04-BBD0-FAEA2ACD55C9}" dt="2025-05-02T20:01:55.425" v="3220"/>
          <ac:spMkLst>
            <pc:docMk/>
            <pc:sldMk cId="1436275142" sldId="2147483462"/>
            <ac:spMk id="26" creationId="{061759C3-39A0-0D72-E97D-4F99A85C9E29}"/>
          </ac:spMkLst>
        </pc:spChg>
        <pc:spChg chg="mod">
          <ac:chgData name="Aashish Ramdas" userId="58210aff-8d50-4a30-b819-63f7dcb02310" providerId="ADAL" clId="{017D8426-9902-4B04-BBD0-FAEA2ACD55C9}" dt="2025-05-02T20:01:55.425" v="3220"/>
          <ac:spMkLst>
            <pc:docMk/>
            <pc:sldMk cId="1436275142" sldId="2147483462"/>
            <ac:spMk id="27" creationId="{8FE9BE9D-A844-5D07-708D-D4B38C4A39CC}"/>
          </ac:spMkLst>
        </pc:spChg>
        <pc:spChg chg="mod">
          <ac:chgData name="Aashish Ramdas" userId="58210aff-8d50-4a30-b819-63f7dcb02310" providerId="ADAL" clId="{017D8426-9902-4B04-BBD0-FAEA2ACD55C9}" dt="2025-05-02T20:02:20.195" v="3228"/>
          <ac:spMkLst>
            <pc:docMk/>
            <pc:sldMk cId="1436275142" sldId="2147483462"/>
            <ac:spMk id="30" creationId="{8ECFCD78-B3C2-E9FE-9828-CC9E3D05A348}"/>
          </ac:spMkLst>
        </pc:spChg>
        <pc:spChg chg="mod">
          <ac:chgData name="Aashish Ramdas" userId="58210aff-8d50-4a30-b819-63f7dcb02310" providerId="ADAL" clId="{017D8426-9902-4B04-BBD0-FAEA2ACD55C9}" dt="2025-05-02T20:02:20.195" v="3228"/>
          <ac:spMkLst>
            <pc:docMk/>
            <pc:sldMk cId="1436275142" sldId="2147483462"/>
            <ac:spMk id="32" creationId="{07C30803-5FAC-ACEE-2160-2D700A9949E2}"/>
          </ac:spMkLst>
        </pc:spChg>
        <pc:spChg chg="mod">
          <ac:chgData name="Aashish Ramdas" userId="58210aff-8d50-4a30-b819-63f7dcb02310" providerId="ADAL" clId="{017D8426-9902-4B04-BBD0-FAEA2ACD55C9}" dt="2025-05-02T20:02:20.195" v="3228"/>
          <ac:spMkLst>
            <pc:docMk/>
            <pc:sldMk cId="1436275142" sldId="2147483462"/>
            <ac:spMk id="34" creationId="{5B3EB6EB-7D88-C2BC-13C2-21A564DE3746}"/>
          </ac:spMkLst>
        </pc:spChg>
        <pc:grpChg chg="add mod">
          <ac:chgData name="Aashish Ramdas" userId="58210aff-8d50-4a30-b819-63f7dcb02310" providerId="ADAL" clId="{017D8426-9902-4B04-BBD0-FAEA2ACD55C9}" dt="2025-05-02T20:02:42.231" v="3269" actId="1035"/>
          <ac:grpSpMkLst>
            <pc:docMk/>
            <pc:sldMk cId="1436275142" sldId="2147483462"/>
            <ac:grpSpMk id="8" creationId="{713E01D8-E55F-8F8F-5CF3-862D73F78787}"/>
          </ac:grpSpMkLst>
        </pc:grpChg>
        <pc:grpChg chg="mod">
          <ac:chgData name="Aashish Ramdas" userId="58210aff-8d50-4a30-b819-63f7dcb02310" providerId="ADAL" clId="{017D8426-9902-4B04-BBD0-FAEA2ACD55C9}" dt="2025-05-02T20:00:48.194" v="3206"/>
          <ac:grpSpMkLst>
            <pc:docMk/>
            <pc:sldMk cId="1436275142" sldId="2147483462"/>
            <ac:grpSpMk id="9" creationId="{FB5DB28D-B36E-0FE8-07D3-FE8CA327FB20}"/>
          </ac:grpSpMkLst>
        </pc:grpChg>
        <pc:grpChg chg="add mod">
          <ac:chgData name="Aashish Ramdas" userId="58210aff-8d50-4a30-b819-63f7dcb02310" providerId="ADAL" clId="{017D8426-9902-4B04-BBD0-FAEA2ACD55C9}" dt="2025-05-02T20:02:42.231" v="3269" actId="1035"/>
          <ac:grpSpMkLst>
            <pc:docMk/>
            <pc:sldMk cId="1436275142" sldId="2147483462"/>
            <ac:grpSpMk id="13" creationId="{9B3B2747-65EF-A9E4-6291-B594ED56D8C3}"/>
          </ac:grpSpMkLst>
        </pc:grpChg>
        <pc:grpChg chg="mod">
          <ac:chgData name="Aashish Ramdas" userId="58210aff-8d50-4a30-b819-63f7dcb02310" providerId="ADAL" clId="{017D8426-9902-4B04-BBD0-FAEA2ACD55C9}" dt="2025-05-02T20:01:27.642" v="3214"/>
          <ac:grpSpMkLst>
            <pc:docMk/>
            <pc:sldMk cId="1436275142" sldId="2147483462"/>
            <ac:grpSpMk id="14" creationId="{2C49D5E5-4D96-86AD-95B3-412E8FBB756F}"/>
          </ac:grpSpMkLst>
        </pc:grpChg>
        <pc:grpChg chg="add mod">
          <ac:chgData name="Aashish Ramdas" userId="58210aff-8d50-4a30-b819-63f7dcb02310" providerId="ADAL" clId="{017D8426-9902-4B04-BBD0-FAEA2ACD55C9}" dt="2025-05-02T20:02:42.231" v="3269" actId="1035"/>
          <ac:grpSpMkLst>
            <pc:docMk/>
            <pc:sldMk cId="1436275142" sldId="2147483462"/>
            <ac:grpSpMk id="18" creationId="{1D2324B2-BF6A-84AA-40B4-7304C1209263}"/>
          </ac:grpSpMkLst>
        </pc:grpChg>
        <pc:grpChg chg="mod">
          <ac:chgData name="Aashish Ramdas" userId="58210aff-8d50-4a30-b819-63f7dcb02310" providerId="ADAL" clId="{017D8426-9902-4B04-BBD0-FAEA2ACD55C9}" dt="2025-05-02T20:01:55.425" v="3220"/>
          <ac:grpSpMkLst>
            <pc:docMk/>
            <pc:sldMk cId="1436275142" sldId="2147483462"/>
            <ac:grpSpMk id="23" creationId="{562D0E87-7B6F-668F-6D90-78A8FBC1DD68}"/>
          </ac:grpSpMkLst>
        </pc:grpChg>
        <pc:grpChg chg="add mod">
          <ac:chgData name="Aashish Ramdas" userId="58210aff-8d50-4a30-b819-63f7dcb02310" providerId="ADAL" clId="{017D8426-9902-4B04-BBD0-FAEA2ACD55C9}" dt="2025-05-02T20:02:42.231" v="3269" actId="1035"/>
          <ac:grpSpMkLst>
            <pc:docMk/>
            <pc:sldMk cId="1436275142" sldId="2147483462"/>
            <ac:grpSpMk id="28" creationId="{03AC10E5-7E8E-8DA1-ED6E-B02EE4169DBE}"/>
          </ac:grpSpMkLst>
        </pc:grpChg>
        <pc:grpChg chg="mod">
          <ac:chgData name="Aashish Ramdas" userId="58210aff-8d50-4a30-b819-63f7dcb02310" providerId="ADAL" clId="{017D8426-9902-4B04-BBD0-FAEA2ACD55C9}" dt="2025-05-02T20:02:20.195" v="3228"/>
          <ac:grpSpMkLst>
            <pc:docMk/>
            <pc:sldMk cId="1436275142" sldId="2147483462"/>
            <ac:grpSpMk id="29" creationId="{76F7BF94-469A-30B0-F299-5DC4DAC8E524}"/>
          </ac:grpSpMkLst>
        </pc:grpChg>
      </pc:sldChg>
      <pc:sldChg chg="modSp del">
        <pc:chgData name="Aashish Ramdas" userId="58210aff-8d50-4a30-b819-63f7dcb02310" providerId="ADAL" clId="{017D8426-9902-4B04-BBD0-FAEA2ACD55C9}" dt="2025-05-02T18:53:45.936" v="2483" actId="2696"/>
        <pc:sldMkLst>
          <pc:docMk/>
          <pc:sldMk cId="543140509" sldId="2147483463"/>
        </pc:sldMkLst>
      </pc:sldChg>
      <pc:sldChg chg="add">
        <pc:chgData name="Aashish Ramdas" userId="58210aff-8d50-4a30-b819-63f7dcb02310" providerId="ADAL" clId="{017D8426-9902-4B04-BBD0-FAEA2ACD55C9}" dt="2025-05-02T18:53:53.045" v="2484"/>
        <pc:sldMkLst>
          <pc:docMk/>
          <pc:sldMk cId="1580223782" sldId="2147483463"/>
        </pc:sldMkLst>
      </pc:sldChg>
      <pc:sldChg chg="del">
        <pc:chgData name="Aashish Ramdas" userId="58210aff-8d50-4a30-b819-63f7dcb02310" providerId="ADAL" clId="{017D8426-9902-4B04-BBD0-FAEA2ACD55C9}" dt="2025-05-02T18:53:45.936" v="2483" actId="2696"/>
        <pc:sldMkLst>
          <pc:docMk/>
          <pc:sldMk cId="362948878" sldId="2147483475"/>
        </pc:sldMkLst>
      </pc:sldChg>
      <pc:sldChg chg="add del">
        <pc:chgData name="Aashish Ramdas" userId="58210aff-8d50-4a30-b819-63f7dcb02310" providerId="ADAL" clId="{017D8426-9902-4B04-BBD0-FAEA2ACD55C9}" dt="2025-05-02T19:28:45.490" v="2640" actId="47"/>
        <pc:sldMkLst>
          <pc:docMk/>
          <pc:sldMk cId="1282716767" sldId="2147483475"/>
        </pc:sldMkLst>
      </pc:sldChg>
      <pc:sldChg chg="add">
        <pc:chgData name="Aashish Ramdas" userId="58210aff-8d50-4a30-b819-63f7dcb02310" providerId="ADAL" clId="{017D8426-9902-4B04-BBD0-FAEA2ACD55C9}" dt="2025-05-02T18:53:53.045" v="2484"/>
        <pc:sldMkLst>
          <pc:docMk/>
          <pc:sldMk cId="240707795" sldId="2147483478"/>
        </pc:sldMkLst>
      </pc:sldChg>
      <pc:sldChg chg="modSp del">
        <pc:chgData name="Aashish Ramdas" userId="58210aff-8d50-4a30-b819-63f7dcb02310" providerId="ADAL" clId="{017D8426-9902-4B04-BBD0-FAEA2ACD55C9}" dt="2025-05-02T18:53:45.936" v="2483" actId="2696"/>
        <pc:sldMkLst>
          <pc:docMk/>
          <pc:sldMk cId="2247070929" sldId="2147483478"/>
        </pc:sldMkLst>
      </pc:sldChg>
      <pc:sldChg chg="modSp del">
        <pc:chgData name="Aashish Ramdas" userId="58210aff-8d50-4a30-b819-63f7dcb02310" providerId="ADAL" clId="{017D8426-9902-4B04-BBD0-FAEA2ACD55C9}" dt="2025-05-02T18:53:45.936" v="2483" actId="2696"/>
        <pc:sldMkLst>
          <pc:docMk/>
          <pc:sldMk cId="1518477975" sldId="2147483484"/>
        </pc:sldMkLst>
      </pc:sldChg>
      <pc:sldChg chg="add del">
        <pc:chgData name="Aashish Ramdas" userId="58210aff-8d50-4a30-b819-63f7dcb02310" providerId="ADAL" clId="{017D8426-9902-4B04-BBD0-FAEA2ACD55C9}" dt="2025-05-02T19:29:36.916" v="2646" actId="47"/>
        <pc:sldMkLst>
          <pc:docMk/>
          <pc:sldMk cId="2087941534" sldId="2147483484"/>
        </pc:sldMkLst>
      </pc:sldChg>
      <pc:sldChg chg="add ord">
        <pc:chgData name="Aashish Ramdas" userId="58210aff-8d50-4a30-b819-63f7dcb02310" providerId="ADAL" clId="{017D8426-9902-4B04-BBD0-FAEA2ACD55C9}" dt="2025-05-02T19:19:05.503" v="2615"/>
        <pc:sldMkLst>
          <pc:docMk/>
          <pc:sldMk cId="1002680215" sldId="2147483487"/>
        </pc:sldMkLst>
      </pc:sldChg>
      <pc:sldChg chg="modSp del">
        <pc:chgData name="Aashish Ramdas" userId="58210aff-8d50-4a30-b819-63f7dcb02310" providerId="ADAL" clId="{017D8426-9902-4B04-BBD0-FAEA2ACD55C9}" dt="2025-05-02T18:53:45.936" v="2483" actId="2696"/>
        <pc:sldMkLst>
          <pc:docMk/>
          <pc:sldMk cId="2763625404" sldId="2147483487"/>
        </pc:sldMkLst>
      </pc:sldChg>
      <pc:sldChg chg="modSp add mod">
        <pc:chgData name="Aashish Ramdas" userId="58210aff-8d50-4a30-b819-63f7dcb02310" providerId="ADAL" clId="{017D8426-9902-4B04-BBD0-FAEA2ACD55C9}" dt="2025-05-02T21:06:55.161" v="3699" actId="14100"/>
        <pc:sldMkLst>
          <pc:docMk/>
          <pc:sldMk cId="2284162329" sldId="2147483488"/>
        </pc:sldMkLst>
        <pc:spChg chg="mod">
          <ac:chgData name="Aashish Ramdas" userId="58210aff-8d50-4a30-b819-63f7dcb02310" providerId="ADAL" clId="{017D8426-9902-4B04-BBD0-FAEA2ACD55C9}" dt="2025-05-02T21:06:55.161" v="3699" actId="14100"/>
          <ac:spMkLst>
            <pc:docMk/>
            <pc:sldMk cId="2284162329" sldId="2147483488"/>
            <ac:spMk id="3" creationId="{9587E96E-E24B-68F0-C5B7-D90186499258}"/>
          </ac:spMkLst>
        </pc:spChg>
      </pc:sldChg>
      <pc:sldChg chg="del">
        <pc:chgData name="Aashish Ramdas" userId="58210aff-8d50-4a30-b819-63f7dcb02310" providerId="ADAL" clId="{017D8426-9902-4B04-BBD0-FAEA2ACD55C9}" dt="2025-05-02T18:53:45.936" v="2483" actId="2696"/>
        <pc:sldMkLst>
          <pc:docMk/>
          <pc:sldMk cId="3942835095" sldId="2147483488"/>
        </pc:sldMkLst>
      </pc:sldChg>
      <pc:sldChg chg="add">
        <pc:chgData name="Aashish Ramdas" userId="58210aff-8d50-4a30-b819-63f7dcb02310" providerId="ADAL" clId="{017D8426-9902-4B04-BBD0-FAEA2ACD55C9}" dt="2025-05-02T18:53:53.045" v="2484"/>
        <pc:sldMkLst>
          <pc:docMk/>
          <pc:sldMk cId="197134191" sldId="2147483489"/>
        </pc:sldMkLst>
      </pc:sldChg>
      <pc:sldChg chg="del">
        <pc:chgData name="Aashish Ramdas" userId="58210aff-8d50-4a30-b819-63f7dcb02310" providerId="ADAL" clId="{017D8426-9902-4B04-BBD0-FAEA2ACD55C9}" dt="2025-05-02T18:53:45.936" v="2483" actId="2696"/>
        <pc:sldMkLst>
          <pc:docMk/>
          <pc:sldMk cId="2908563836" sldId="2147483489"/>
        </pc:sldMkLst>
      </pc:sldChg>
      <pc:sldChg chg="add">
        <pc:chgData name="Aashish Ramdas" userId="58210aff-8d50-4a30-b819-63f7dcb02310" providerId="ADAL" clId="{017D8426-9902-4B04-BBD0-FAEA2ACD55C9}" dt="2025-05-02T18:53:53.045" v="2484"/>
        <pc:sldMkLst>
          <pc:docMk/>
          <pc:sldMk cId="2526465080" sldId="2147483490"/>
        </pc:sldMkLst>
      </pc:sldChg>
      <pc:sldChg chg="del">
        <pc:chgData name="Aashish Ramdas" userId="58210aff-8d50-4a30-b819-63f7dcb02310" providerId="ADAL" clId="{017D8426-9902-4B04-BBD0-FAEA2ACD55C9}" dt="2025-05-02T18:53:45.936" v="2483" actId="2696"/>
        <pc:sldMkLst>
          <pc:docMk/>
          <pc:sldMk cId="2639666339" sldId="2147483490"/>
        </pc:sldMkLst>
      </pc:sldChg>
      <pc:sldChg chg="add">
        <pc:chgData name="Aashish Ramdas" userId="58210aff-8d50-4a30-b819-63f7dcb02310" providerId="ADAL" clId="{017D8426-9902-4B04-BBD0-FAEA2ACD55C9}" dt="2025-05-02T18:53:53.045" v="2484"/>
        <pc:sldMkLst>
          <pc:docMk/>
          <pc:sldMk cId="572497218" sldId="2147483491"/>
        </pc:sldMkLst>
      </pc:sldChg>
      <pc:sldChg chg="del">
        <pc:chgData name="Aashish Ramdas" userId="58210aff-8d50-4a30-b819-63f7dcb02310" providerId="ADAL" clId="{017D8426-9902-4B04-BBD0-FAEA2ACD55C9}" dt="2025-05-02T18:53:45.936" v="2483" actId="2696"/>
        <pc:sldMkLst>
          <pc:docMk/>
          <pc:sldMk cId="3550179878" sldId="2147483491"/>
        </pc:sldMkLst>
      </pc:sldChg>
      <pc:sldChg chg="modSp del">
        <pc:chgData name="Aashish Ramdas" userId="58210aff-8d50-4a30-b819-63f7dcb02310" providerId="ADAL" clId="{017D8426-9902-4B04-BBD0-FAEA2ACD55C9}" dt="2025-05-02T18:53:45.936" v="2483" actId="2696"/>
        <pc:sldMkLst>
          <pc:docMk/>
          <pc:sldMk cId="453569925" sldId="2147483492"/>
        </pc:sldMkLst>
      </pc:sldChg>
      <pc:sldChg chg="addSp delSp modSp add mod modClrScheme chgLayout">
        <pc:chgData name="Aashish Ramdas" userId="58210aff-8d50-4a30-b819-63f7dcb02310" providerId="ADAL" clId="{017D8426-9902-4B04-BBD0-FAEA2ACD55C9}" dt="2025-05-02T19:34:22.711" v="2778" actId="12789"/>
        <pc:sldMkLst>
          <pc:docMk/>
          <pc:sldMk cId="1068060702" sldId="2147483492"/>
        </pc:sldMkLst>
        <pc:spChg chg="add mod">
          <ac:chgData name="Aashish Ramdas" userId="58210aff-8d50-4a30-b819-63f7dcb02310" providerId="ADAL" clId="{017D8426-9902-4B04-BBD0-FAEA2ACD55C9}" dt="2025-05-02T19:34:22.711" v="2778" actId="12789"/>
          <ac:spMkLst>
            <pc:docMk/>
            <pc:sldMk cId="1068060702" sldId="2147483492"/>
            <ac:spMk id="3" creationId="{562F4688-53D0-5D4A-72E2-EC07B53D1DB8}"/>
          </ac:spMkLst>
        </pc:spChg>
      </pc:sldChg>
      <pc:sldChg chg="add">
        <pc:chgData name="Aashish Ramdas" userId="58210aff-8d50-4a30-b819-63f7dcb02310" providerId="ADAL" clId="{017D8426-9902-4B04-BBD0-FAEA2ACD55C9}" dt="2025-05-02T18:53:53.045" v="2484"/>
        <pc:sldMkLst>
          <pc:docMk/>
          <pc:sldMk cId="3365979024" sldId="2147483493"/>
        </pc:sldMkLst>
      </pc:sldChg>
      <pc:sldChg chg="del">
        <pc:chgData name="Aashish Ramdas" userId="58210aff-8d50-4a30-b819-63f7dcb02310" providerId="ADAL" clId="{017D8426-9902-4B04-BBD0-FAEA2ACD55C9}" dt="2025-05-02T18:53:45.936" v="2483" actId="2696"/>
        <pc:sldMkLst>
          <pc:docMk/>
          <pc:sldMk cId="3678424499" sldId="2147483493"/>
        </pc:sldMkLst>
      </pc:sldChg>
      <pc:sldChg chg="modSp del">
        <pc:chgData name="Aashish Ramdas" userId="58210aff-8d50-4a30-b819-63f7dcb02310" providerId="ADAL" clId="{017D8426-9902-4B04-BBD0-FAEA2ACD55C9}" dt="2025-05-02T18:53:45.936" v="2483" actId="2696"/>
        <pc:sldMkLst>
          <pc:docMk/>
          <pc:sldMk cId="413974656" sldId="2147483494"/>
        </pc:sldMkLst>
      </pc:sldChg>
      <pc:sldChg chg="addSp delSp modSp add mod delAnim modAnim">
        <pc:chgData name="Aashish Ramdas" userId="58210aff-8d50-4a30-b819-63f7dcb02310" providerId="ADAL" clId="{017D8426-9902-4B04-BBD0-FAEA2ACD55C9}" dt="2025-05-02T21:04:23.856" v="3678" actId="14100"/>
        <pc:sldMkLst>
          <pc:docMk/>
          <pc:sldMk cId="2726808283" sldId="2147483494"/>
        </pc:sldMkLst>
        <pc:picChg chg="add mod modCrop">
          <ac:chgData name="Aashish Ramdas" userId="58210aff-8d50-4a30-b819-63f7dcb02310" providerId="ADAL" clId="{017D8426-9902-4B04-BBD0-FAEA2ACD55C9}" dt="2025-05-02T21:04:15.022" v="3659" actId="1076"/>
          <ac:picMkLst>
            <pc:docMk/>
            <pc:sldMk cId="2726808283" sldId="2147483494"/>
            <ac:picMk id="4" creationId="{9F3995B6-AED7-40EA-9AE2-B0B3AD26C496}"/>
          </ac:picMkLst>
        </pc:picChg>
        <pc:cxnChg chg="add mod">
          <ac:chgData name="Aashish Ramdas" userId="58210aff-8d50-4a30-b819-63f7dcb02310" providerId="ADAL" clId="{017D8426-9902-4B04-BBD0-FAEA2ACD55C9}" dt="2025-05-02T21:04:23.856" v="3678" actId="14100"/>
          <ac:cxnSpMkLst>
            <pc:docMk/>
            <pc:sldMk cId="2726808283" sldId="2147483494"/>
            <ac:cxnSpMk id="7" creationId="{89E8A18F-BB34-0713-9408-F94D5F181A84}"/>
          </ac:cxnSpMkLst>
        </pc:cxnChg>
      </pc:sldChg>
      <pc:sldChg chg="add del">
        <pc:chgData name="Aashish Ramdas" userId="58210aff-8d50-4a30-b819-63f7dcb02310" providerId="ADAL" clId="{017D8426-9902-4B04-BBD0-FAEA2ACD55C9}" dt="2025-05-02T19:14:15.319" v="2526" actId="47"/>
        <pc:sldMkLst>
          <pc:docMk/>
          <pc:sldMk cId="3790461325" sldId="2147483497"/>
        </pc:sldMkLst>
      </pc:sldChg>
      <pc:sldChg chg="modSp del">
        <pc:chgData name="Aashish Ramdas" userId="58210aff-8d50-4a30-b819-63f7dcb02310" providerId="ADAL" clId="{017D8426-9902-4B04-BBD0-FAEA2ACD55C9}" dt="2025-05-02T18:53:45.936" v="2483" actId="2696"/>
        <pc:sldMkLst>
          <pc:docMk/>
          <pc:sldMk cId="3894445686" sldId="2147483497"/>
        </pc:sldMkLst>
      </pc:sldChg>
      <pc:sldChg chg="addSp modSp add mod modAnim">
        <pc:chgData name="Aashish Ramdas" userId="58210aff-8d50-4a30-b819-63f7dcb02310" providerId="ADAL" clId="{017D8426-9902-4B04-BBD0-FAEA2ACD55C9}" dt="2025-05-02T21:00:40.580" v="3574" actId="14100"/>
        <pc:sldMkLst>
          <pc:docMk/>
          <pc:sldMk cId="45770292" sldId="2147483498"/>
        </pc:sldMkLst>
        <pc:spChg chg="add mod">
          <ac:chgData name="Aashish Ramdas" userId="58210aff-8d50-4a30-b819-63f7dcb02310" providerId="ADAL" clId="{017D8426-9902-4B04-BBD0-FAEA2ACD55C9}" dt="2025-05-02T21:00:40.580" v="3574" actId="14100"/>
          <ac:spMkLst>
            <pc:docMk/>
            <pc:sldMk cId="45770292" sldId="2147483498"/>
            <ac:spMk id="3" creationId="{80AE886B-61A4-926A-6D00-CBA2C9816C4C}"/>
          </ac:spMkLst>
        </pc:spChg>
      </pc:sldChg>
      <pc:sldChg chg="modSp del">
        <pc:chgData name="Aashish Ramdas" userId="58210aff-8d50-4a30-b819-63f7dcb02310" providerId="ADAL" clId="{017D8426-9902-4B04-BBD0-FAEA2ACD55C9}" dt="2025-05-02T18:53:45.936" v="2483" actId="2696"/>
        <pc:sldMkLst>
          <pc:docMk/>
          <pc:sldMk cId="3779791826" sldId="2147483498"/>
        </pc:sldMkLst>
      </pc:sldChg>
      <pc:sldChg chg="modSp ord modTransition">
        <pc:chgData name="Aashish Ramdas" userId="58210aff-8d50-4a30-b819-63f7dcb02310" providerId="ADAL" clId="{017D8426-9902-4B04-BBD0-FAEA2ACD55C9}" dt="2025-05-02T18:53:03.101" v="2478"/>
        <pc:sldMkLst>
          <pc:docMk/>
          <pc:sldMk cId="2039002620" sldId="2147483503"/>
        </pc:sldMkLst>
        <pc:spChg chg="mod">
          <ac:chgData name="Aashish Ramdas" userId="58210aff-8d50-4a30-b819-63f7dcb02310" providerId="ADAL" clId="{017D8426-9902-4B04-BBD0-FAEA2ACD55C9}" dt="2025-05-02T18:08:14.295" v="1240"/>
          <ac:spMkLst>
            <pc:docMk/>
            <pc:sldMk cId="2039002620" sldId="2147483503"/>
            <ac:spMk id="3" creationId="{61A9DC08-91C0-A9B3-AF5D-7DDD8CDC94FF}"/>
          </ac:spMkLst>
        </pc:spChg>
      </pc:sldChg>
      <pc:sldChg chg="addSp delSp modSp add mod">
        <pc:chgData name="Aashish Ramdas" userId="58210aff-8d50-4a30-b819-63f7dcb02310" providerId="ADAL" clId="{017D8426-9902-4B04-BBD0-FAEA2ACD55C9}" dt="2025-05-02T19:52:30.465" v="3097" actId="1076"/>
        <pc:sldMkLst>
          <pc:docMk/>
          <pc:sldMk cId="1952471886" sldId="2147483504"/>
        </pc:sldMkLst>
        <pc:spChg chg="mod">
          <ac:chgData name="Aashish Ramdas" userId="58210aff-8d50-4a30-b819-63f7dcb02310" providerId="ADAL" clId="{017D8426-9902-4B04-BBD0-FAEA2ACD55C9}" dt="2025-05-02T19:51:33.422" v="3083" actId="14100"/>
          <ac:spMkLst>
            <pc:docMk/>
            <pc:sldMk cId="1952471886" sldId="2147483504"/>
            <ac:spMk id="2" creationId="{F6C0D86F-AB28-8EE7-0DDF-18444125BF4C}"/>
          </ac:spMkLst>
        </pc:spChg>
        <pc:spChg chg="add mod">
          <ac:chgData name="Aashish Ramdas" userId="58210aff-8d50-4a30-b819-63f7dcb02310" providerId="ADAL" clId="{017D8426-9902-4B04-BBD0-FAEA2ACD55C9}" dt="2025-05-02T19:39:45.154" v="2863" actId="1076"/>
          <ac:spMkLst>
            <pc:docMk/>
            <pc:sldMk cId="1952471886" sldId="2147483504"/>
            <ac:spMk id="5" creationId="{DA485298-40A8-A563-D054-9C23F11A5871}"/>
          </ac:spMkLst>
        </pc:spChg>
        <pc:spChg chg="mod">
          <ac:chgData name="Aashish Ramdas" userId="58210aff-8d50-4a30-b819-63f7dcb02310" providerId="ADAL" clId="{017D8426-9902-4B04-BBD0-FAEA2ACD55C9}" dt="2025-05-02T19:51:26.524" v="3082" actId="14100"/>
          <ac:spMkLst>
            <pc:docMk/>
            <pc:sldMk cId="1952471886" sldId="2147483504"/>
            <ac:spMk id="7" creationId="{457652B5-A28F-EAE7-C646-7458EE4A4B59}"/>
          </ac:spMkLst>
        </pc:spChg>
        <pc:spChg chg="mod">
          <ac:chgData name="Aashish Ramdas" userId="58210aff-8d50-4a30-b819-63f7dcb02310" providerId="ADAL" clId="{017D8426-9902-4B04-BBD0-FAEA2ACD55C9}" dt="2025-05-02T19:37:57.518" v="2787"/>
          <ac:spMkLst>
            <pc:docMk/>
            <pc:sldMk cId="1952471886" sldId="2147483504"/>
            <ac:spMk id="8" creationId="{25A6359E-8AF7-60B2-BA39-7B162C85F0C4}"/>
          </ac:spMkLst>
        </pc:spChg>
        <pc:spChg chg="add mod">
          <ac:chgData name="Aashish Ramdas" userId="58210aff-8d50-4a30-b819-63f7dcb02310" providerId="ADAL" clId="{017D8426-9902-4B04-BBD0-FAEA2ACD55C9}" dt="2025-05-02T19:43:22.853" v="2908" actId="12788"/>
          <ac:spMkLst>
            <pc:docMk/>
            <pc:sldMk cId="1952471886" sldId="2147483504"/>
            <ac:spMk id="9" creationId="{8A692CF1-C190-4A84-D25C-EFB6482C95EA}"/>
          </ac:spMkLst>
        </pc:spChg>
        <pc:spChg chg="add mod">
          <ac:chgData name="Aashish Ramdas" userId="58210aff-8d50-4a30-b819-63f7dcb02310" providerId="ADAL" clId="{017D8426-9902-4B04-BBD0-FAEA2ACD55C9}" dt="2025-05-02T19:52:30.465" v="3097" actId="1076"/>
          <ac:spMkLst>
            <pc:docMk/>
            <pc:sldMk cId="1952471886" sldId="2147483504"/>
            <ac:spMk id="11" creationId="{647F862F-676B-D01D-0605-8A7D68E4FB9C}"/>
          </ac:spMkLst>
        </pc:spChg>
        <pc:spChg chg="add mod">
          <ac:chgData name="Aashish Ramdas" userId="58210aff-8d50-4a30-b819-63f7dcb02310" providerId="ADAL" clId="{017D8426-9902-4B04-BBD0-FAEA2ACD55C9}" dt="2025-05-02T19:51:21.901" v="3081" actId="1035"/>
          <ac:spMkLst>
            <pc:docMk/>
            <pc:sldMk cId="1952471886" sldId="2147483504"/>
            <ac:spMk id="12" creationId="{C58D3D84-496C-4491-D230-FCF18D6E270D}"/>
          </ac:spMkLst>
        </pc:spChg>
        <pc:spChg chg="add mod">
          <ac:chgData name="Aashish Ramdas" userId="58210aff-8d50-4a30-b819-63f7dcb02310" providerId="ADAL" clId="{017D8426-9902-4B04-BBD0-FAEA2ACD55C9}" dt="2025-05-02T19:52:19.456" v="3091" actId="1036"/>
          <ac:spMkLst>
            <pc:docMk/>
            <pc:sldMk cId="1952471886" sldId="2147483504"/>
            <ac:spMk id="17" creationId="{16167E88-0E91-DCCC-221D-EE04AA5E4803}"/>
          </ac:spMkLst>
        </pc:spChg>
        <pc:spChg chg="add mod">
          <ac:chgData name="Aashish Ramdas" userId="58210aff-8d50-4a30-b819-63f7dcb02310" providerId="ADAL" clId="{017D8426-9902-4B04-BBD0-FAEA2ACD55C9}" dt="2025-05-02T19:51:21.901" v="3081" actId="1035"/>
          <ac:spMkLst>
            <pc:docMk/>
            <pc:sldMk cId="1952471886" sldId="2147483504"/>
            <ac:spMk id="18" creationId="{7228564B-840D-64C6-EFDB-35C6205A279F}"/>
          </ac:spMkLst>
        </pc:spChg>
        <pc:spChg chg="mod">
          <ac:chgData name="Aashish Ramdas" userId="58210aff-8d50-4a30-b819-63f7dcb02310" providerId="ADAL" clId="{017D8426-9902-4B04-BBD0-FAEA2ACD55C9}" dt="2025-05-02T19:52:19.456" v="3091" actId="1036"/>
          <ac:spMkLst>
            <pc:docMk/>
            <pc:sldMk cId="1952471886" sldId="2147483504"/>
            <ac:spMk id="23" creationId="{905D7087-4290-CF04-576E-ED3D06127E16}"/>
          </ac:spMkLst>
        </pc:spChg>
        <pc:spChg chg="add mod">
          <ac:chgData name="Aashish Ramdas" userId="58210aff-8d50-4a30-b819-63f7dcb02310" providerId="ADAL" clId="{017D8426-9902-4B04-BBD0-FAEA2ACD55C9}" dt="2025-05-02T19:51:21.901" v="3081" actId="1035"/>
          <ac:spMkLst>
            <pc:docMk/>
            <pc:sldMk cId="1952471886" sldId="2147483504"/>
            <ac:spMk id="25" creationId="{6A79BEAE-BD2C-AB24-8290-EB7366869B81}"/>
          </ac:spMkLst>
        </pc:spChg>
        <pc:spChg chg="mod">
          <ac:chgData name="Aashish Ramdas" userId="58210aff-8d50-4a30-b819-63f7dcb02310" providerId="ADAL" clId="{017D8426-9902-4B04-BBD0-FAEA2ACD55C9}" dt="2025-05-02T19:51:21.901" v="3081" actId="1035"/>
          <ac:spMkLst>
            <pc:docMk/>
            <pc:sldMk cId="1952471886" sldId="2147483504"/>
            <ac:spMk id="28" creationId="{1596FF2A-B489-1EFC-E2AD-A4C5CB03E46A}"/>
          </ac:spMkLst>
        </pc:spChg>
        <pc:spChg chg="add mod">
          <ac:chgData name="Aashish Ramdas" userId="58210aff-8d50-4a30-b819-63f7dcb02310" providerId="ADAL" clId="{017D8426-9902-4B04-BBD0-FAEA2ACD55C9}" dt="2025-05-02T19:52:19.456" v="3091" actId="1036"/>
          <ac:spMkLst>
            <pc:docMk/>
            <pc:sldMk cId="1952471886" sldId="2147483504"/>
            <ac:spMk id="30" creationId="{C5B2F4D0-2BC1-91EC-9AB3-88F8E05DD99F}"/>
          </ac:spMkLst>
        </pc:spChg>
        <pc:spChg chg="add mod">
          <ac:chgData name="Aashish Ramdas" userId="58210aff-8d50-4a30-b819-63f7dcb02310" providerId="ADAL" clId="{017D8426-9902-4B04-BBD0-FAEA2ACD55C9}" dt="2025-05-02T19:51:21.901" v="3081" actId="1035"/>
          <ac:spMkLst>
            <pc:docMk/>
            <pc:sldMk cId="1952471886" sldId="2147483504"/>
            <ac:spMk id="31" creationId="{E2EAD1B8-8939-67C3-0D9A-A529A4ED648D}"/>
          </ac:spMkLst>
        </pc:spChg>
        <pc:spChg chg="mod">
          <ac:chgData name="Aashish Ramdas" userId="58210aff-8d50-4a30-b819-63f7dcb02310" providerId="ADAL" clId="{017D8426-9902-4B04-BBD0-FAEA2ACD55C9}" dt="2025-05-02T19:42:22.422" v="2886" actId="1036"/>
          <ac:spMkLst>
            <pc:docMk/>
            <pc:sldMk cId="1952471886" sldId="2147483504"/>
            <ac:spMk id="33" creationId="{35C2A676-B849-6AF0-6EB6-2DFA92CB15BC}"/>
          </ac:spMkLst>
        </pc:spChg>
        <pc:spChg chg="mod">
          <ac:chgData name="Aashish Ramdas" userId="58210aff-8d50-4a30-b819-63f7dcb02310" providerId="ADAL" clId="{017D8426-9902-4B04-BBD0-FAEA2ACD55C9}" dt="2025-05-02T19:42:22.422" v="2886" actId="1036"/>
          <ac:spMkLst>
            <pc:docMk/>
            <pc:sldMk cId="1952471886" sldId="2147483504"/>
            <ac:spMk id="38" creationId="{F09A8AED-034D-DA05-577B-37B15F0F662D}"/>
          </ac:spMkLst>
        </pc:spChg>
        <pc:spChg chg="mod">
          <ac:chgData name="Aashish Ramdas" userId="58210aff-8d50-4a30-b819-63f7dcb02310" providerId="ADAL" clId="{017D8426-9902-4B04-BBD0-FAEA2ACD55C9}" dt="2025-05-02T19:42:22.422" v="2886" actId="1036"/>
          <ac:spMkLst>
            <pc:docMk/>
            <pc:sldMk cId="1952471886" sldId="2147483504"/>
            <ac:spMk id="39" creationId="{65EC9CB0-7918-2231-6E08-FE2B38E69DF2}"/>
          </ac:spMkLst>
        </pc:spChg>
        <pc:spChg chg="mod">
          <ac:chgData name="Aashish Ramdas" userId="58210aff-8d50-4a30-b819-63f7dcb02310" providerId="ADAL" clId="{017D8426-9902-4B04-BBD0-FAEA2ACD55C9}" dt="2025-05-02T19:42:22.422" v="2886" actId="1036"/>
          <ac:spMkLst>
            <pc:docMk/>
            <pc:sldMk cId="1952471886" sldId="2147483504"/>
            <ac:spMk id="40" creationId="{316806F3-8E20-0563-F4B4-2995A55B5BD9}"/>
          </ac:spMkLst>
        </pc:spChg>
        <pc:spChg chg="mod">
          <ac:chgData name="Aashish Ramdas" userId="58210aff-8d50-4a30-b819-63f7dcb02310" providerId="ADAL" clId="{017D8426-9902-4B04-BBD0-FAEA2ACD55C9}" dt="2025-05-02T19:48:46.550" v="3028" actId="108"/>
          <ac:spMkLst>
            <pc:docMk/>
            <pc:sldMk cId="1952471886" sldId="2147483504"/>
            <ac:spMk id="48" creationId="{36F310FB-78A3-196D-7047-4E805EFAB522}"/>
          </ac:spMkLst>
        </pc:spChg>
        <pc:spChg chg="mod">
          <ac:chgData name="Aashish Ramdas" userId="58210aff-8d50-4a30-b819-63f7dcb02310" providerId="ADAL" clId="{017D8426-9902-4B04-BBD0-FAEA2ACD55C9}" dt="2025-05-02T19:48:46.550" v="3028" actId="108"/>
          <ac:spMkLst>
            <pc:docMk/>
            <pc:sldMk cId="1952471886" sldId="2147483504"/>
            <ac:spMk id="49" creationId="{34CB3EA7-1DC8-F93A-6EDD-9378A230AE2F}"/>
          </ac:spMkLst>
        </pc:spChg>
        <pc:spChg chg="mod">
          <ac:chgData name="Aashish Ramdas" userId="58210aff-8d50-4a30-b819-63f7dcb02310" providerId="ADAL" clId="{017D8426-9902-4B04-BBD0-FAEA2ACD55C9}" dt="2025-05-02T19:48:46.550" v="3028" actId="108"/>
          <ac:spMkLst>
            <pc:docMk/>
            <pc:sldMk cId="1952471886" sldId="2147483504"/>
            <ac:spMk id="50" creationId="{0D9095C2-1FF4-363E-575D-462A7F8AFA37}"/>
          </ac:spMkLst>
        </pc:spChg>
        <pc:spChg chg="mod">
          <ac:chgData name="Aashish Ramdas" userId="58210aff-8d50-4a30-b819-63f7dcb02310" providerId="ADAL" clId="{017D8426-9902-4B04-BBD0-FAEA2ACD55C9}" dt="2025-05-02T19:48:46.550" v="3028" actId="108"/>
          <ac:spMkLst>
            <pc:docMk/>
            <pc:sldMk cId="1952471886" sldId="2147483504"/>
            <ac:spMk id="51" creationId="{1BA1ED3B-C513-689A-1BE1-016644C395F1}"/>
          </ac:spMkLst>
        </pc:spChg>
        <pc:spChg chg="mod">
          <ac:chgData name="Aashish Ramdas" userId="58210aff-8d50-4a30-b819-63f7dcb02310" providerId="ADAL" clId="{017D8426-9902-4B04-BBD0-FAEA2ACD55C9}" dt="2025-05-02T19:51:21.901" v="3081" actId="1035"/>
          <ac:spMkLst>
            <pc:docMk/>
            <pc:sldMk cId="1952471886" sldId="2147483504"/>
            <ac:spMk id="54" creationId="{CF8B28E6-F3AB-19EF-BED5-349FCE606550}"/>
          </ac:spMkLst>
        </pc:spChg>
        <pc:spChg chg="mod">
          <ac:chgData name="Aashish Ramdas" userId="58210aff-8d50-4a30-b819-63f7dcb02310" providerId="ADAL" clId="{017D8426-9902-4B04-BBD0-FAEA2ACD55C9}" dt="2025-05-02T19:42:22.422" v="2886" actId="1036"/>
          <ac:spMkLst>
            <pc:docMk/>
            <pc:sldMk cId="1952471886" sldId="2147483504"/>
            <ac:spMk id="66" creationId="{782BB402-588F-0694-9253-218DDD9FF587}"/>
          </ac:spMkLst>
        </pc:spChg>
        <pc:spChg chg="mod">
          <ac:chgData name="Aashish Ramdas" userId="58210aff-8d50-4a30-b819-63f7dcb02310" providerId="ADAL" clId="{017D8426-9902-4B04-BBD0-FAEA2ACD55C9}" dt="2025-05-02T19:42:22.422" v="2886" actId="1036"/>
          <ac:spMkLst>
            <pc:docMk/>
            <pc:sldMk cId="1952471886" sldId="2147483504"/>
            <ac:spMk id="67" creationId="{D2B62709-6FAB-C445-1375-436E5E9F0A73}"/>
          </ac:spMkLst>
        </pc:spChg>
        <pc:spChg chg="mod">
          <ac:chgData name="Aashish Ramdas" userId="58210aff-8d50-4a30-b819-63f7dcb02310" providerId="ADAL" clId="{017D8426-9902-4B04-BBD0-FAEA2ACD55C9}" dt="2025-05-02T19:42:22.422" v="2886" actId="1036"/>
          <ac:spMkLst>
            <pc:docMk/>
            <pc:sldMk cId="1952471886" sldId="2147483504"/>
            <ac:spMk id="68" creationId="{4437DE1D-DCF6-1946-AB30-E348F2819271}"/>
          </ac:spMkLst>
        </pc:spChg>
        <pc:spChg chg="mod">
          <ac:chgData name="Aashish Ramdas" userId="58210aff-8d50-4a30-b819-63f7dcb02310" providerId="ADAL" clId="{017D8426-9902-4B04-BBD0-FAEA2ACD55C9}" dt="2025-05-02T19:42:22.422" v="2886" actId="1036"/>
          <ac:spMkLst>
            <pc:docMk/>
            <pc:sldMk cId="1952471886" sldId="2147483504"/>
            <ac:spMk id="73" creationId="{1F8C2D2A-1A53-EBC6-2AE7-813AA17C4B17}"/>
          </ac:spMkLst>
        </pc:spChg>
        <pc:spChg chg="mod">
          <ac:chgData name="Aashish Ramdas" userId="58210aff-8d50-4a30-b819-63f7dcb02310" providerId="ADAL" clId="{017D8426-9902-4B04-BBD0-FAEA2ACD55C9}" dt="2025-05-02T19:52:08.392" v="3085" actId="20577"/>
          <ac:spMkLst>
            <pc:docMk/>
            <pc:sldMk cId="1952471886" sldId="2147483504"/>
            <ac:spMk id="108" creationId="{10EA43B0-2080-4AB3-4048-5EB799E8E4EB}"/>
          </ac:spMkLst>
        </pc:spChg>
        <pc:spChg chg="mod">
          <ac:chgData name="Aashish Ramdas" userId="58210aff-8d50-4a30-b819-63f7dcb02310" providerId="ADAL" clId="{017D8426-9902-4B04-BBD0-FAEA2ACD55C9}" dt="2025-05-02T19:42:22.422" v="2886" actId="1036"/>
          <ac:spMkLst>
            <pc:docMk/>
            <pc:sldMk cId="1952471886" sldId="2147483504"/>
            <ac:spMk id="110" creationId="{86131D93-374F-1CB3-2A0C-77E2A783B8AE}"/>
          </ac:spMkLst>
        </pc:spChg>
        <pc:grpChg chg="mod">
          <ac:chgData name="Aashish Ramdas" userId="58210aff-8d50-4a30-b819-63f7dcb02310" providerId="ADAL" clId="{017D8426-9902-4B04-BBD0-FAEA2ACD55C9}" dt="2025-05-02T19:50:41.957" v="3045" actId="14100"/>
          <ac:grpSpMkLst>
            <pc:docMk/>
            <pc:sldMk cId="1952471886" sldId="2147483504"/>
            <ac:grpSpMk id="47" creationId="{0E9BECFB-9DF9-37C7-5E4D-5424D359750D}"/>
          </ac:grpSpMkLst>
        </pc:grpChg>
        <pc:picChg chg="add mod">
          <ac:chgData name="Aashish Ramdas" userId="58210aff-8d50-4a30-b819-63f7dcb02310" providerId="ADAL" clId="{017D8426-9902-4B04-BBD0-FAEA2ACD55C9}" dt="2025-05-02T19:40:22.128" v="2879" actId="1037"/>
          <ac:picMkLst>
            <pc:docMk/>
            <pc:sldMk cId="1952471886" sldId="2147483504"/>
            <ac:picMk id="6" creationId="{7190F2FE-FDF8-954E-AEB5-6ED0BEE08EC6}"/>
          </ac:picMkLst>
        </pc:picChg>
      </pc:sldChg>
      <pc:sldChg chg="del">
        <pc:chgData name="Aashish Ramdas" userId="58210aff-8d50-4a30-b819-63f7dcb02310" providerId="ADAL" clId="{017D8426-9902-4B04-BBD0-FAEA2ACD55C9}" dt="2025-05-02T19:10:57.173" v="2506" actId="47"/>
        <pc:sldMkLst>
          <pc:docMk/>
          <pc:sldMk cId="1455460576" sldId="2147483506"/>
        </pc:sldMkLst>
      </pc:sldChg>
      <pc:sldChg chg="del">
        <pc:chgData name="Aashish Ramdas" userId="58210aff-8d50-4a30-b819-63f7dcb02310" providerId="ADAL" clId="{017D8426-9902-4B04-BBD0-FAEA2ACD55C9}" dt="2025-05-02T20:56:46.571" v="3530" actId="47"/>
        <pc:sldMkLst>
          <pc:docMk/>
          <pc:sldMk cId="3946587777" sldId="2147483507"/>
        </pc:sldMkLst>
      </pc:sldChg>
      <pc:sldChg chg="addSp delSp modSp del mod modClrScheme chgLayout">
        <pc:chgData name="Aashish Ramdas" userId="58210aff-8d50-4a30-b819-63f7dcb02310" providerId="ADAL" clId="{017D8426-9902-4B04-BBD0-FAEA2ACD55C9}" dt="2025-05-02T20:15:48.062" v="3272" actId="47"/>
        <pc:sldMkLst>
          <pc:docMk/>
          <pc:sldMk cId="950946790" sldId="2147483509"/>
        </pc:sldMkLst>
      </pc:sldChg>
      <pc:sldChg chg="del">
        <pc:chgData name="Aashish Ramdas" userId="58210aff-8d50-4a30-b819-63f7dcb02310" providerId="ADAL" clId="{017D8426-9902-4B04-BBD0-FAEA2ACD55C9}" dt="2025-05-02T19:11:20.152" v="2508" actId="47"/>
        <pc:sldMkLst>
          <pc:docMk/>
          <pc:sldMk cId="1112767105" sldId="2147483510"/>
        </pc:sldMkLst>
      </pc:sldChg>
      <pc:sldChg chg="mod modShow">
        <pc:chgData name="Aashish Ramdas" userId="58210aff-8d50-4a30-b819-63f7dcb02310" providerId="ADAL" clId="{017D8426-9902-4B04-BBD0-FAEA2ACD55C9}" dt="2025-05-02T19:03:08.105" v="2493" actId="729"/>
        <pc:sldMkLst>
          <pc:docMk/>
          <pc:sldMk cId="1328980405" sldId="2147483513"/>
        </pc:sldMkLst>
      </pc:sldChg>
      <pc:sldChg chg="del">
        <pc:chgData name="Aashish Ramdas" userId="58210aff-8d50-4a30-b819-63f7dcb02310" providerId="ADAL" clId="{017D8426-9902-4B04-BBD0-FAEA2ACD55C9}" dt="2025-05-02T18:34:07.413" v="1678" actId="2696"/>
        <pc:sldMkLst>
          <pc:docMk/>
          <pc:sldMk cId="410907468" sldId="2147483582"/>
        </pc:sldMkLst>
      </pc:sldChg>
      <pc:sldChg chg="add del">
        <pc:chgData name="Aashish Ramdas" userId="58210aff-8d50-4a30-b819-63f7dcb02310" providerId="ADAL" clId="{017D8426-9902-4B04-BBD0-FAEA2ACD55C9}" dt="2025-05-02T21:15:50.022" v="3746" actId="18676"/>
        <pc:sldMkLst>
          <pc:docMk/>
          <pc:sldMk cId="2311372289" sldId="2147483582"/>
        </pc:sldMkLst>
      </pc:sldChg>
      <pc:sldChg chg="del">
        <pc:chgData name="Aashish Ramdas" userId="58210aff-8d50-4a30-b819-63f7dcb02310" providerId="ADAL" clId="{017D8426-9902-4B04-BBD0-FAEA2ACD55C9}" dt="2025-05-02T18:34:07.413" v="1678" actId="2696"/>
        <pc:sldMkLst>
          <pc:docMk/>
          <pc:sldMk cId="3583129047" sldId="2147483597"/>
        </pc:sldMkLst>
      </pc:sldChg>
      <pc:sldChg chg="add del">
        <pc:chgData name="Aashish Ramdas" userId="58210aff-8d50-4a30-b819-63f7dcb02310" providerId="ADAL" clId="{017D8426-9902-4B04-BBD0-FAEA2ACD55C9}" dt="2025-05-02T21:15:50.022" v="3746" actId="18676"/>
        <pc:sldMkLst>
          <pc:docMk/>
          <pc:sldMk cId="3877675623" sldId="2147483597"/>
        </pc:sldMkLst>
      </pc:sldChg>
      <pc:sldChg chg="modSp del mod modClrScheme chgLayout">
        <pc:chgData name="Aashish Ramdas" userId="58210aff-8d50-4a30-b819-63f7dcb02310" providerId="ADAL" clId="{017D8426-9902-4B04-BBD0-FAEA2ACD55C9}" dt="2025-05-02T18:46:31.266" v="2131" actId="47"/>
        <pc:sldMkLst>
          <pc:docMk/>
          <pc:sldMk cId="2391138826" sldId="2147483615"/>
        </pc:sldMkLst>
      </pc:sldChg>
      <pc:sldChg chg="mod ord modShow">
        <pc:chgData name="Aashish Ramdas" userId="58210aff-8d50-4a30-b819-63f7dcb02310" providerId="ADAL" clId="{017D8426-9902-4B04-BBD0-FAEA2ACD55C9}" dt="2025-05-02T18:28:32.058" v="1653" actId="729"/>
        <pc:sldMkLst>
          <pc:docMk/>
          <pc:sldMk cId="1231840033" sldId="2147483616"/>
        </pc:sldMkLst>
      </pc:sldChg>
      <pc:sldChg chg="modSp del">
        <pc:chgData name="Aashish Ramdas" userId="58210aff-8d50-4a30-b819-63f7dcb02310" providerId="ADAL" clId="{017D8426-9902-4B04-BBD0-FAEA2ACD55C9}" dt="2025-05-02T18:34:07.413" v="1678" actId="2696"/>
        <pc:sldMkLst>
          <pc:docMk/>
          <pc:sldMk cId="89334465" sldId="2147483635"/>
        </pc:sldMkLst>
      </pc:sldChg>
      <pc:sldChg chg="add del">
        <pc:chgData name="Aashish Ramdas" userId="58210aff-8d50-4a30-b819-63f7dcb02310" providerId="ADAL" clId="{017D8426-9902-4B04-BBD0-FAEA2ACD55C9}" dt="2025-05-02T21:15:50.022" v="3746" actId="18676"/>
        <pc:sldMkLst>
          <pc:docMk/>
          <pc:sldMk cId="4053029759" sldId="2147483635"/>
        </pc:sldMkLst>
      </pc:sldChg>
      <pc:sldChg chg="add del">
        <pc:chgData name="Aashish Ramdas" userId="58210aff-8d50-4a30-b819-63f7dcb02310" providerId="ADAL" clId="{017D8426-9902-4B04-BBD0-FAEA2ACD55C9}" dt="2025-05-02T21:15:50.022" v="3746" actId="18676"/>
        <pc:sldMkLst>
          <pc:docMk/>
          <pc:sldMk cId="361820445" sldId="2147483644"/>
        </pc:sldMkLst>
      </pc:sldChg>
      <pc:sldChg chg="addSp delSp modSp del mod ord modTransition modShow">
        <pc:chgData name="Aashish Ramdas" userId="58210aff-8d50-4a30-b819-63f7dcb02310" providerId="ADAL" clId="{017D8426-9902-4B04-BBD0-FAEA2ACD55C9}" dt="2025-05-02T18:34:29.698" v="1680" actId="2696"/>
        <pc:sldMkLst>
          <pc:docMk/>
          <pc:sldMk cId="2444228563" sldId="2147483644"/>
        </pc:sldMkLst>
      </pc:sldChg>
      <pc:sldChg chg="modSp mod ord">
        <pc:chgData name="Aashish Ramdas" userId="58210aff-8d50-4a30-b819-63f7dcb02310" providerId="ADAL" clId="{017D8426-9902-4B04-BBD0-FAEA2ACD55C9}" dt="2025-05-02T18:54:19.610" v="2488"/>
        <pc:sldMkLst>
          <pc:docMk/>
          <pc:sldMk cId="1430100880" sldId="2147483645"/>
        </pc:sldMkLst>
      </pc:sldChg>
      <pc:sldChg chg="del">
        <pc:chgData name="Aashish Ramdas" userId="58210aff-8d50-4a30-b819-63f7dcb02310" providerId="ADAL" clId="{017D8426-9902-4B04-BBD0-FAEA2ACD55C9}" dt="2025-05-02T18:34:07.413" v="1678" actId="2696"/>
        <pc:sldMkLst>
          <pc:docMk/>
          <pc:sldMk cId="2444120879" sldId="2147483646"/>
        </pc:sldMkLst>
      </pc:sldChg>
      <pc:sldChg chg="add del">
        <pc:chgData name="Aashish Ramdas" userId="58210aff-8d50-4a30-b819-63f7dcb02310" providerId="ADAL" clId="{017D8426-9902-4B04-BBD0-FAEA2ACD55C9}" dt="2025-05-02T21:15:50.022" v="3746" actId="18676"/>
        <pc:sldMkLst>
          <pc:docMk/>
          <pc:sldMk cId="3899354158" sldId="2147483646"/>
        </pc:sldMkLst>
      </pc:sldChg>
      <pc:sldChg chg="add del">
        <pc:chgData name="Aashish Ramdas" userId="58210aff-8d50-4a30-b819-63f7dcb02310" providerId="ADAL" clId="{017D8426-9902-4B04-BBD0-FAEA2ACD55C9}" dt="2025-05-02T21:15:50.022" v="3746" actId="18676"/>
        <pc:sldMkLst>
          <pc:docMk/>
          <pc:sldMk cId="873734146" sldId="2147483647"/>
        </pc:sldMkLst>
      </pc:sldChg>
      <pc:sldChg chg="del">
        <pc:chgData name="Aashish Ramdas" userId="58210aff-8d50-4a30-b819-63f7dcb02310" providerId="ADAL" clId="{017D8426-9902-4B04-BBD0-FAEA2ACD55C9}" dt="2025-05-02T18:34:07.413" v="1678" actId="2696"/>
        <pc:sldMkLst>
          <pc:docMk/>
          <pc:sldMk cId="4271065264" sldId="2147483647"/>
        </pc:sldMkLst>
      </pc:sldChg>
      <pc:sldMasterChg chg="addSldLayout delSldLayout">
        <pc:chgData name="Aashish Ramdas" userId="58210aff-8d50-4a30-b819-63f7dcb02310" providerId="ADAL" clId="{017D8426-9902-4B04-BBD0-FAEA2ACD55C9}" dt="2025-05-02T20:58:26.531" v="3543" actId="47"/>
        <pc:sldMasterMkLst>
          <pc:docMk/>
          <pc:sldMasterMk cId="74843748" sldId="2147483648"/>
        </pc:sldMasterMkLst>
        <pc:sldLayoutChg chg="del">
          <pc:chgData name="Aashish Ramdas" userId="58210aff-8d50-4a30-b819-63f7dcb02310" providerId="ADAL" clId="{017D8426-9902-4B04-BBD0-FAEA2ACD55C9}" dt="2025-05-02T20:15:48.062" v="3272" actId="47"/>
          <pc:sldLayoutMkLst>
            <pc:docMk/>
            <pc:sldMasterMk cId="74843748" sldId="2147483648"/>
            <pc:sldLayoutMk cId="2554018685" sldId="2147483667"/>
          </pc:sldLayoutMkLst>
        </pc:sldLayoutChg>
        <pc:sldLayoutChg chg="del">
          <pc:chgData name="Aashish Ramdas" userId="58210aff-8d50-4a30-b819-63f7dcb02310" providerId="ADAL" clId="{017D8426-9902-4B04-BBD0-FAEA2ACD55C9}" dt="2025-05-02T19:10:57.173" v="2506" actId="47"/>
          <pc:sldLayoutMkLst>
            <pc:docMk/>
            <pc:sldMasterMk cId="74843748" sldId="2147483648"/>
            <pc:sldLayoutMk cId="963403885" sldId="2147484062"/>
          </pc:sldLayoutMkLst>
        </pc:sldLayoutChg>
        <pc:sldLayoutChg chg="del">
          <pc:chgData name="Aashish Ramdas" userId="58210aff-8d50-4a30-b819-63f7dcb02310" providerId="ADAL" clId="{017D8426-9902-4B04-BBD0-FAEA2ACD55C9}" dt="2025-05-02T18:53:45.936" v="2483" actId="2696"/>
          <pc:sldLayoutMkLst>
            <pc:docMk/>
            <pc:sldMasterMk cId="74843748" sldId="2147483648"/>
            <pc:sldLayoutMk cId="2547766327" sldId="2147484063"/>
          </pc:sldLayoutMkLst>
        </pc:sldLayoutChg>
        <pc:sldLayoutChg chg="del">
          <pc:chgData name="Aashish Ramdas" userId="58210aff-8d50-4a30-b819-63f7dcb02310" providerId="ADAL" clId="{017D8426-9902-4B04-BBD0-FAEA2ACD55C9}" dt="2025-05-02T19:30:27.222" v="2650" actId="47"/>
          <pc:sldLayoutMkLst>
            <pc:docMk/>
            <pc:sldMasterMk cId="74843748" sldId="2147483648"/>
            <pc:sldLayoutMk cId="1994743713" sldId="2147484064"/>
          </pc:sldLayoutMkLst>
        </pc:sldLayoutChg>
        <pc:sldLayoutChg chg="del">
          <pc:chgData name="Aashish Ramdas" userId="58210aff-8d50-4a30-b819-63f7dcb02310" providerId="ADAL" clId="{017D8426-9902-4B04-BBD0-FAEA2ACD55C9}" dt="2025-05-02T18:53:45.936" v="2483" actId="2696"/>
          <pc:sldLayoutMkLst>
            <pc:docMk/>
            <pc:sldMasterMk cId="74843748" sldId="2147483648"/>
            <pc:sldLayoutMk cId="3833750174" sldId="2147484064"/>
          </pc:sldLayoutMkLst>
        </pc:sldLayoutChg>
        <pc:sldLayoutChg chg="del">
          <pc:chgData name="Aashish Ramdas" userId="58210aff-8d50-4a30-b819-63f7dcb02310" providerId="ADAL" clId="{017D8426-9902-4B04-BBD0-FAEA2ACD55C9}" dt="2025-05-02T18:53:45.936" v="2483" actId="2696"/>
          <pc:sldLayoutMkLst>
            <pc:docMk/>
            <pc:sldMasterMk cId="74843748" sldId="2147483648"/>
            <pc:sldLayoutMk cId="2676692502" sldId="2147484065"/>
          </pc:sldLayoutMkLst>
        </pc:sldLayoutChg>
        <pc:sldLayoutChg chg="del">
          <pc:chgData name="Aashish Ramdas" userId="58210aff-8d50-4a30-b819-63f7dcb02310" providerId="ADAL" clId="{017D8426-9902-4B04-BBD0-FAEA2ACD55C9}" dt="2025-05-02T18:53:45.936" v="2483" actId="2696"/>
          <pc:sldLayoutMkLst>
            <pc:docMk/>
            <pc:sldMasterMk cId="74843748" sldId="2147483648"/>
            <pc:sldLayoutMk cId="1519829020" sldId="2147484066"/>
          </pc:sldLayoutMkLst>
        </pc:sldLayoutChg>
        <pc:sldLayoutChg chg="add del">
          <pc:chgData name="Aashish Ramdas" userId="58210aff-8d50-4a30-b819-63f7dcb02310" providerId="ADAL" clId="{017D8426-9902-4B04-BBD0-FAEA2ACD55C9}" dt="2025-05-02T20:58:26.531" v="3543" actId="47"/>
          <pc:sldLayoutMkLst>
            <pc:docMk/>
            <pc:sldMasterMk cId="74843748" sldId="2147483648"/>
            <pc:sldLayoutMk cId="1992230187" sldId="2147484066"/>
          </pc:sldLayoutMkLst>
        </pc:sldLayoutChg>
        <pc:sldLayoutChg chg="del">
          <pc:chgData name="Aashish Ramdas" userId="58210aff-8d50-4a30-b819-63f7dcb02310" providerId="ADAL" clId="{017D8426-9902-4B04-BBD0-FAEA2ACD55C9}" dt="2025-05-02T19:08:03.612" v="2502" actId="47"/>
          <pc:sldLayoutMkLst>
            <pc:docMk/>
            <pc:sldMasterMk cId="74843748" sldId="2147483648"/>
            <pc:sldLayoutMk cId="2293940973" sldId="2147484067"/>
          </pc:sldLayoutMkLst>
        </pc:sldLayoutChg>
      </pc:sldMasterChg>
      <pc:sldMasterChg chg="delSldLayout">
        <pc:chgData name="Aashish Ramdas" userId="58210aff-8d50-4a30-b819-63f7dcb02310" providerId="ADAL" clId="{017D8426-9902-4B04-BBD0-FAEA2ACD55C9}" dt="2025-05-02T18:00:02.927" v="1055" actId="47"/>
        <pc:sldMasterMkLst>
          <pc:docMk/>
          <pc:sldMasterMk cId="423711694" sldId="2147483757"/>
        </pc:sldMasterMkLst>
        <pc:sldLayoutChg chg="del">
          <pc:chgData name="Aashish Ramdas" userId="58210aff-8d50-4a30-b819-63f7dcb02310" providerId="ADAL" clId="{017D8426-9902-4B04-BBD0-FAEA2ACD55C9}" dt="2025-05-02T18:00:02.927" v="1055" actId="47"/>
          <pc:sldLayoutMkLst>
            <pc:docMk/>
            <pc:sldMasterMk cId="423711694" sldId="2147483757"/>
            <pc:sldLayoutMk cId="2375101368" sldId="2147484060"/>
          </pc:sldLayoutMkLst>
        </pc:sldLayoutChg>
      </pc:sldMasterChg>
      <pc:sldMasterChg chg="modSldLayout">
        <pc:chgData name="Aashish Ramdas" userId="58210aff-8d50-4a30-b819-63f7dcb02310" providerId="ADAL" clId="{017D8426-9902-4B04-BBD0-FAEA2ACD55C9}" dt="2025-05-02T19:26:18.959" v="2629"/>
        <pc:sldMasterMkLst>
          <pc:docMk/>
          <pc:sldMasterMk cId="555472262" sldId="2147484067"/>
        </pc:sldMasterMkLst>
        <pc:sldLayoutChg chg="setBg">
          <pc:chgData name="Aashish Ramdas" userId="58210aff-8d50-4a30-b819-63f7dcb02310" providerId="ADAL" clId="{017D8426-9902-4B04-BBD0-FAEA2ACD55C9}" dt="2025-05-02T19:26:18.959" v="2629"/>
          <pc:sldLayoutMkLst>
            <pc:docMk/>
            <pc:sldMasterMk cId="555472262" sldId="2147484067"/>
            <pc:sldLayoutMk cId="1582958918" sldId="2147484069"/>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4154245686" sldId="2147484070"/>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1941626771" sldId="2147484071"/>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1681643833" sldId="2147484072"/>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1220486337" sldId="2147484074"/>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310229921" sldId="2147484076"/>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3905428800" sldId="2147484110"/>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3833106734" sldId="2147484111"/>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2230594781" sldId="2147484112"/>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2115561535" sldId="2147484113"/>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276929675" sldId="2147484114"/>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599456932" sldId="2147484115"/>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3800253130" sldId="2147484116"/>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4156981846" sldId="2147484117"/>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719764058" sldId="2147484118"/>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2393268275" sldId="2147484119"/>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4228411595" sldId="2147484120"/>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3719665683" sldId="2147484122"/>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299994670" sldId="2147484123"/>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1163109169" sldId="2147484124"/>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118483468" sldId="2147484125"/>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4034085687" sldId="2147484126"/>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2658120123" sldId="2147484127"/>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2934914862" sldId="2147484128"/>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2487019482" sldId="2147484129"/>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1938284908" sldId="2147484130"/>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3602397758" sldId="2147484131"/>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3550748689" sldId="2147484132"/>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3310589808" sldId="2147484133"/>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50601072" sldId="2147484136"/>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3617689672" sldId="2147484139"/>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4091118351" sldId="2147484140"/>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820714292" sldId="2147484141"/>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1448649011" sldId="2147484142"/>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1444314441" sldId="2147484143"/>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1284185263" sldId="2147484144"/>
          </pc:sldLayoutMkLst>
        </pc:sldLayoutChg>
        <pc:sldLayoutChg chg="setBg">
          <pc:chgData name="Aashish Ramdas" userId="58210aff-8d50-4a30-b819-63f7dcb02310" providerId="ADAL" clId="{017D8426-9902-4B04-BBD0-FAEA2ACD55C9}" dt="2025-05-02T19:26:18.959" v="2629"/>
          <pc:sldLayoutMkLst>
            <pc:docMk/>
            <pc:sldMasterMk cId="555472262" sldId="2147484067"/>
            <pc:sldLayoutMk cId="1946136056" sldId="2147484148"/>
          </pc:sldLayoutMkLst>
        </pc:sldLayoutChg>
      </pc:sldMasterChg>
      <pc:sldMasterChg chg="del">
        <pc:chgData name="Aashish Ramdas" userId="58210aff-8d50-4a30-b819-63f7dcb02310" providerId="ADAL" clId="{017D8426-9902-4B04-BBD0-FAEA2ACD55C9}" dt="2025-05-02T21:16:43.696" v="3751" actId="2696"/>
        <pc:sldMasterMkLst>
          <pc:docMk/>
          <pc:sldMasterMk cId="1923385893" sldId="2147484067"/>
        </pc:sldMasterMkLst>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D4C1868-81E2-47AD-A0CA-8BC794D7BB91}" type="datetimeFigureOut">
              <a:rPr lang="en-US" smtClean="0"/>
              <a:t>5/1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7C39E19-974F-4B90-B9A5-596933717C14}" type="slidenum">
              <a:rPr lang="en-US" smtClean="0"/>
              <a:t>‹#›</a:t>
            </a:fld>
            <a:endParaRPr lang="en-US"/>
          </a:p>
        </p:txBody>
      </p:sp>
    </p:spTree>
    <p:extLst>
      <p:ext uri="{BB962C8B-B14F-4D97-AF65-F5344CB8AC3E}">
        <p14:creationId xmlns:p14="http://schemas.microsoft.com/office/powerpoint/2010/main" val="41865692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63030E-2E36-995B-0C83-97D64229C4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0C1B07-5CAC-478F-E949-1028C422F1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2B2646-4216-2CC1-E0C0-466E7CCE33F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88831EE-C745-1251-6A44-44F10F1375EA}"/>
              </a:ext>
            </a:extLst>
          </p:cNvPr>
          <p:cNvSpPr>
            <a:spLocks noGrp="1"/>
          </p:cNvSpPr>
          <p:nvPr>
            <p:ph type="sldNum" sz="quarter" idx="5"/>
          </p:nvPr>
        </p:nvSpPr>
        <p:spPr/>
        <p:txBody>
          <a:bodyPr/>
          <a:lstStyle/>
          <a:p>
            <a:fld id="{F7C39E19-974F-4B90-B9A5-596933717C14}" type="slidenum">
              <a:rPr lang="en-US" smtClean="0"/>
              <a:t>3</a:t>
            </a:fld>
            <a:endParaRPr lang="en-US"/>
          </a:p>
        </p:txBody>
      </p:sp>
    </p:spTree>
    <p:extLst>
      <p:ext uri="{BB962C8B-B14F-4D97-AF65-F5344CB8AC3E}">
        <p14:creationId xmlns:p14="http://schemas.microsoft.com/office/powerpoint/2010/main" val="34895644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9D86E2-01B3-C4C4-C58E-B5FC9141AF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993F9A-8FDA-030E-1E43-34C5D1A6B949}"/>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78DA4C74-5D90-51E2-35D4-C696DC4CA2C4}"/>
              </a:ext>
            </a:extLst>
          </p:cNvPr>
          <p:cNvSpPr>
            <a:spLocks noGrp="1"/>
          </p:cNvSpPr>
          <p:nvPr>
            <p:ph type="body" idx="1"/>
          </p:nvPr>
        </p:nvSpPr>
        <p:spPr/>
        <p:txBody>
          <a:bodyPr/>
          <a:lstStyle/>
          <a:p>
            <a:r>
              <a:rPr lang="en-US" sz="1800"/>
              <a:t>At Ignite, we introduced our vision and strategy for Copilot + Agents. </a:t>
            </a:r>
          </a:p>
          <a:p>
            <a:r>
              <a:rPr lang="en-US" sz="1800"/>
              <a:t>It all starts with people and human ingenuity. </a:t>
            </a:r>
          </a:p>
          <a:p>
            <a:r>
              <a:rPr lang="en-US" sz="1800" b="1"/>
              <a:t>We envision every employee having a Copilot – their trusted AI assistant. Copilot understands you and your work context, and it provides a consistent user experience to interact with AI. </a:t>
            </a:r>
          </a:p>
          <a:p>
            <a:r>
              <a:rPr lang="en-US" sz="1800" b="1"/>
              <a:t>Agents augment Copilot by adding skills and knowledge to automate tasks and business processes.</a:t>
            </a:r>
          </a:p>
          <a:p>
            <a:endParaRPr lang="en-US" sz="1800" b="1"/>
          </a:p>
          <a:p>
            <a:pPr marL="0" marR="0" lvl="0" indent="0" algn="l" defTabSz="914367" rtl="0" eaLnBrk="1" fontAlgn="auto" latinLnBrk="0" hangingPunct="1">
              <a:lnSpc>
                <a:spcPct val="90000"/>
              </a:lnSpc>
              <a:spcBef>
                <a:spcPts val="0"/>
              </a:spcBef>
              <a:spcAft>
                <a:spcPts val="333"/>
              </a:spcAft>
              <a:buClrTx/>
              <a:buSzTx/>
              <a:buFontTx/>
              <a:buNone/>
              <a:tabLst/>
              <a:defRPr/>
            </a:pPr>
            <a:r>
              <a:rPr lang="en-US" sz="1800" b="1"/>
              <a:t>Our ambition is to empower every employee with a Copilot and to transform every process with agents.</a:t>
            </a:r>
          </a:p>
          <a:p>
            <a:endParaRPr lang="en-US" sz="1800"/>
          </a:p>
          <a:p>
            <a:r>
              <a:rPr lang="en-US" sz="1800"/>
              <a:t>Importantly, we provide governance and controls for data protection, agent management, and the reporting needed to measure business outcomes.  </a:t>
            </a:r>
            <a:r>
              <a:rPr lang="en-US" sz="1600">
                <a:effectLst/>
                <a:latin typeface="Aptos" panose="020B0004020202020204" pitchFamily="34" charset="0"/>
                <a:ea typeface="Aptos" panose="020B0004020202020204" pitchFamily="34" charset="0"/>
                <a:cs typeface="Times New Roman" panose="02020603050405020304" pitchFamily="18" charset="0"/>
              </a:rPr>
              <a:t>This is what we announced at Ignite as the “Copilot Control System”. </a:t>
            </a:r>
          </a:p>
          <a:p>
            <a:endParaRPr lang="en-US" sz="1600">
              <a:effectLst/>
              <a:latin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t>Just like everyone today has a smart phone with many apps.  Everyone will have a Copilot with many Agents.</a:t>
            </a:r>
          </a:p>
          <a:p>
            <a:endParaRPr lang="en-US" sz="1600">
              <a:cs typeface="Segoe Sans Display"/>
            </a:endParaRPr>
          </a:p>
          <a:p>
            <a:endParaRPr lang="en-US" sz="1800">
              <a:cs typeface="Segoe Sans Display"/>
            </a:endParaRPr>
          </a:p>
        </p:txBody>
      </p:sp>
      <p:sp>
        <p:nvSpPr>
          <p:cNvPr id="4" name="Slide Number Placeholder 3">
            <a:extLst>
              <a:ext uri="{FF2B5EF4-FFF2-40B4-BE49-F238E27FC236}">
                <a16:creationId xmlns:a16="http://schemas.microsoft.com/office/drawing/2014/main" id="{208A2BCB-3640-4896-6C23-30EC5F889E85}"/>
              </a:ext>
            </a:extLst>
          </p:cNvPr>
          <p:cNvSpPr>
            <a:spLocks noGrp="1"/>
          </p:cNvSpPr>
          <p:nvPr>
            <p:ph type="sldNum" sz="quarter" idx="5"/>
          </p:nvPr>
        </p:nvSpPr>
        <p:spPr/>
        <p:txBody>
          <a:bodyPr/>
          <a:lstStyle/>
          <a:p>
            <a:pPr marL="0" marR="0" lvl="0" indent="0" algn="r" defTabSz="1786473" rtl="0" eaLnBrk="1" fontAlgn="auto" latinLnBrk="0" hangingPunct="1">
              <a:lnSpc>
                <a:spcPct val="100000"/>
              </a:lnSpc>
              <a:spcBef>
                <a:spcPts val="0"/>
              </a:spcBef>
              <a:spcAft>
                <a:spcPts val="0"/>
              </a:spcAft>
              <a:buClrTx/>
              <a:buSzTx/>
              <a:buFontTx/>
              <a:buNone/>
              <a:tabLst/>
              <a:defRPr/>
            </a:pPr>
            <a:fld id="{760CD717-BA3E-410B-AAE6-2C9310D382AA}"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86473" rtl="0" eaLnBrk="1" fontAlgn="auto" latinLnBrk="0" hangingPunct="1">
                <a:lnSpc>
                  <a:spcPct val="100000"/>
                </a:lnSpc>
                <a:spcBef>
                  <a:spcPts val="0"/>
                </a:spcBef>
                <a:spcAft>
                  <a:spcPts val="0"/>
                </a:spcAft>
                <a:buClrTx/>
                <a:buSzTx/>
                <a:buFontTx/>
                <a:buNone/>
                <a:tabLst/>
                <a:defRPr/>
              </a:pPr>
              <a:t>1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86641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5AA1CE-A57B-C8D2-86C9-81B2276719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962544-0E51-FF79-1D4A-8256A88B03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1949B7-A34D-9B5C-B4F6-B1C840982083}"/>
              </a:ext>
            </a:extLst>
          </p:cNvPr>
          <p:cNvSpPr>
            <a:spLocks noGrp="1"/>
          </p:cNvSpPr>
          <p:nvPr>
            <p:ph type="body" idx="1"/>
          </p:nvPr>
        </p:nvSpPr>
        <p:spPr/>
        <p:txBody>
          <a:bodyPr/>
          <a:lstStyle/>
          <a:p>
            <a:r>
              <a:rPr lang="en-US"/>
              <a:t>To help you with adoption, the Copilot Readiness Hub is an open one stop shop for content, organized by role for your Copilot for Microsoft 365 journey.  </a:t>
            </a:r>
          </a:p>
          <a:p>
            <a:endParaRPr lang="en-US"/>
          </a:p>
          <a:p>
            <a:r>
              <a:rPr lang="en-US"/>
              <a:t>You can use its recommendations to prepare and plan for your deployment, create a user experience strategy as I’ve presented today, and an adoption plan. </a:t>
            </a:r>
          </a:p>
          <a:p>
            <a:endParaRPr lang="en-US"/>
          </a:p>
          <a:p>
            <a:r>
              <a:rPr lang="en-US"/>
              <a:t>And as Copilot continues to evolve, keep coming back for new content that is published regularly.  </a:t>
            </a:r>
          </a:p>
          <a:p>
            <a:endParaRPr lang="en-US"/>
          </a:p>
          <a:p>
            <a:r>
              <a:rPr lang="en-US"/>
              <a:t>You can also join the Copilot for Microsoft 365 community to get your questions answered and meet others who are leveraging Copilot for Microsoft 365 right now.</a:t>
            </a:r>
          </a:p>
        </p:txBody>
      </p:sp>
      <p:sp>
        <p:nvSpPr>
          <p:cNvPr id="4" name="Slide Number Placeholder 3">
            <a:extLst>
              <a:ext uri="{FF2B5EF4-FFF2-40B4-BE49-F238E27FC236}">
                <a16:creationId xmlns:a16="http://schemas.microsoft.com/office/drawing/2014/main" id="{3A3744D0-3309-D334-D473-4E4953C0927D}"/>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0BEF674-687C-4523-AB9A-39F3E48DCA2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927228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nSpc>
                <a:spcPct val="115000"/>
              </a:lnSpc>
              <a:buFont typeface="Courier New" panose="02070309020205020404" pitchFamily="49" charset="0"/>
              <a:buChar char="o"/>
            </a:pPr>
            <a:r>
              <a:rPr lang="en-US" sz="1200" kern="100">
                <a:effectLst/>
                <a:latin typeface="Aptos" panose="020B0004020202020204" pitchFamily="34" charset="0"/>
                <a:ea typeface="Aptos" panose="020B0004020202020204" pitchFamily="34" charset="0"/>
                <a:cs typeface="Times New Roman" panose="02020603050405020304" pitchFamily="18" charset="0"/>
              </a:rPr>
              <a:t>AI transformation is rapidly reshaping every industry, organization and business function</a:t>
            </a:r>
          </a:p>
          <a:p>
            <a:pPr marL="285750" marR="0" lvl="0" indent="-285750">
              <a:lnSpc>
                <a:spcPct val="115000"/>
              </a:lnSpc>
              <a:buFont typeface="Courier New" panose="02070309020205020404" pitchFamily="49" charset="0"/>
              <a:buChar char="o"/>
            </a:pPr>
            <a:r>
              <a:rPr lang="en-US" sz="1200" kern="100">
                <a:effectLst/>
                <a:latin typeface="Aptos" panose="020B0004020202020204" pitchFamily="34" charset="0"/>
                <a:ea typeface="Aptos" panose="020B0004020202020204" pitchFamily="34" charset="0"/>
                <a:cs typeface="Times New Roman" panose="02020603050405020304" pitchFamily="18" charset="0"/>
              </a:rPr>
              <a:t>There are analyst studies indicating organizations are observing material benefits from the use of Generative AI</a:t>
            </a:r>
          </a:p>
          <a:p>
            <a:pPr marL="285750" marR="0" lvl="0" indent="-285750">
              <a:lnSpc>
                <a:spcPct val="115000"/>
              </a:lnSpc>
              <a:spcAft>
                <a:spcPts val="800"/>
              </a:spcAft>
              <a:buFont typeface="Courier New" panose="02070309020205020404" pitchFamily="49" charset="0"/>
              <a:buChar char="o"/>
            </a:pPr>
            <a:r>
              <a:rPr lang="en-US" sz="1200" kern="100">
                <a:effectLst/>
                <a:latin typeface="Aptos" panose="020B0004020202020204" pitchFamily="34" charset="0"/>
                <a:ea typeface="Aptos" panose="020B0004020202020204" pitchFamily="34" charset="0"/>
                <a:cs typeface="Times New Roman" panose="02020603050405020304" pitchFamily="18" charset="0"/>
              </a:rPr>
              <a:t>Employee demand for AI at work is growing and companies are racing to enable AI in a responsible manner which is secure, compliant and govern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9CCCD7-65E2-45DB-B0AD-6B06DD9C289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150850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990D45-AFFF-37FE-44BD-B2C44666CB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522B4E-1F95-AB08-CEF2-39D92DAD71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400F07-4FB5-5A33-11C3-796C5BC40910}"/>
              </a:ext>
            </a:extLst>
          </p:cNvPr>
          <p:cNvSpPr>
            <a:spLocks noGrp="1"/>
          </p:cNvSpPr>
          <p:nvPr>
            <p:ph type="body" idx="1"/>
          </p:nvPr>
        </p:nvSpPr>
        <p:spPr/>
        <p:txBody>
          <a:bodyPr/>
          <a:lstStyle/>
          <a:p>
            <a:r>
              <a:rPr lang="en-US"/>
              <a:t>As mentioned earlier in the slides, Copilot is built with foundational security in mind, with Microsoft's comprehensive approach to security, compliance, privacy and responsible AI. On top of that, you can layer on additional security capabilities to discover AI risks, protect sensitive data, and govern Copilot usage.</a:t>
            </a:r>
          </a:p>
          <a:p>
            <a:pPr marL="171450" indent="-171450">
              <a:buFont typeface="Arial"/>
              <a:buChar char="•"/>
            </a:pPr>
            <a:endParaRPr lang="en-US"/>
          </a:p>
          <a:p>
            <a:pPr marL="171450" indent="-171450">
              <a:buFont typeface="Arial"/>
              <a:buChar char="•"/>
            </a:pPr>
            <a:r>
              <a:rPr lang="en-US"/>
              <a:t>Discover AI risks: First, security and IT teams must assess the data risks associated with user activities in Copilot. For instance, they should identify the types of sensitive data shared within Copilot prompts and understand the user risk context during these interactions. Organizations can leverage our pre-built classifiers to detect sensitive information such as credit card numbers, passport details, and custom SITs. Additionally, all user interactions in Copilot are logged, enabling organizations to review activities and identify potential risks. Lastly, organizations can proactively identify instances of overshared content within SharePoint sites by reviewing the site permissions.</a:t>
            </a:r>
          </a:p>
          <a:p>
            <a:pPr marL="171450" indent="-171450">
              <a:buFont typeface="Arial"/>
              <a:buChar char="•"/>
            </a:pPr>
            <a:endParaRPr lang="en-US"/>
          </a:p>
          <a:p>
            <a:pPr marL="171450" indent="-171450">
              <a:buFont typeface="Arial"/>
              <a:buChar char="•"/>
            </a:pPr>
            <a:r>
              <a:rPr lang="en-US"/>
              <a:t>Protect sensitive data: After understanding the risks, organizations can implement controls to safeguard data. They can establish labeling and Data Loss Prevention (DLP) policies to mitigate the risks of oversharing and data leakage. Additionally, leveraging conditional access policies ensures that Copilot usage occurs through secure and governed identities and devices, reducing potential security threats. Lastly, organizations can implement SharePoint site-wide access controls to eliminate idle or excessive access to sensitive data.</a:t>
            </a:r>
          </a:p>
          <a:p>
            <a:pPr marL="171450" indent="-171450">
              <a:buFont typeface="Arial"/>
              <a:buChar char="•"/>
            </a:pPr>
            <a:endParaRPr lang="en-US"/>
          </a:p>
          <a:p>
            <a:pPr marL="171450" indent="-171450">
              <a:buFont typeface="Arial"/>
              <a:buChar char="•"/>
            </a:pPr>
            <a:r>
              <a:rPr lang="en-US"/>
              <a:t>Govern Copilot usage: To ensure compliant usage of Copilot, organizations can establish retention policies for Copilot interactions and utilize our pre-built classifiers (such as gifts &amp; entertainment, unauthorized disclosure, and stock manipulation) to detect non-compliant activities. In the event of a potential security or compliance incident, organizations will have access to logs and interaction details for investigation. Additionally, to minimize obsolete insights, organizations can apply retention labels to inactive files, automatically removing outdated data.</a:t>
            </a:r>
          </a:p>
          <a:p>
            <a:pPr marL="171450" indent="-171450">
              <a:buFont typeface="Arial"/>
              <a:buChar char="•"/>
            </a:pPr>
            <a:endParaRPr lang="en-US"/>
          </a:p>
          <a:p>
            <a:pPr marL="0" indent="0">
              <a:buFont typeface="Arial"/>
              <a:buNone/>
            </a:pPr>
            <a:r>
              <a:rPr lang="en-US"/>
              <a:t>Microsoft Security can help you discover, protect and govern Copilot usage to enable secure and responsible adoption of Copilot.</a:t>
            </a:r>
          </a:p>
        </p:txBody>
      </p:sp>
      <p:sp>
        <p:nvSpPr>
          <p:cNvPr id="4" name="Slide Number Placeholder 3">
            <a:extLst>
              <a:ext uri="{FF2B5EF4-FFF2-40B4-BE49-F238E27FC236}">
                <a16:creationId xmlns:a16="http://schemas.microsoft.com/office/drawing/2014/main" id="{47AF752F-124A-7B60-9BD0-DE57F7092737}"/>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DCBA353-E6D4-4D02-8626-A6FF534C737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35796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ea typeface="Times New Roman" panose="02020603050405020304" pitchFamily="18" charset="0"/>
                <a:cs typeface="Times New Roman" panose="02020603050405020304" pitchFamily="18" charset="0"/>
              </a:rPr>
              <a:t>Introducing DSPM for AI, a centralized place to discover, secure, and govern AI interactions</a:t>
            </a:r>
          </a:p>
        </p:txBody>
      </p:sp>
      <p:sp>
        <p:nvSpPr>
          <p:cNvPr id="4" name="Slide Number Placeholder 3"/>
          <p:cNvSpPr>
            <a:spLocks noGrp="1"/>
          </p:cNvSpPr>
          <p:nvPr>
            <p:ph type="sldNum" sz="quarter" idx="5"/>
          </p:nvPr>
        </p:nvSpPr>
        <p:spPr/>
        <p:txBody>
          <a:bodyPr/>
          <a:lstStyle/>
          <a:p>
            <a:pPr marL="0" marR="0" lvl="0" indent="0" algn="r" defTabSz="925464" rtl="0" eaLnBrk="1" fontAlgn="auto" latinLnBrk="0" hangingPunct="1">
              <a:lnSpc>
                <a:spcPct val="100000"/>
              </a:lnSpc>
              <a:spcBef>
                <a:spcPts val="0"/>
              </a:spcBef>
              <a:spcAft>
                <a:spcPts val="0"/>
              </a:spcAft>
              <a:buClrTx/>
              <a:buSzTx/>
              <a:buFontTx/>
              <a:buNone/>
              <a:tabLst/>
              <a:defRPr/>
            </a:pPr>
            <a:fld id="{53501081-E19D-419D-B0AB-F3E6317950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5464"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7561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2799E7-0269-F487-A77B-852F3DB0F4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04E49F-0DCF-0F78-609D-117B6B9D6B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996CF0-4D74-8388-DF9B-6FD7913C023A}"/>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7DDFFD1A-B276-C0B4-5B37-A2A1FFBC8CBB}"/>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6B3CBE9C-9F27-E699-1684-08EE69C37DFB}"/>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C5302C7-A29E-F239-419E-0826427AD330}"/>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5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CF8C8F22-71C1-490E-0EA8-B12304F4F05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899989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13/2025 8:3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18195459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13/2025 8:3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19628489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5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46668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13/2025 8:3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23494916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7C39E19-974F-4B90-B9A5-596933717C14}" type="slidenum">
              <a:rPr lang="en-US" smtClean="0"/>
              <a:t>5</a:t>
            </a:fld>
            <a:endParaRPr lang="en-US"/>
          </a:p>
        </p:txBody>
      </p:sp>
    </p:spTree>
    <p:extLst>
      <p:ext uri="{BB962C8B-B14F-4D97-AF65-F5344CB8AC3E}">
        <p14:creationId xmlns:p14="http://schemas.microsoft.com/office/powerpoint/2010/main" val="20803363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13/2025 8:3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9664767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21D9E8-4933-1B11-84D3-988B534D52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23B27B-F541-AF57-8C0C-6ED59FF8E1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4E9F7F-AA21-F492-6A0E-F3FB0334A2EC}"/>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a:p>
        </p:txBody>
      </p:sp>
      <p:sp>
        <p:nvSpPr>
          <p:cNvPr id="4" name="Header Placeholder 3">
            <a:extLst>
              <a:ext uri="{FF2B5EF4-FFF2-40B4-BE49-F238E27FC236}">
                <a16:creationId xmlns:a16="http://schemas.microsoft.com/office/drawing/2014/main" id="{7FB7E18E-8204-59B2-3A4A-169410329BF2}"/>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7EE4CB6A-CE0D-23A3-0D6A-6E88C8FAB0D6}"/>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9598739-A945-0CE9-8357-3AE6DBE2132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5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E6848D58-369B-5EA7-4555-D74937C55624}"/>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20666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BE7DA2-B3C6-6F01-4C4F-53E8FD3BD4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C108D6-F290-8F2F-DE61-F766E6D469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75DC80-3462-7D90-75C7-9CDD0F2F049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D9398BC-841D-D9D8-98CC-EF631F0329E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F2F80-BFF7-44AD-8AD1-DB7758AC12D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247597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45BF69-F765-06DC-B381-40F8523BFC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26B902-C394-A514-FF5C-F0C43FE352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EB9B1C-707A-8AB4-FF50-6237814F6AED}"/>
              </a:ext>
            </a:extLst>
          </p:cNvPr>
          <p:cNvSpPr>
            <a:spLocks noGrp="1"/>
          </p:cNvSpPr>
          <p:nvPr>
            <p:ph type="body" idx="1"/>
          </p:nvPr>
        </p:nvSpPr>
        <p:spPr/>
        <p:txBody>
          <a:bodyPr/>
          <a:lstStyle/>
          <a:p>
            <a:pPr marL="0" marR="0">
              <a:lnSpc>
                <a:spcPct val="107000"/>
              </a:lnSpc>
              <a:spcAft>
                <a:spcPts val="800"/>
              </a:spcAft>
            </a:pPr>
            <a:endParaRPr lang="en-US"/>
          </a:p>
        </p:txBody>
      </p:sp>
      <p:sp>
        <p:nvSpPr>
          <p:cNvPr id="4" name="Slide Number Placeholder 3">
            <a:extLst>
              <a:ext uri="{FF2B5EF4-FFF2-40B4-BE49-F238E27FC236}">
                <a16:creationId xmlns:a16="http://schemas.microsoft.com/office/drawing/2014/main" id="{BE9DD716-0B81-9328-D29E-5CDBC9390B9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F2F80-BFF7-44AD-8AD1-DB7758AC12D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038760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E2F2EC-B8D5-0038-0EED-619FB22077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872EDF-7CF6-B64C-9806-BF325F7D25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11F8FD-524F-CF5F-B272-C07B84180E1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A7E1B5A-C2C0-AD8A-1046-084BFFA6CAC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F2F80-BFF7-44AD-8AD1-DB7758AC12D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251642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8F8F6C-EFE5-30D1-9BCD-2CBE05491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C56396-E2B2-AF60-3F7B-B59A1FD056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CF0CE2-3F49-03C7-5FD2-F6C73634E36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6D0DC6F-508B-7CF3-01DF-FB598AB5473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F2F80-BFF7-44AD-8AD1-DB7758AC12D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407002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56FB82-982E-9F6E-3E87-D1C9A6BF5E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882619-CCFC-1F64-F7D0-2ECCD7AD1C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33655E-A4D1-3D73-D96D-E81F094ADE9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784AB98-90A2-7B23-FD5F-B64850B9B62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F2F80-BFF7-44AD-8AD1-DB7758AC12D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934316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EE1CF1-2951-278E-3250-6AED3B90FC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5918EA-9819-A131-5B00-E76BA6D3BD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CD7D3F-D899-3FAB-BCF3-34A91B601491}"/>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49828FB3-0AAE-1660-2332-16347937DB0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CAB08013-F659-CF7A-320F-C758AAFC881A}"/>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709577D-D88F-1CC5-782C-D070CC6CD3C0}"/>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5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5B1B10A7-AE4C-D30B-4CC2-3BB803F3545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02900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5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67639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5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62378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9F6867-D046-BC6B-904C-D20ECA4877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9937B5-960E-65F4-3DAD-B9559034B8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2B032E-7F87-5EED-11B4-50D3EEFBE247}"/>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88EE6460-BC47-D966-228F-39F05A7369D9}"/>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1BE75651-4509-0178-8AD9-4E875858E007}"/>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2E5D9E3-67E6-C745-2DCD-42A237C7C5CA}"/>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5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562ACD0-F477-FDE7-77FA-F496E4766A7D}"/>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185855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5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23823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09C9DE-F94F-6CAD-3004-68670F124D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37CE1A-495C-269B-8534-6BC9B4091B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7AA47F-B762-1F55-4280-10C20F1F1F85}"/>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7338BA84-AA24-EC34-8FFF-94E17EB01FFD}"/>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7F873CF9-E9AC-0974-6FAF-EC027B4432FE}"/>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DDB0FFB-FEED-5BB5-AACD-85485EC0F695}"/>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5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36FC684-538A-D96F-643B-28861D6A4044}"/>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82222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14ACF3-AFFA-21CC-7E84-7177379AB8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C91EA0-0E03-7F66-57B6-2D0910006A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199A5A-C2E6-05A0-4140-367755688CB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04889D9-3336-ACF1-774B-7D4060D35670}"/>
              </a:ext>
            </a:extLst>
          </p:cNvPr>
          <p:cNvSpPr>
            <a:spLocks noGrp="1"/>
          </p:cNvSpPr>
          <p:nvPr>
            <p:ph type="sldNum" sz="quarter" idx="5"/>
          </p:nvPr>
        </p:nvSpPr>
        <p:spPr/>
        <p:txBody>
          <a:bodyPr/>
          <a:lstStyle/>
          <a:p>
            <a:fld id="{F7C39E19-974F-4B90-B9A5-596933717C14}" type="slidenum">
              <a:rPr lang="en-US" smtClean="0"/>
              <a:t>36</a:t>
            </a:fld>
            <a:endParaRPr lang="en-US"/>
          </a:p>
        </p:txBody>
      </p:sp>
    </p:spTree>
    <p:extLst>
      <p:ext uri="{BB962C8B-B14F-4D97-AF65-F5344CB8AC3E}">
        <p14:creationId xmlns:p14="http://schemas.microsoft.com/office/powerpoint/2010/main" val="2437769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F7C39E19-974F-4B90-B9A5-596933717C14}" type="slidenum">
              <a:rPr lang="en-US" smtClean="0"/>
              <a:t>37</a:t>
            </a:fld>
            <a:endParaRPr lang="en-US"/>
          </a:p>
        </p:txBody>
      </p:sp>
    </p:spTree>
    <p:extLst>
      <p:ext uri="{BB962C8B-B14F-4D97-AF65-F5344CB8AC3E}">
        <p14:creationId xmlns:p14="http://schemas.microsoft.com/office/powerpoint/2010/main" val="22175930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CEE5BE-514E-8EFB-65BB-619ED0E8F9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4E2D0A-09FE-61FA-023B-6A8FB4F6A5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CDAED6-CF22-38C8-C328-3EF5B540D8F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D89850A7-08A4-05F5-3E01-EBBB209719D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DCBA353-E6D4-4D02-8626-A6FF534C737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371533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F13D116-98DF-4FCF-A57E-A7B879408CC9}" type="slidenum">
              <a:rPr lang="en-US" smtClean="0"/>
              <a:t>41</a:t>
            </a:fld>
            <a:endParaRPr lang="en-US"/>
          </a:p>
        </p:txBody>
      </p:sp>
    </p:spTree>
    <p:extLst>
      <p:ext uri="{BB962C8B-B14F-4D97-AF65-F5344CB8AC3E}">
        <p14:creationId xmlns:p14="http://schemas.microsoft.com/office/powerpoint/2010/main" val="21969873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F13D116-98DF-4FCF-A57E-A7B879408CC9}" type="slidenum">
              <a:rPr lang="en-US" smtClean="0"/>
              <a:t>42</a:t>
            </a:fld>
            <a:endParaRPr lang="en-US"/>
          </a:p>
        </p:txBody>
      </p:sp>
    </p:spTree>
    <p:extLst>
      <p:ext uri="{BB962C8B-B14F-4D97-AF65-F5344CB8AC3E}">
        <p14:creationId xmlns:p14="http://schemas.microsoft.com/office/powerpoint/2010/main" val="27427621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xisiting knowledge source. </a:t>
            </a:r>
          </a:p>
          <a:p>
            <a:r>
              <a:rPr lang="en-US"/>
              <a:t>Dataverse tales – account customer </a:t>
            </a:r>
            <a:r>
              <a:rPr lang="en-US" err="1"/>
              <a:t>infor</a:t>
            </a:r>
            <a:r>
              <a:rPr lang="en-US"/>
              <a:t>. Maj = </a:t>
            </a:r>
            <a:r>
              <a:rPr lang="en-US" err="1"/>
              <a:t>sharepoint</a:t>
            </a:r>
            <a:r>
              <a:rPr lang="en-US"/>
              <a:t> </a:t>
            </a:r>
          </a:p>
          <a:p>
            <a:r>
              <a:rPr lang="en-US"/>
              <a:t>Test with agent – before publish.</a:t>
            </a:r>
          </a:p>
          <a:p>
            <a:endParaRPr lang="en-US"/>
          </a:p>
        </p:txBody>
      </p:sp>
      <p:sp>
        <p:nvSpPr>
          <p:cNvPr id="4" name="Slide Number Placeholder 3"/>
          <p:cNvSpPr>
            <a:spLocks noGrp="1"/>
          </p:cNvSpPr>
          <p:nvPr>
            <p:ph type="sldNum" sz="quarter" idx="5"/>
          </p:nvPr>
        </p:nvSpPr>
        <p:spPr/>
        <p:txBody>
          <a:bodyPr/>
          <a:lstStyle/>
          <a:p>
            <a:fld id="{F7C39E19-974F-4B90-B9A5-596933717C14}" type="slidenum">
              <a:rPr lang="en-US" smtClean="0"/>
              <a:t>43</a:t>
            </a:fld>
            <a:endParaRPr lang="en-US"/>
          </a:p>
        </p:txBody>
      </p:sp>
    </p:spTree>
    <p:extLst>
      <p:ext uri="{BB962C8B-B14F-4D97-AF65-F5344CB8AC3E}">
        <p14:creationId xmlns:p14="http://schemas.microsoft.com/office/powerpoint/2010/main" val="65240195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7C39E19-974F-4B90-B9A5-596933717C14}" type="slidenum">
              <a:rPr lang="en-US" smtClean="0"/>
              <a:t>44</a:t>
            </a:fld>
            <a:endParaRPr lang="en-US"/>
          </a:p>
        </p:txBody>
      </p:sp>
    </p:spTree>
    <p:extLst>
      <p:ext uri="{BB962C8B-B14F-4D97-AF65-F5344CB8AC3E}">
        <p14:creationId xmlns:p14="http://schemas.microsoft.com/office/powerpoint/2010/main" val="28814194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BE7DA2-B3C6-6F01-4C4F-53E8FD3BD4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C108D6-F290-8F2F-DE61-F766E6D469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75DC80-3462-7D90-75C7-9CDD0F2F049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D9398BC-841D-D9D8-98CC-EF631F0329E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F2F80-BFF7-44AD-8AD1-DB7758AC12D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213034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7C39E19-974F-4B90-B9A5-596933717C14}" type="slidenum">
              <a:rPr lang="en-US" smtClean="0"/>
              <a:t>8</a:t>
            </a:fld>
            <a:endParaRPr lang="en-US"/>
          </a:p>
        </p:txBody>
      </p:sp>
    </p:spTree>
    <p:extLst>
      <p:ext uri="{BB962C8B-B14F-4D97-AF65-F5344CB8AC3E}">
        <p14:creationId xmlns:p14="http://schemas.microsoft.com/office/powerpoint/2010/main" val="13451514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spcAft>
                <a:spcPts val="750"/>
              </a:spcAft>
              <a:buNone/>
            </a:pPr>
            <a:endParaRPr lang="en-US"/>
          </a:p>
        </p:txBody>
      </p:sp>
      <p:sp>
        <p:nvSpPr>
          <p:cNvPr id="4" name="Slide Number Placeholder 3"/>
          <p:cNvSpPr>
            <a:spLocks noGrp="1"/>
          </p:cNvSpPr>
          <p:nvPr>
            <p:ph type="sldNum" sz="quarter" idx="5"/>
          </p:nvPr>
        </p:nvSpPr>
        <p:spPr/>
        <p:txBody>
          <a:bodyPr/>
          <a:lstStyle/>
          <a:p>
            <a:fld id="{AF13D116-98DF-4FCF-A57E-A7B879408CC9}" type="slidenum">
              <a:rPr lang="en-US" smtClean="0"/>
              <a:t>46</a:t>
            </a:fld>
            <a:endParaRPr lang="en-US"/>
          </a:p>
        </p:txBody>
      </p:sp>
    </p:spTree>
    <p:extLst>
      <p:ext uri="{BB962C8B-B14F-4D97-AF65-F5344CB8AC3E}">
        <p14:creationId xmlns:p14="http://schemas.microsoft.com/office/powerpoint/2010/main" val="389320811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F13D116-98DF-4FCF-A57E-A7B879408CC9}" type="slidenum">
              <a:rPr lang="en-US" smtClean="0"/>
              <a:t>47</a:t>
            </a:fld>
            <a:endParaRPr lang="en-US"/>
          </a:p>
        </p:txBody>
      </p:sp>
    </p:spTree>
    <p:extLst>
      <p:ext uri="{BB962C8B-B14F-4D97-AF65-F5344CB8AC3E}">
        <p14:creationId xmlns:p14="http://schemas.microsoft.com/office/powerpoint/2010/main" val="329161503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F13D116-98DF-4FCF-A57E-A7B879408CC9}" type="slidenum">
              <a:rPr lang="en-US" smtClean="0"/>
              <a:t>48</a:t>
            </a:fld>
            <a:endParaRPr lang="en-US"/>
          </a:p>
        </p:txBody>
      </p:sp>
    </p:spTree>
    <p:extLst>
      <p:ext uri="{BB962C8B-B14F-4D97-AF65-F5344CB8AC3E}">
        <p14:creationId xmlns:p14="http://schemas.microsoft.com/office/powerpoint/2010/main" val="414782751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F13D116-98DF-4FCF-A57E-A7B879408CC9}" type="slidenum">
              <a:rPr lang="en-US" smtClean="0"/>
              <a:t>49</a:t>
            </a:fld>
            <a:endParaRPr lang="en-US"/>
          </a:p>
        </p:txBody>
      </p:sp>
    </p:spTree>
    <p:extLst>
      <p:ext uri="{BB962C8B-B14F-4D97-AF65-F5344CB8AC3E}">
        <p14:creationId xmlns:p14="http://schemas.microsoft.com/office/powerpoint/2010/main" val="49527586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7C39E19-974F-4B90-B9A5-596933717C14}" type="slidenum">
              <a:rPr lang="en-US" smtClean="0"/>
              <a:t>50</a:t>
            </a:fld>
            <a:endParaRPr lang="en-US"/>
          </a:p>
        </p:txBody>
      </p:sp>
    </p:spTree>
    <p:extLst>
      <p:ext uri="{BB962C8B-B14F-4D97-AF65-F5344CB8AC3E}">
        <p14:creationId xmlns:p14="http://schemas.microsoft.com/office/powerpoint/2010/main" val="33960045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5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6542161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F13D116-98DF-4FCF-A57E-A7B879408CC9}" type="slidenum">
              <a:rPr lang="en-US" smtClean="0"/>
              <a:t>52</a:t>
            </a:fld>
            <a:endParaRPr lang="en-US"/>
          </a:p>
        </p:txBody>
      </p:sp>
    </p:spTree>
    <p:extLst>
      <p:ext uri="{BB962C8B-B14F-4D97-AF65-F5344CB8AC3E}">
        <p14:creationId xmlns:p14="http://schemas.microsoft.com/office/powerpoint/2010/main" val="405324610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38EA6D-8FE5-CC43-2AAF-9E2263BEA6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A62312-B3B6-3A62-F0CB-056BC406F8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CB3E04-6488-8858-9425-B428160A180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936C220-6DC3-3B68-BE14-D4E40964F439}"/>
              </a:ext>
            </a:extLst>
          </p:cNvPr>
          <p:cNvSpPr>
            <a:spLocks noGrp="1"/>
          </p:cNvSpPr>
          <p:nvPr>
            <p:ph type="sldNum" sz="quarter" idx="5"/>
          </p:nvPr>
        </p:nvSpPr>
        <p:spPr/>
        <p:txBody>
          <a:bodyPr/>
          <a:lstStyle/>
          <a:p>
            <a:fld id="{AF13D116-98DF-4FCF-A57E-A7B879408CC9}" type="slidenum">
              <a:rPr lang="en-US" smtClean="0"/>
              <a:t>53</a:t>
            </a:fld>
            <a:endParaRPr lang="en-US"/>
          </a:p>
        </p:txBody>
      </p:sp>
    </p:spTree>
    <p:extLst>
      <p:ext uri="{BB962C8B-B14F-4D97-AF65-F5344CB8AC3E}">
        <p14:creationId xmlns:p14="http://schemas.microsoft.com/office/powerpoint/2010/main" val="116026565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F13D116-98DF-4FCF-A57E-A7B879408CC9}" type="slidenum">
              <a:rPr lang="en-US" smtClean="0"/>
              <a:t>54</a:t>
            </a:fld>
            <a:endParaRPr lang="en-US"/>
          </a:p>
        </p:txBody>
      </p:sp>
    </p:spTree>
    <p:extLst>
      <p:ext uri="{BB962C8B-B14F-4D97-AF65-F5344CB8AC3E}">
        <p14:creationId xmlns:p14="http://schemas.microsoft.com/office/powerpoint/2010/main" val="116491652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F13D116-98DF-4FCF-A57E-A7B879408CC9}" type="slidenum">
              <a:rPr lang="en-US" smtClean="0"/>
              <a:t>55</a:t>
            </a:fld>
            <a:endParaRPr lang="en-US"/>
          </a:p>
        </p:txBody>
      </p:sp>
    </p:spTree>
    <p:extLst>
      <p:ext uri="{BB962C8B-B14F-4D97-AF65-F5344CB8AC3E}">
        <p14:creationId xmlns:p14="http://schemas.microsoft.com/office/powerpoint/2010/main" val="40445889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315293-56E7-E616-8D29-A7156DBBE6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D658DE-56E6-A5A5-5902-4D2A12A018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210E30-F3CE-54BE-157E-36A226C0A2C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0F36A8D-822E-216A-E5F8-4C81AD26AF7B}"/>
              </a:ext>
            </a:extLst>
          </p:cNvPr>
          <p:cNvSpPr>
            <a:spLocks noGrp="1"/>
          </p:cNvSpPr>
          <p:nvPr>
            <p:ph type="sldNum" sz="quarter" idx="5"/>
          </p:nvPr>
        </p:nvSpPr>
        <p:spPr/>
        <p:txBody>
          <a:bodyPr/>
          <a:lstStyle/>
          <a:p>
            <a:fld id="{F7C39E19-974F-4B90-B9A5-596933717C14}" type="slidenum">
              <a:rPr lang="en-US" smtClean="0"/>
              <a:t>9</a:t>
            </a:fld>
            <a:endParaRPr lang="en-US"/>
          </a:p>
        </p:txBody>
      </p:sp>
    </p:spTree>
    <p:extLst>
      <p:ext uri="{BB962C8B-B14F-4D97-AF65-F5344CB8AC3E}">
        <p14:creationId xmlns:p14="http://schemas.microsoft.com/office/powerpoint/2010/main" val="160838948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AD4E97-62BE-4494-AC80-0FBEE43A63B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6685510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 all the relevant data, you can then conduct investigations with eDiscovery.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AD4E97-62BE-4494-AC80-0FBEE43A63B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8143099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3D87B0-F65F-4ED6-D71B-2FA0DA097F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D9F5EB-B867-5CC1-CB61-38BC4D99FD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927A03-D2EF-27BC-8151-2834DAAA66F9}"/>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82C126CB-FFDC-CBCB-7CF5-F4123389BBEB}"/>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C176E028-94B1-A896-C797-2A58B8D2ECBF}"/>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3007067A-07D9-2BCF-0DFC-F189ECD3B5FF}"/>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5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E382B9B4-3DD3-4EFA-5F5D-9469F93D2A0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883498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33DA5A-C9DA-886B-5793-E11A9A3AFA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04584F-35C4-662B-8C86-64CE61CB68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8EB972-6F3B-0974-8A5A-FC59477261E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ECABFDB-219F-B359-5F71-DFBE38D382C9}"/>
              </a:ext>
            </a:extLst>
          </p:cNvPr>
          <p:cNvSpPr>
            <a:spLocks noGrp="1"/>
          </p:cNvSpPr>
          <p:nvPr>
            <p:ph type="sldNum" sz="quarter" idx="5"/>
          </p:nvPr>
        </p:nvSpPr>
        <p:spPr/>
        <p:txBody>
          <a:bodyPr/>
          <a:lstStyle/>
          <a:p>
            <a:fld id="{F7C39E19-974F-4B90-B9A5-596933717C14}" type="slidenum">
              <a:rPr lang="en-US" smtClean="0"/>
              <a:t>60</a:t>
            </a:fld>
            <a:endParaRPr lang="en-US"/>
          </a:p>
        </p:txBody>
      </p:sp>
    </p:spTree>
    <p:extLst>
      <p:ext uri="{BB962C8B-B14F-4D97-AF65-F5344CB8AC3E}">
        <p14:creationId xmlns:p14="http://schemas.microsoft.com/office/powerpoint/2010/main" val="297247133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631DC1-B219-EA17-D8D6-E34B2CF8D8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ED5E55-8CD5-2A3C-0D17-B5A9F7F5EE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877070-6819-787D-11E9-EAB3C45CF7D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6AFCCD7-5EDA-ADE3-4D2E-9EB449144EF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F9CCCD7-65E2-45DB-B0AD-6B06DD9C289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5007238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7F6911-D2E4-D4FB-75AD-EA0A5C15D4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2E098B-1F84-DD3D-5766-B853EAF039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CD1353-594A-7B63-0434-ACA6E3BD39D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BCC612F-5A57-136E-4360-36B3C6606165}"/>
              </a:ext>
            </a:extLst>
          </p:cNvPr>
          <p:cNvSpPr>
            <a:spLocks noGrp="1"/>
          </p:cNvSpPr>
          <p:nvPr>
            <p:ph type="sldNum" sz="quarter" idx="5"/>
          </p:nvPr>
        </p:nvSpPr>
        <p:spPr/>
        <p:txBody>
          <a:bodyPr/>
          <a:lstStyle/>
          <a:p>
            <a:fld id="{F7C39E19-974F-4B90-B9A5-596933717C14}" type="slidenum">
              <a:rPr lang="en-US" smtClean="0"/>
              <a:t>62</a:t>
            </a:fld>
            <a:endParaRPr lang="en-US"/>
          </a:p>
        </p:txBody>
      </p:sp>
    </p:spTree>
    <p:extLst>
      <p:ext uri="{BB962C8B-B14F-4D97-AF65-F5344CB8AC3E}">
        <p14:creationId xmlns:p14="http://schemas.microsoft.com/office/powerpoint/2010/main" val="348033607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7C39E19-974F-4B90-B9A5-596933717C14}" type="slidenum">
              <a:rPr lang="en-US" smtClean="0"/>
              <a:t>63</a:t>
            </a:fld>
            <a:endParaRPr lang="en-US"/>
          </a:p>
        </p:txBody>
      </p:sp>
    </p:spTree>
    <p:extLst>
      <p:ext uri="{BB962C8B-B14F-4D97-AF65-F5344CB8AC3E}">
        <p14:creationId xmlns:p14="http://schemas.microsoft.com/office/powerpoint/2010/main" val="48630164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avid Johnson to lead this slide.</a:t>
            </a:r>
          </a:p>
        </p:txBody>
      </p:sp>
      <p:sp>
        <p:nvSpPr>
          <p:cNvPr id="4" name="Slide Number Placeholder 3"/>
          <p:cNvSpPr>
            <a:spLocks noGrp="1"/>
          </p:cNvSpPr>
          <p:nvPr>
            <p:ph type="sldNum" sz="quarter" idx="5"/>
          </p:nvPr>
        </p:nvSpPr>
        <p:spPr/>
        <p:txBody>
          <a:bodyPr/>
          <a:lstStyle/>
          <a:p>
            <a:fld id="{F7C39E19-974F-4B90-B9A5-596933717C14}" type="slidenum">
              <a:rPr lang="en-US" smtClean="0"/>
              <a:t>64</a:t>
            </a:fld>
            <a:endParaRPr lang="en-US"/>
          </a:p>
        </p:txBody>
      </p:sp>
    </p:spTree>
    <p:extLst>
      <p:ext uri="{BB962C8B-B14F-4D97-AF65-F5344CB8AC3E}">
        <p14:creationId xmlns:p14="http://schemas.microsoft.com/office/powerpoint/2010/main" val="132323853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272E30-F960-6490-9A1E-8C5E576A29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120B73-5C4A-14E3-C195-5C750F3DC1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CB1F33-70BE-A302-237D-493C2F93192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3DE4FC4-E798-2FDE-4113-C148FC3D93EE}"/>
              </a:ext>
            </a:extLst>
          </p:cNvPr>
          <p:cNvSpPr>
            <a:spLocks noGrp="1"/>
          </p:cNvSpPr>
          <p:nvPr>
            <p:ph type="sldNum" sz="quarter" idx="5"/>
          </p:nvPr>
        </p:nvSpPr>
        <p:spPr/>
        <p:txBody>
          <a:bodyPr/>
          <a:lstStyle/>
          <a:p>
            <a:fld id="{F7C39E19-974F-4B90-B9A5-596933717C14}" type="slidenum">
              <a:rPr lang="en-US" smtClean="0"/>
              <a:t>65</a:t>
            </a:fld>
            <a:endParaRPr lang="en-US"/>
          </a:p>
        </p:txBody>
      </p:sp>
    </p:spTree>
    <p:extLst>
      <p:ext uri="{BB962C8B-B14F-4D97-AF65-F5344CB8AC3E}">
        <p14:creationId xmlns:p14="http://schemas.microsoft.com/office/powerpoint/2010/main" val="271053715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9CCCD7-65E2-45DB-B0AD-6B06DD9C289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15085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525CF5-2081-3BBC-9DC3-CEB1E0D5B8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CA417E-EC5A-60AC-F5D3-4202BC086894}"/>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0B745ECF-AC91-6EC6-8474-31815885CF48}"/>
              </a:ext>
            </a:extLst>
          </p:cNvPr>
          <p:cNvSpPr>
            <a:spLocks noGrp="1"/>
          </p:cNvSpPr>
          <p:nvPr>
            <p:ph type="body" idx="1"/>
          </p:nvPr>
        </p:nvSpPr>
        <p:spPr/>
        <p:txBody>
          <a:bodyPr/>
          <a:lstStyle/>
          <a:p>
            <a:endParaRPr lang="en-US" sz="2950">
              <a:ea typeface="Calibri"/>
              <a:cs typeface="Calibri"/>
            </a:endParaRPr>
          </a:p>
        </p:txBody>
      </p:sp>
      <p:sp>
        <p:nvSpPr>
          <p:cNvPr id="4" name="Header Placeholder 3">
            <a:extLst>
              <a:ext uri="{FF2B5EF4-FFF2-40B4-BE49-F238E27FC236}">
                <a16:creationId xmlns:a16="http://schemas.microsoft.com/office/drawing/2014/main" id="{332F1E55-9680-AF17-B0DF-1D1CD20EB59F}"/>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C9A6E53-7540-2279-B5F5-18EA7B8B9E9F}"/>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20DBD34-F7FF-82A9-2FFE-66C28D25CA96}"/>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5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ED201FD5-DFAA-D51C-4BB8-7A10FC1A08B9}"/>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541399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7C39E19-974F-4B90-B9A5-596933717C14}" type="slidenum">
              <a:rPr lang="en-US" smtClean="0"/>
              <a:t>67</a:t>
            </a:fld>
            <a:endParaRPr lang="en-US"/>
          </a:p>
        </p:txBody>
      </p:sp>
    </p:spTree>
    <p:extLst>
      <p:ext uri="{BB962C8B-B14F-4D97-AF65-F5344CB8AC3E}">
        <p14:creationId xmlns:p14="http://schemas.microsoft.com/office/powerpoint/2010/main" val="305561754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41670F2-4D1C-F243-A498-C7A1AF23B58E}" type="slidenum">
              <a:rPr lang="en-US" smtClean="0"/>
              <a:t>68</a:t>
            </a:fld>
            <a:endParaRPr lang="en-US"/>
          </a:p>
        </p:txBody>
      </p:sp>
    </p:spTree>
    <p:extLst>
      <p:ext uri="{BB962C8B-B14F-4D97-AF65-F5344CB8AC3E}">
        <p14:creationId xmlns:p14="http://schemas.microsoft.com/office/powerpoint/2010/main" val="210322519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710AE4-C664-C966-FB5A-E13E0B565A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34EB63-F187-3B46-8C3A-012FF15564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D33FF8-A314-FA9F-702D-7891C63DAD9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he Microsoft Customer Connection Program (CCP) enables customers, partners and Microsoft’s Most Valuable Professionals (MVPs) to directly connect with Microsoft security engineers to share their product experiences, needs and recommendations. Microsoft uses these programs to put the customer at the center of product development and ultimately create better security solutions.</a:t>
            </a:r>
          </a:p>
          <a:p>
            <a:endParaRPr lang="en-US"/>
          </a:p>
          <a:p>
            <a:endParaRPr lang="en-US"/>
          </a:p>
        </p:txBody>
      </p:sp>
      <p:sp>
        <p:nvSpPr>
          <p:cNvPr id="4" name="Header Placeholder 3">
            <a:extLst>
              <a:ext uri="{FF2B5EF4-FFF2-40B4-BE49-F238E27FC236}">
                <a16:creationId xmlns:a16="http://schemas.microsoft.com/office/drawing/2014/main" id="{7CB45FA1-7147-7A86-FA6B-9D4B2BC5D26F}"/>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F46D45BB-34D1-E0DC-EA37-7ED2D3D4A0DD}"/>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3B0EDFF-AD95-9085-AAFC-E90B6215699F}"/>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5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8614DB0F-A1AD-CC95-EF72-4EFEACA26467}"/>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53834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7AD29A-CF84-AE73-D5FB-9735D81B1A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3F84A7-6D1F-AF57-DED5-8E0C04EB4C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F0B0B2-5124-045D-56A7-4489B42F8BCB}"/>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And here are some great links to keep learning.</a:t>
            </a:r>
          </a:p>
          <a:p>
            <a:endParaRPr lang="en-US"/>
          </a:p>
        </p:txBody>
      </p:sp>
      <p:sp>
        <p:nvSpPr>
          <p:cNvPr id="4" name="Header Placeholder 3">
            <a:extLst>
              <a:ext uri="{FF2B5EF4-FFF2-40B4-BE49-F238E27FC236}">
                <a16:creationId xmlns:a16="http://schemas.microsoft.com/office/drawing/2014/main" id="{7CE91BC1-C776-5A42-2FA2-42B1960941D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B2A3C04A-0F85-471B-962F-1BFA5162AC9A}"/>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1C4DA09-68B7-92B1-F65C-E21152C9B1F6}"/>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5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572A2B95-D97C-CBBE-EA49-641C4F23843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0870763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help you with adoption, the Copilot Readiness Hub is an open one stop shop for content, organized by role for your Copilot for Microsoft 365 journey.  </a:t>
            </a:r>
          </a:p>
          <a:p>
            <a:endParaRPr lang="en-US"/>
          </a:p>
          <a:p>
            <a:r>
              <a:rPr lang="en-US"/>
              <a:t>You can use its recommendations to prepare and plan for your deployment, create a user experience strategy as I’ve presented today, and an adoption plan. </a:t>
            </a:r>
          </a:p>
          <a:p>
            <a:endParaRPr lang="en-US"/>
          </a:p>
          <a:p>
            <a:r>
              <a:rPr lang="en-US"/>
              <a:t>And as Copilot continues to evolve, keep coming back for new content that is published regularly.  </a:t>
            </a:r>
          </a:p>
          <a:p>
            <a:endParaRPr lang="en-US"/>
          </a:p>
          <a:p>
            <a:r>
              <a:rPr lang="en-US"/>
              <a:t>You can also join the Copilot for Microsoft 365 community to get your questions answered and meet others who are leveraging Copilot for Microsoft 365 right now.</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0BEF674-687C-4523-AB9A-39F3E48DCA2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69568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010FB7-F033-167D-8A93-4684412489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A08336-F62C-A561-50D3-58F09A983073}"/>
              </a:ext>
            </a:extLst>
          </p:cNvPr>
          <p:cNvSpPr>
            <a:spLocks noGrp="1" noRot="1" noChangeAspect="1"/>
          </p:cNvSpPr>
          <p:nvPr>
            <p:ph type="sldImg"/>
          </p:nvPr>
        </p:nvSpPr>
        <p:spPr>
          <a:xfrm>
            <a:off x="777875" y="1200150"/>
            <a:ext cx="5759450" cy="3240088"/>
          </a:xfrm>
        </p:spPr>
      </p:sp>
      <p:sp>
        <p:nvSpPr>
          <p:cNvPr id="3" name="Notes Placeholder 2">
            <a:extLst>
              <a:ext uri="{FF2B5EF4-FFF2-40B4-BE49-F238E27FC236}">
                <a16:creationId xmlns:a16="http://schemas.microsoft.com/office/drawing/2014/main" id="{68E8FEA6-8EFA-6B9F-8042-163BA975B6A7}"/>
              </a:ext>
            </a:extLst>
          </p:cNvPr>
          <p:cNvSpPr>
            <a:spLocks noGrp="1"/>
          </p:cNvSpPr>
          <p:nvPr>
            <p:ph type="body" idx="1"/>
          </p:nvPr>
        </p:nvSpPr>
        <p:spPr/>
        <p:txBody>
          <a:bodyPr/>
          <a:lstStyle/>
          <a:p>
            <a:pPr marL="0" marR="0">
              <a:lnSpc>
                <a:spcPct val="107000"/>
              </a:lnSpc>
              <a:spcAft>
                <a:spcPts val="800"/>
              </a:spcAft>
            </a:pPr>
            <a:r>
              <a:rPr lang="en-US" sz="2400">
                <a:effectLst/>
                <a:latin typeface="Segoe UI" panose="020B0502040204020203" pitchFamily="34" charset="0"/>
                <a:ea typeface="Calibri" panose="020F0502020204030204" pitchFamily="34" charset="0"/>
                <a:cs typeface="Arial" panose="020B0604020202020204" pitchFamily="34" charset="0"/>
              </a:rPr>
              <a:t>We are proud to be the first security provider to deliver a purpose-built solution specifically designed for securing and governing your AI. </a:t>
            </a:r>
            <a:endParaRPr lang="en-US" sz="24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Aft>
                <a:spcPts val="800"/>
              </a:spcAft>
            </a:pPr>
            <a:r>
              <a:rPr lang="en-US" sz="2400">
                <a:effectLst/>
                <a:latin typeface="Segoe UI" panose="020B0502040204020203" pitchFamily="34" charset="0"/>
                <a:ea typeface="Calibri" panose="020F0502020204030204" pitchFamily="34" charset="0"/>
                <a:cs typeface="Arial" panose="020B0604020202020204" pitchFamily="34" charset="0"/>
              </a:rPr>
              <a:t> </a:t>
            </a:r>
            <a:endParaRPr lang="en-US" sz="24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Aft>
                <a:spcPts val="800"/>
              </a:spcAft>
            </a:pPr>
            <a:r>
              <a:rPr lang="en-US" sz="2400">
                <a:effectLst/>
                <a:latin typeface="Segoe UI" panose="020B0502040204020203" pitchFamily="34" charset="0"/>
                <a:ea typeface="Calibri" panose="020F0502020204030204" pitchFamily="34" charset="0"/>
                <a:cs typeface="Arial" panose="020B0604020202020204" pitchFamily="34" charset="0"/>
              </a:rPr>
              <a:t>Our comprehensive solution addresses the unique challenges of AI security across three critical areas:</a:t>
            </a:r>
            <a:endParaRPr lang="en-US" sz="24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Aft>
                <a:spcPts val="800"/>
              </a:spcAft>
            </a:pPr>
            <a:r>
              <a:rPr lang="en-US" sz="2400" b="1">
                <a:effectLst/>
                <a:latin typeface="Segoe UI" panose="020B0502040204020203" pitchFamily="34" charset="0"/>
                <a:ea typeface="Calibri" panose="020F0502020204030204" pitchFamily="34" charset="0"/>
                <a:cs typeface="Arial" panose="020B0604020202020204" pitchFamily="34" charset="0"/>
              </a:rPr>
              <a:t> </a:t>
            </a:r>
            <a:endParaRPr lang="en-US" sz="24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Aft>
                <a:spcPts val="800"/>
              </a:spcAft>
            </a:pPr>
            <a:r>
              <a:rPr lang="en-US" sz="2400" b="1">
                <a:effectLst/>
                <a:latin typeface="Segoe UI" panose="020B0502040204020203" pitchFamily="34" charset="0"/>
                <a:ea typeface="Calibri" panose="020F0502020204030204" pitchFamily="34" charset="0"/>
                <a:cs typeface="Arial" panose="020B0604020202020204" pitchFamily="34" charset="0"/>
              </a:rPr>
              <a:t>The first is Threat Protection &amp; Exposure Management. </a:t>
            </a:r>
            <a:r>
              <a:rPr lang="en-US" sz="2400">
                <a:effectLst/>
                <a:latin typeface="Segoe UI" panose="020B0502040204020203" pitchFamily="34" charset="0"/>
                <a:ea typeface="Calibri" panose="020F0502020204030204" pitchFamily="34" charset="0"/>
                <a:cs typeface="Arial" panose="020B0604020202020204" pitchFamily="34" charset="0"/>
              </a:rPr>
              <a:t>We provide robust threat protection and exposure management to safeguard your AI systems from evolving threats. Our advanced capabilities ensure that your AI infrastructure remains resilient and secure.</a:t>
            </a:r>
            <a:endParaRPr lang="en-US" sz="24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Aft>
                <a:spcPts val="800"/>
              </a:spcAft>
            </a:pPr>
            <a:r>
              <a:rPr lang="en-US" sz="2400" b="1">
                <a:effectLst/>
                <a:latin typeface="Segoe UI" panose="020B0502040204020203" pitchFamily="34" charset="0"/>
                <a:ea typeface="Calibri" panose="020F0502020204030204" pitchFamily="34" charset="0"/>
                <a:cs typeface="Arial" panose="020B0604020202020204" pitchFamily="34" charset="0"/>
              </a:rPr>
              <a:t> </a:t>
            </a:r>
            <a:endParaRPr lang="en-US" sz="24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Aft>
                <a:spcPts val="800"/>
              </a:spcAft>
            </a:pPr>
            <a:r>
              <a:rPr lang="en-US" sz="2400" b="1">
                <a:effectLst/>
                <a:latin typeface="Segoe UI" panose="020B0502040204020203" pitchFamily="34" charset="0"/>
                <a:ea typeface="Calibri" panose="020F0502020204030204" pitchFamily="34" charset="0"/>
                <a:cs typeface="Arial" panose="020B0604020202020204" pitchFamily="34" charset="0"/>
              </a:rPr>
              <a:t>Next is Data Security, Governance, and Compliance.</a:t>
            </a:r>
            <a:r>
              <a:rPr lang="en-US" sz="2400">
                <a:effectLst/>
                <a:latin typeface="Segoe UI" panose="020B0502040204020203" pitchFamily="34" charset="0"/>
                <a:ea typeface="Calibri" panose="020F0502020204030204" pitchFamily="34" charset="0"/>
                <a:cs typeface="Arial" panose="020B0604020202020204" pitchFamily="34" charset="0"/>
              </a:rPr>
              <a:t> Our solution ensures that your data is secure, compliant, and private. We offer comprehensive data governance and compliance tools to help you meet regulatory requirements and protect sensitive information.</a:t>
            </a:r>
            <a:endParaRPr lang="en-US" sz="24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Aft>
                <a:spcPts val="800"/>
              </a:spcAft>
            </a:pPr>
            <a:r>
              <a:rPr lang="en-US" sz="2400" b="1">
                <a:effectLst/>
                <a:latin typeface="Segoe UI" panose="020B0502040204020203" pitchFamily="34" charset="0"/>
                <a:ea typeface="Calibri" panose="020F0502020204030204" pitchFamily="34" charset="0"/>
                <a:cs typeface="Arial" panose="020B0604020202020204" pitchFamily="34" charset="0"/>
              </a:rPr>
              <a:t> </a:t>
            </a:r>
            <a:endParaRPr lang="en-US" sz="2400">
              <a:effectLst/>
              <a:latin typeface="Calibri" panose="020F0502020204030204" pitchFamily="34" charset="0"/>
              <a:ea typeface="Calibri" panose="020F0502020204030204" pitchFamily="34" charset="0"/>
              <a:cs typeface="Arial" panose="020B0604020202020204" pitchFamily="34" charset="0"/>
            </a:endParaRPr>
          </a:p>
          <a:p>
            <a:r>
              <a:rPr lang="en-US" sz="2400">
                <a:effectLst/>
                <a:latin typeface="Segoe UI" panose="020B0502040204020203" pitchFamily="34" charset="0"/>
                <a:ea typeface="Calibri" panose="020F0502020204030204" pitchFamily="34" charset="0"/>
              </a:rPr>
              <a:t>And importantly - We are committed to promoting </a:t>
            </a:r>
            <a:r>
              <a:rPr lang="en-US" sz="2400" b="1">
                <a:effectLst/>
                <a:latin typeface="Segoe UI" panose="020B0502040204020203" pitchFamily="34" charset="0"/>
                <a:ea typeface="Calibri" panose="020F0502020204030204" pitchFamily="34" charset="0"/>
              </a:rPr>
              <a:t>safety, privacy, and responsible AI</a:t>
            </a:r>
            <a:r>
              <a:rPr lang="en-US" sz="2400">
                <a:effectLst/>
                <a:latin typeface="Segoe UI" panose="020B0502040204020203" pitchFamily="34" charset="0"/>
                <a:ea typeface="Calibri" panose="020F0502020204030204" pitchFamily="34" charset="0"/>
              </a:rPr>
              <a:t> practices. Our systems are designed to ensure that your AI applications are ethical, transparent, and aligned with industry standards for responsible AI.</a:t>
            </a:r>
            <a:endParaRPr lang="en-US" sz="1600"/>
          </a:p>
        </p:txBody>
      </p:sp>
      <p:sp>
        <p:nvSpPr>
          <p:cNvPr id="4" name="Slide Number Placeholder 3">
            <a:extLst>
              <a:ext uri="{FF2B5EF4-FFF2-40B4-BE49-F238E27FC236}">
                <a16:creationId xmlns:a16="http://schemas.microsoft.com/office/drawing/2014/main" id="{1DC8CCD9-C6CE-A856-8281-A67F7F499F89}"/>
              </a:ext>
            </a:extLst>
          </p:cNvPr>
          <p:cNvSpPr>
            <a:spLocks noGrp="1"/>
          </p:cNvSpPr>
          <p:nvPr>
            <p:ph type="sldNum" sz="quarter" idx="10"/>
          </p:nvPr>
        </p:nvSpPr>
        <p:spPr/>
        <p:txBody>
          <a:bodyPr/>
          <a:lstStyle/>
          <a:p>
            <a:pPr marL="0" marR="0" lvl="0" indent="0" algn="r" defTabSz="963641"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3641"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63851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pilot is built with foundational security in mind, with Microsoft's comprehensive approach to security, compliance, privacy and responsible AI. On top of that, you can layer on additional security capabilities to discover AI risks, protect sensitive data, and govern Copilot usage.</a:t>
            </a:r>
          </a:p>
          <a:p>
            <a:pPr marL="171450" indent="-171450">
              <a:buFont typeface="Arial"/>
              <a:buChar char="•"/>
            </a:pPr>
            <a:endParaRPr lang="en-US"/>
          </a:p>
          <a:p>
            <a:pPr marL="171450" indent="-171450">
              <a:buFont typeface="Arial"/>
              <a:buChar char="•"/>
            </a:pPr>
            <a:r>
              <a:rPr lang="en-US"/>
              <a:t>Discover AI risks: First, security and IT teams must assess the data risks associated with user activities in Copilot. For instance, they should identify the types of sensitive data shared within Copilot prompts and understand the user risk context during these interactions. Organizations can leverage our pre-built classifiers to detect sensitive information such as credit card numbers, passport details, and custom SITs. Additionally, all user interactions in Copilot are logged, enabling organizations to review activities and identify potential risks. Lastly, organizations can proactively identify instances of overshared content within SharePoint sites by reviewing the site permissions.</a:t>
            </a:r>
          </a:p>
          <a:p>
            <a:pPr marL="171450" indent="-171450">
              <a:buFont typeface="Arial"/>
              <a:buChar char="•"/>
            </a:pPr>
            <a:endParaRPr lang="en-US"/>
          </a:p>
          <a:p>
            <a:pPr marL="171450" indent="-171450">
              <a:buFont typeface="Arial"/>
              <a:buChar char="•"/>
            </a:pPr>
            <a:r>
              <a:rPr lang="en-US"/>
              <a:t>Protect sensitive data: After understanding the risks, organizations can implement controls to safeguard data. They can establish labeling and Data Loss Prevention (DLP) policies to mitigate the risks of oversharing and data leakage. Additionally, leveraging conditional access policies ensures that Copilot usage occurs through secure and governed identities and devices, reducing potential security threats. Lastly, organizations can implement SharePoint site-wide access controls to eliminate idle or excessive access to sensitive data.</a:t>
            </a:r>
          </a:p>
          <a:p>
            <a:pPr marL="171450" indent="-171450">
              <a:buFont typeface="Arial"/>
              <a:buChar char="•"/>
            </a:pPr>
            <a:endParaRPr lang="en-US"/>
          </a:p>
          <a:p>
            <a:pPr marL="171450" indent="-171450">
              <a:buFont typeface="Arial"/>
              <a:buChar char="•"/>
            </a:pPr>
            <a:r>
              <a:rPr lang="en-US"/>
              <a:t>Govern Copilot usage: To ensure compliant usage of Copilot, organizations can establish retention policies for Copilot interactions and utilize our pre-built classifiers (such as gifts &amp; entertainment, unauthorized disclosure, and stock manipulation) to detect non-compliant activities. In the event of a potential security or compliance incident, organizations will have access to logs and interaction details for investigation. Additionally, to minimize obsolete insights, organizations can apply retention labels to inactive files, automatically removing outdated data.</a:t>
            </a:r>
          </a:p>
          <a:p>
            <a:pPr marL="171450" indent="-171450">
              <a:buFont typeface="Arial"/>
              <a:buChar char="•"/>
            </a:pPr>
            <a:endParaRPr lang="en-US"/>
          </a:p>
          <a:p>
            <a:pPr marL="0" indent="0">
              <a:buFont typeface="Arial"/>
              <a:buNone/>
            </a:pPr>
            <a:r>
              <a:rPr lang="en-US"/>
              <a:t>Microsoft Security can help you discover, protect and govern Copilot usage to enable secure and responsible adoption of Copilot.</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DCBA353-E6D4-4D02-8626-A6FF534C737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41366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6BED2D-A975-D8D9-CD17-543F94D005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F0B9A9-A214-D92E-62C5-984521ED94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505054-E0E4-48CA-CAFD-82627E77799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1494393-BBEA-E761-E834-DDC90A820876}"/>
              </a:ext>
            </a:extLst>
          </p:cNvPr>
          <p:cNvSpPr>
            <a:spLocks noGrp="1"/>
          </p:cNvSpPr>
          <p:nvPr>
            <p:ph type="sldNum" sz="quarter" idx="5"/>
          </p:nvPr>
        </p:nvSpPr>
        <p:spPr/>
        <p:txBody>
          <a:bodyPr/>
          <a:lstStyle/>
          <a:p>
            <a:fld id="{F7C39E19-974F-4B90-B9A5-596933717C14}" type="slidenum">
              <a:rPr lang="en-US" smtClean="0"/>
              <a:t>13</a:t>
            </a:fld>
            <a:endParaRPr lang="en-US"/>
          </a:p>
        </p:txBody>
      </p:sp>
    </p:spTree>
    <p:extLst>
      <p:ext uri="{BB962C8B-B14F-4D97-AF65-F5344CB8AC3E}">
        <p14:creationId xmlns:p14="http://schemas.microsoft.com/office/powerpoint/2010/main" val="18171146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Master" Target="../slideMasters/slideMaster3.xml"/><Relationship Id="rId4" Type="http://schemas.openxmlformats.org/officeDocument/2006/relationships/image" Target="../media/image49.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0.emf"/><Relationship Id="rId1" Type="http://schemas.openxmlformats.org/officeDocument/2006/relationships/slideMaster" Target="../slideMasters/slideMaster3.xml"/><Relationship Id="rId4" Type="http://schemas.openxmlformats.org/officeDocument/2006/relationships/image" Target="../media/image23.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30.jpe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0.jpeg"/><Relationship Id="rId1" Type="http://schemas.openxmlformats.org/officeDocument/2006/relationships/slideMaster" Target="../slideMasters/slideMaster3.xml"/><Relationship Id="rId5" Type="http://schemas.openxmlformats.org/officeDocument/2006/relationships/image" Target="../media/image31.jpeg"/><Relationship Id="rId4" Type="http://schemas.openxmlformats.org/officeDocument/2006/relationships/image" Target="../media/image30.jpe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3.xml"/><Relationship Id="rId4" Type="http://schemas.openxmlformats.org/officeDocument/2006/relationships/image" Target="../media/image36.jpe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3.xml"/><Relationship Id="rId5" Type="http://schemas.openxmlformats.org/officeDocument/2006/relationships/image" Target="../media/image40.jpeg"/><Relationship Id="rId4" Type="http://schemas.openxmlformats.org/officeDocument/2006/relationships/image" Target="../media/image39.jpe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0.jpeg"/><Relationship Id="rId1" Type="http://schemas.openxmlformats.org/officeDocument/2006/relationships/slideMaster" Target="../slideMasters/slideMaster3.xml"/><Relationship Id="rId6" Type="http://schemas.openxmlformats.org/officeDocument/2006/relationships/image" Target="../media/image41.jpeg"/><Relationship Id="rId5" Type="http://schemas.openxmlformats.org/officeDocument/2006/relationships/image" Target="../media/image31.jpeg"/><Relationship Id="rId4" Type="http://schemas.openxmlformats.org/officeDocument/2006/relationships/image" Target="../media/image30.jpe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30.jpe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0.jpeg"/><Relationship Id="rId1" Type="http://schemas.openxmlformats.org/officeDocument/2006/relationships/slideMaster" Target="../slideMasters/slideMaster3.xml"/><Relationship Id="rId5" Type="http://schemas.openxmlformats.org/officeDocument/2006/relationships/image" Target="../media/image31.jpeg"/><Relationship Id="rId4" Type="http://schemas.openxmlformats.org/officeDocument/2006/relationships/image" Target="../media/image30.jpe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0.jpeg"/><Relationship Id="rId1" Type="http://schemas.openxmlformats.org/officeDocument/2006/relationships/slideMaster" Target="../slideMasters/slideMaster3.xml"/><Relationship Id="rId6" Type="http://schemas.openxmlformats.org/officeDocument/2006/relationships/image" Target="../media/image41.jpeg"/><Relationship Id="rId5" Type="http://schemas.openxmlformats.org/officeDocument/2006/relationships/image" Target="../media/image31.jpeg"/><Relationship Id="rId4" Type="http://schemas.openxmlformats.org/officeDocument/2006/relationships/image" Target="../media/image30.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resentation">
    <p:bg>
      <p:bgPr>
        <a:gradFill>
          <a:gsLst>
            <a:gs pos="2000">
              <a:srgbClr val="0179D4"/>
            </a:gs>
            <a:gs pos="32000">
              <a:srgbClr val="2CB6FF"/>
            </a:gs>
            <a:gs pos="44000">
              <a:srgbClr val="2DB6FF"/>
            </a:gs>
            <a:gs pos="81000">
              <a:srgbClr val="D962FA"/>
            </a:gs>
            <a:gs pos="96000">
              <a:srgbClr val="F69991"/>
            </a:gs>
          </a:gsLst>
          <a:lin ang="3600000" scaled="0"/>
        </a:grad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E9233ADA-E271-6E93-F32E-718454D76C3D}"/>
              </a:ext>
            </a:extLst>
          </p:cNvPr>
          <p:cNvSpPr/>
          <p:nvPr userDrawn="1"/>
        </p:nvSpPr>
        <p:spPr>
          <a:xfrm>
            <a:off x="322521" y="283028"/>
            <a:ext cx="11546958" cy="6291943"/>
          </a:xfrm>
          <a:prstGeom prst="roundRect">
            <a:avLst>
              <a:gd name="adj" fmla="val 3511"/>
            </a:avLst>
          </a:prstGeom>
          <a:solidFill>
            <a:srgbClr val="091F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MS logo gray - EMF">
            <a:extLst>
              <a:ext uri="{FF2B5EF4-FFF2-40B4-BE49-F238E27FC236}">
                <a16:creationId xmlns:a16="http://schemas.microsoft.com/office/drawing/2014/main" id="{F64DBD9B-57E9-BAEC-DDB8-E957620339A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82944" y="13063873"/>
            <a:ext cx="1366440" cy="292608"/>
          </a:xfrm>
          <a:prstGeom prst="rect">
            <a:avLst/>
          </a:prstGeom>
        </p:spPr>
      </p:pic>
      <p:pic>
        <p:nvPicPr>
          <p:cNvPr id="10" name="Picture 9" descr="A blue text on a dark background&#10;&#10;AI-generated content may be incorrect.">
            <a:extLst>
              <a:ext uri="{FF2B5EF4-FFF2-40B4-BE49-F238E27FC236}">
                <a16:creationId xmlns:a16="http://schemas.microsoft.com/office/drawing/2014/main" id="{F91EBE01-28A7-9587-582B-5D328ACBDEA8}"/>
              </a:ext>
            </a:extLst>
          </p:cNvPr>
          <p:cNvPicPr>
            <a:picLocks noChangeAspect="1"/>
          </p:cNvPicPr>
          <p:nvPr userDrawn="1"/>
        </p:nvPicPr>
        <p:blipFill>
          <a:blip r:embed="rId3">
            <a:extLst>
              <a:ext uri="{28A0092B-C50C-407E-A947-70E740481C1C}">
                <a14:useLocalDpi xmlns:a14="http://schemas.microsoft.com/office/drawing/2010/main" val="0"/>
              </a:ext>
            </a:extLst>
          </a:blip>
          <a:srcRect l="6973" t="18834" r="57059" b="22553"/>
          <a:stretch/>
        </p:blipFill>
        <p:spPr>
          <a:xfrm>
            <a:off x="588552" y="569042"/>
            <a:ext cx="3765004" cy="894000"/>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758597" y="2922191"/>
            <a:ext cx="8193024" cy="1495794"/>
          </a:xfrm>
          <a:noFill/>
        </p:spPr>
        <p:txBody>
          <a:bodyPr wrap="square" lIns="0" tIns="0" rIns="0" bIns="0" anchor="b" anchorCtr="0">
            <a:spAutoFit/>
          </a:bodyPr>
          <a:lstStyle>
            <a:lvl1pPr algn="l">
              <a:defRPr sz="5400" b="1" i="0" spc="-50" baseline="0">
                <a:gradFill>
                  <a:gsLst>
                    <a:gs pos="2000">
                      <a:srgbClr val="0179D4"/>
                    </a:gs>
                    <a:gs pos="32000">
                      <a:srgbClr val="2CB6FF"/>
                    </a:gs>
                    <a:gs pos="44000">
                      <a:srgbClr val="2DB6FF"/>
                    </a:gs>
                    <a:gs pos="81000">
                      <a:srgbClr val="D962FA"/>
                    </a:gs>
                    <a:gs pos="96000">
                      <a:srgbClr val="F69991"/>
                    </a:gs>
                  </a:gsLst>
                  <a:lin ang="3600000" scaled="0"/>
                </a:gradFill>
                <a:latin typeface="Segoe UI" panose="020B0502040204020203" pitchFamily="34" charset="0"/>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758597" y="4573783"/>
            <a:ext cx="8193024" cy="276999"/>
          </a:xfrm>
          <a:prstGeom prst="rect">
            <a:avLst/>
          </a:prstGeom>
          <a:noFill/>
        </p:spPr>
        <p:txBody>
          <a:bodyPr wrap="square" lIns="0" tIns="0" rIns="0" bIns="0">
            <a:spAutoFit/>
          </a:bodyPr>
          <a:lstStyle>
            <a:lvl1pPr marL="0" indent="0">
              <a:spcBef>
                <a:spcPts val="0"/>
              </a:spcBef>
              <a:buNone/>
              <a:defRPr sz="2000" spc="0" baseline="0">
                <a:solidFill>
                  <a:schemeClr val="bg1"/>
                </a:solidFill>
                <a:latin typeface="Segoe UI" panose="020B0502040204020203" pitchFamily="34" charset="0"/>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758597" y="6135070"/>
            <a:ext cx="1645920" cy="139397"/>
          </a:xfrm>
          <a:prstGeom prst="rect">
            <a:avLst/>
          </a:prstGeom>
          <a:noFill/>
        </p:spPr>
        <p:txBody>
          <a:bodyPr wrap="square" lIns="0" tIns="0" rIns="0" bIns="0">
            <a:spAutoFit/>
          </a:bodyPr>
          <a:lstStyle>
            <a:lvl1pPr marL="0" indent="0">
              <a:spcBef>
                <a:spcPts val="0"/>
              </a:spcBef>
              <a:buNone/>
              <a:defRPr sz="1000" spc="0" baseline="0">
                <a:solidFill>
                  <a:schemeClr val="bg1"/>
                </a:solidFill>
                <a:latin typeface="Segoe UI" panose="020B0502040204020203" pitchFamily="34" charset="0"/>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647609" y="613507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bg1"/>
                </a:solidFill>
                <a:latin typeface="Segoe UI" panose="020B0502040204020203" pitchFamily="34" charset="0"/>
                <a:ea typeface="+mn-ea"/>
                <a:cs typeface="Segoe UI" panose="020B0502040204020203" pitchFamily="34" charset="0"/>
              </a:rPr>
              <a:t>© Copyright Microsoft Corporation. All rights reserved. </a:t>
            </a:r>
          </a:p>
        </p:txBody>
      </p:sp>
      <p:pic>
        <p:nvPicPr>
          <p:cNvPr id="12" name="MS logo gray - EMF">
            <a:extLst>
              <a:ext uri="{FF2B5EF4-FFF2-40B4-BE49-F238E27FC236}">
                <a16:creationId xmlns:a16="http://schemas.microsoft.com/office/drawing/2014/main" id="{AAF3FFA6-DD3A-C046-9BAB-42C1143979D3}"/>
              </a:ext>
            </a:extLst>
          </p:cNvPr>
          <p:cNvPicPr>
            <a:picLocks noChangeAspect="1"/>
          </p:cNvPicPr>
          <p:nvPr userDrawn="1"/>
        </p:nvPicPr>
        <p:blipFill>
          <a:blip r:embed="rId4">
            <a:extLst>
              <a:ext uri="{28A0092B-C50C-407E-A947-70E740481C1C}">
                <a14:useLocalDpi xmlns:a14="http://schemas.microsoft.com/office/drawing/2010/main" val="0"/>
              </a:ext>
            </a:extLst>
          </a:blip>
          <a:srcRect l="12679" t="30223" r="10306" b="29367"/>
          <a:stretch/>
        </p:blipFill>
        <p:spPr bwMode="black">
          <a:xfrm>
            <a:off x="10104777" y="6035405"/>
            <a:ext cx="1501911" cy="353217"/>
          </a:xfrm>
          <a:prstGeom prst="rect">
            <a:avLst/>
          </a:prstGeom>
        </p:spPr>
      </p:pic>
    </p:spTree>
    <p:extLst>
      <p:ext uri="{BB962C8B-B14F-4D97-AF65-F5344CB8AC3E}">
        <p14:creationId xmlns:p14="http://schemas.microsoft.com/office/powerpoint/2010/main" val="2697538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ull page picture">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DB1E7546-6F08-2CA1-9CC5-8B527B1021C5}"/>
              </a:ext>
            </a:extLst>
          </p:cNvPr>
          <p:cNvSpPr/>
          <p:nvPr userDrawn="1"/>
        </p:nvSpPr>
        <p:spPr>
          <a:xfrm>
            <a:off x="322521" y="283028"/>
            <a:ext cx="11546958" cy="6291943"/>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a:extLst>
              <a:ext uri="{FF2B5EF4-FFF2-40B4-BE49-F238E27FC236}">
                <a16:creationId xmlns:a16="http://schemas.microsoft.com/office/drawing/2014/main" id="{96159689-30F3-F218-A97C-F85C6D2A04ED}"/>
              </a:ext>
            </a:extLst>
          </p:cNvPr>
          <p:cNvSpPr>
            <a:spLocks noGrp="1"/>
          </p:cNvSpPr>
          <p:nvPr>
            <p:ph type="pic" idx="1"/>
          </p:nvPr>
        </p:nvSpPr>
        <p:spPr>
          <a:xfrm>
            <a:off x="375385" y="298383"/>
            <a:ext cx="11511815" cy="628529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164782490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409757"/>
            <a:ext cx="3948684" cy="124650"/>
          </a:xfrm>
          <a:noFill/>
        </p:spPr>
        <p:txBody>
          <a:bodyPr wrap="square" lIns="0" tIns="0" rIns="0" bIns="0" anchor="b" anchorCtr="0">
            <a:spAutoFit/>
          </a:bodyPr>
          <a:lstStyle>
            <a:lvl1pPr algn="l" defTabSz="233215" rtl="0" eaLnBrk="1" latinLnBrk="0" hangingPunct="1">
              <a:lnSpc>
                <a:spcPct val="90000"/>
              </a:lnSpc>
              <a:spcBef>
                <a:spcPct val="0"/>
              </a:spcBef>
              <a:buNone/>
              <a:defRPr lang="en-US" sz="900" b="0" kern="1200" cap="none" spc="-13"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21695173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p15:clr>
            <a:srgbClr val="FBAE40"/>
          </p15:clr>
        </p15:guide>
        <p15:guide id="2" pos="18405">
          <p15:clr>
            <a:srgbClr val="5ACBF0"/>
          </p15:clr>
        </p15:guide>
        <p15:guide id="3" orient="horz" pos="2547">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409757"/>
            <a:ext cx="3948684" cy="124650"/>
          </a:xfrm>
          <a:noFill/>
        </p:spPr>
        <p:txBody>
          <a:bodyPr wrap="square" lIns="0" tIns="0" rIns="0" bIns="0" anchor="b" anchorCtr="0">
            <a:spAutoFit/>
          </a:bodyPr>
          <a:lstStyle>
            <a:lvl1pPr algn="l" defTabSz="233215" rtl="0" eaLnBrk="1" latinLnBrk="0" hangingPunct="1">
              <a:lnSpc>
                <a:spcPct val="90000"/>
              </a:lnSpc>
              <a:spcBef>
                <a:spcPct val="0"/>
              </a:spcBef>
              <a:buNone/>
              <a:defRPr lang="en-US" sz="900" b="0" kern="1200" cap="none" spc="-13"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36703231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p15:clr>
            <a:srgbClr val="FBAE40"/>
          </p15:clr>
        </p15:guide>
        <p15:guide id="2" pos="18405">
          <p15:clr>
            <a:srgbClr val="5ACBF0"/>
          </p15:clr>
        </p15:guide>
        <p15:guide id="3" orient="horz" pos="2547">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409757"/>
            <a:ext cx="3948684" cy="124650"/>
          </a:xfrm>
          <a:noFill/>
        </p:spPr>
        <p:txBody>
          <a:bodyPr wrap="square" lIns="0" tIns="0" rIns="0" bIns="0" anchor="b" anchorCtr="0">
            <a:spAutoFit/>
          </a:bodyPr>
          <a:lstStyle>
            <a:lvl1pPr algn="l" defTabSz="233215" rtl="0" eaLnBrk="1" latinLnBrk="0" hangingPunct="1">
              <a:lnSpc>
                <a:spcPct val="90000"/>
              </a:lnSpc>
              <a:spcBef>
                <a:spcPct val="0"/>
              </a:spcBef>
              <a:buNone/>
              <a:defRPr lang="en-US" sz="900" b="0" kern="1200" cap="none" spc="-13"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233147" fontAlgn="base">
                <a:spcBef>
                  <a:spcPct val="0"/>
                </a:spcBef>
                <a:spcAft>
                  <a:spcPct val="0"/>
                </a:spcAft>
              </a:pPr>
              <a:endParaRPr lang="en-US" sz="5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262784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p15:clr>
            <a:srgbClr val="FBAE40"/>
          </p15:clr>
        </p15:guide>
        <p15:guide id="2" pos="18405">
          <p15:clr>
            <a:srgbClr val="5ACBF0"/>
          </p15:clr>
        </p15:guide>
        <p15:guide id="3" orient="horz" pos="2547">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2403837"/>
      </p:ext>
    </p:extLst>
  </p:cSld>
  <p:clrMapOvr>
    <a:masterClrMapping/>
  </p:clrMapOvr>
  <p:transition>
    <p:fade/>
  </p:transition>
  <p:extLst>
    <p:ext uri="{DCECCB84-F9BA-43D5-87BE-67443E8EF086}">
      <p15:sldGuideLst xmlns:p15="http://schemas.microsoft.com/office/powerpoint/2012/main">
        <p15:guide id="6" pos="2337">
          <p15:clr>
            <a:srgbClr val="A4A3A4"/>
          </p15:clr>
        </p15:guide>
        <p15:guide id="7" pos="2886">
          <p15:clr>
            <a:srgbClr val="A4A3A4"/>
          </p15:clr>
        </p15:guide>
        <p15:guide id="8" pos="4119">
          <p15:clr>
            <a:srgbClr val="A4A3A4"/>
          </p15:clr>
        </p15:guide>
        <p15:guide id="9" pos="4668">
          <p15:clr>
            <a:srgbClr val="A4A3A4"/>
          </p15:clr>
        </p15:guide>
        <p15:guide id="10" pos="5901">
          <p15:clr>
            <a:srgbClr val="A4A3A4"/>
          </p15:clr>
        </p15:guide>
        <p15:guide id="11" pos="6450">
          <p15:clr>
            <a:srgbClr val="A4A3A4"/>
          </p15:clr>
        </p15:guide>
        <p15:guide id="12" pos="7683">
          <p15:clr>
            <a:srgbClr val="A4A3A4"/>
          </p15:clr>
        </p15:guide>
        <p15:guide id="13" pos="8232">
          <p15:clr>
            <a:srgbClr val="A4A3A4"/>
          </p15:clr>
        </p15:guide>
        <p15:guide id="14" pos="9483">
          <p15:clr>
            <a:srgbClr val="A4A3A4"/>
          </p15:clr>
        </p15:guide>
        <p15:guide id="15" pos="10044">
          <p15:clr>
            <a:srgbClr val="A4A3A4"/>
          </p15:clr>
        </p15:guide>
        <p15:guide id="16" pos="11262">
          <p15:clr>
            <a:srgbClr val="A4A3A4"/>
          </p15:clr>
        </p15:guide>
        <p15:guide id="17" pos="11793">
          <p15:clr>
            <a:srgbClr val="A4A3A4"/>
          </p15:clr>
        </p15:guide>
        <p15:guide id="18" pos="13026">
          <p15:clr>
            <a:srgbClr val="A4A3A4"/>
          </p15:clr>
        </p15:guide>
        <p15:guide id="19" pos="13593">
          <p15:clr>
            <a:srgbClr val="A4A3A4"/>
          </p15:clr>
        </p15:guide>
        <p15:guide id="20" pos="14811">
          <p15:clr>
            <a:srgbClr val="A4A3A4"/>
          </p15:clr>
        </p15:guide>
        <p15:guide id="21" pos="15360">
          <p15:clr>
            <a:srgbClr val="A4A3A4"/>
          </p15:clr>
        </p15:guide>
        <p15:guide id="22" pos="16587">
          <p15:clr>
            <a:srgbClr val="A4A3A4"/>
          </p15:clr>
        </p15:guide>
        <p15:guide id="23" pos="17142">
          <p15:clr>
            <a:srgbClr val="A4A3A4"/>
          </p15:clr>
        </p15:guide>
        <p15:guide id="24" pos="18369">
          <p15:clr>
            <a:srgbClr val="A4A3A4"/>
          </p15:clr>
        </p15:guide>
        <p15:guide id="25" pos="18924">
          <p15:clr>
            <a:srgbClr val="A4A3A4"/>
          </p15:clr>
        </p15:guide>
        <p15:guide id="26" pos="20151">
          <p15:clr>
            <a:srgbClr val="A4A3A4"/>
          </p15:clr>
        </p15:guide>
        <p15:guide id="27" pos="20700">
          <p15:clr>
            <a:srgbClr val="A4A3A4"/>
          </p15:clr>
        </p15:guide>
        <p15:guide id="28" orient="horz" pos="1207">
          <p15:clr>
            <a:srgbClr val="5ACBF0"/>
          </p15:clr>
        </p15:guide>
        <p15:guide id="29" orient="horz" pos="1695">
          <p15:clr>
            <a:srgbClr val="5ACBF0"/>
          </p15:clr>
        </p15:guide>
        <p15:guide id="30" orient="horz" pos="384">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7321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2337">
          <p15:clr>
            <a:srgbClr val="A4A3A4"/>
          </p15:clr>
        </p15:guide>
        <p15:guide id="7" pos="2886">
          <p15:clr>
            <a:srgbClr val="A4A3A4"/>
          </p15:clr>
        </p15:guide>
        <p15:guide id="8" pos="4119">
          <p15:clr>
            <a:srgbClr val="A4A3A4"/>
          </p15:clr>
        </p15:guide>
        <p15:guide id="9" pos="4668">
          <p15:clr>
            <a:srgbClr val="A4A3A4"/>
          </p15:clr>
        </p15:guide>
        <p15:guide id="10" pos="5901">
          <p15:clr>
            <a:srgbClr val="A4A3A4"/>
          </p15:clr>
        </p15:guide>
        <p15:guide id="11" pos="6450">
          <p15:clr>
            <a:srgbClr val="A4A3A4"/>
          </p15:clr>
        </p15:guide>
        <p15:guide id="12" pos="7683">
          <p15:clr>
            <a:srgbClr val="A4A3A4"/>
          </p15:clr>
        </p15:guide>
        <p15:guide id="13" pos="8232">
          <p15:clr>
            <a:srgbClr val="A4A3A4"/>
          </p15:clr>
        </p15:guide>
        <p15:guide id="14" pos="9465">
          <p15:clr>
            <a:srgbClr val="A4A3A4"/>
          </p15:clr>
        </p15:guide>
        <p15:guide id="15" pos="10014">
          <p15:clr>
            <a:srgbClr val="A4A3A4"/>
          </p15:clr>
        </p15:guide>
        <p15:guide id="16" pos="11247">
          <p15:clr>
            <a:srgbClr val="A4A3A4"/>
          </p15:clr>
        </p15:guide>
        <p15:guide id="17" pos="11796">
          <p15:clr>
            <a:srgbClr val="A4A3A4"/>
          </p15:clr>
        </p15:guide>
        <p15:guide id="18" pos="13029">
          <p15:clr>
            <a:srgbClr val="A4A3A4"/>
          </p15:clr>
        </p15:guide>
        <p15:guide id="19" pos="13578">
          <p15:clr>
            <a:srgbClr val="A4A3A4"/>
          </p15:clr>
        </p15:guide>
        <p15:guide id="20" pos="14811">
          <p15:clr>
            <a:srgbClr val="A4A3A4"/>
          </p15:clr>
        </p15:guide>
        <p15:guide id="21" pos="15360">
          <p15:clr>
            <a:srgbClr val="A4A3A4"/>
          </p15:clr>
        </p15:guide>
        <p15:guide id="22" pos="16587">
          <p15:clr>
            <a:srgbClr val="A4A3A4"/>
          </p15:clr>
        </p15:guide>
        <p15:guide id="23" pos="17142">
          <p15:clr>
            <a:srgbClr val="A4A3A4"/>
          </p15:clr>
        </p15:guide>
        <p15:guide id="24" pos="18369">
          <p15:clr>
            <a:srgbClr val="A4A3A4"/>
          </p15:clr>
        </p15:guide>
        <p15:guide id="25" pos="18924">
          <p15:clr>
            <a:srgbClr val="A4A3A4"/>
          </p15:clr>
        </p15:guide>
        <p15:guide id="26" pos="20151">
          <p15:clr>
            <a:srgbClr val="A4A3A4"/>
          </p15:clr>
        </p15:guide>
        <p15:guide id="27" pos="20700">
          <p15:clr>
            <a:srgbClr val="A4A3A4"/>
          </p15:clr>
        </p15:guide>
        <p15:guide id="28" orient="horz" pos="1207">
          <p15:clr>
            <a:srgbClr val="5ACBF0"/>
          </p15:clr>
        </p15:guide>
        <p15:guide id="29" orient="horz" pos="1695">
          <p15:clr>
            <a:srgbClr val="5ACBF0"/>
          </p15:clr>
        </p15:guide>
        <p15:guide id="30" orient="horz" pos="38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409757"/>
            <a:ext cx="9144000" cy="124650"/>
          </a:xfrm>
          <a:noFill/>
        </p:spPr>
        <p:txBody>
          <a:bodyPr lIns="0" tIns="0" rIns="0" bIns="0" anchor="b" anchorCtr="0">
            <a:spAutoFit/>
          </a:bodyPr>
          <a:lstStyle>
            <a:lvl1pPr algn="l" defTabSz="233215" rtl="0" eaLnBrk="1" latinLnBrk="0" hangingPunct="1">
              <a:lnSpc>
                <a:spcPct val="90000"/>
              </a:lnSpc>
              <a:spcBef>
                <a:spcPct val="0"/>
              </a:spcBef>
              <a:buNone/>
              <a:defRPr lang="en-US" sz="900" b="0" kern="1200" cap="none" spc="-13"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4136891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p15:clr>
            <a:srgbClr val="FBAE40"/>
          </p15:clr>
        </p15:guide>
        <p15:guide id="2" pos="18381">
          <p15:clr>
            <a:srgbClr val="5ACBF0"/>
          </p15:clr>
        </p15:guide>
        <p15:guide id="3" orient="horz" pos="254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409757"/>
            <a:ext cx="3948683" cy="124650"/>
          </a:xfrm>
          <a:noFill/>
        </p:spPr>
        <p:txBody>
          <a:bodyPr wrap="square" lIns="0" tIns="0" rIns="0" bIns="0" anchor="b" anchorCtr="0">
            <a:spAutoFit/>
          </a:bodyPr>
          <a:lstStyle>
            <a:lvl1pPr algn="l" defTabSz="233215" rtl="0" eaLnBrk="1" latinLnBrk="0" hangingPunct="1">
              <a:lnSpc>
                <a:spcPct val="90000"/>
              </a:lnSpc>
              <a:spcBef>
                <a:spcPct val="0"/>
              </a:spcBef>
              <a:buNone/>
              <a:defRPr lang="en-US" sz="900" b="0" kern="1200" cap="none" spc="-13"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3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218194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p15:clr>
            <a:srgbClr val="FBAE40"/>
          </p15:clr>
        </p15:guide>
        <p15:guide id="2" pos="18381">
          <p15:clr>
            <a:srgbClr val="5ACBF0"/>
          </p15:clr>
        </p15:guide>
        <p15:guide id="3" orient="horz" pos="254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1" y="6242108"/>
            <a:ext cx="4482124" cy="2693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233102" eaLnBrk="0" hangingPunct="0"/>
            <a:r>
              <a:rPr lang="en-US" sz="175">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4" y="585790"/>
            <a:ext cx="2308795" cy="294140"/>
          </a:xfrm>
          <a:prstGeom prst="rect">
            <a:avLst/>
          </a:prstGeom>
        </p:spPr>
      </p:pic>
    </p:spTree>
    <p:extLst>
      <p:ext uri="{BB962C8B-B14F-4D97-AF65-F5344CB8AC3E}">
        <p14:creationId xmlns:p14="http://schemas.microsoft.com/office/powerpoint/2010/main" val="3887078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91"/>
            <a:ext cx="11018838" cy="553998"/>
          </a:xfrm>
        </p:spPr>
        <p:txBody>
          <a:bodyPr>
            <a:spAutoFit/>
          </a:bodyPr>
          <a:lstStyle>
            <a:lvl1pPr>
              <a:defRPr sz="900">
                <a:latin typeface="+mn-lt"/>
              </a:defRPr>
            </a:lvl1pPr>
            <a:lvl2pPr>
              <a:defRPr sz="700">
                <a:latin typeface="+mn-lt"/>
              </a:defRPr>
            </a:lvl2pPr>
            <a:lvl3pPr>
              <a:defRPr sz="600">
                <a:latin typeface="+mn-lt"/>
              </a:defRPr>
            </a:lvl3pPr>
            <a:lvl4pPr>
              <a:defRPr sz="500">
                <a:latin typeface="+mn-lt"/>
              </a:defRPr>
            </a:lvl4pPr>
            <a:lvl5pPr>
              <a:defRPr sz="4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925" spc="-13"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055831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05">
          <p15:clr>
            <a:srgbClr val="5ACBF0"/>
          </p15:clr>
        </p15:guide>
        <p15:guide id="2" orient="horz" pos="38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Rainbow Blank">
    <p:bg>
      <p:bgPr>
        <a:gradFill>
          <a:gsLst>
            <a:gs pos="2000">
              <a:srgbClr val="0179D4"/>
            </a:gs>
            <a:gs pos="32000">
              <a:srgbClr val="2CB6FF"/>
            </a:gs>
            <a:gs pos="44000">
              <a:srgbClr val="2DB6FF"/>
            </a:gs>
            <a:gs pos="81000">
              <a:srgbClr val="D962FA"/>
            </a:gs>
            <a:gs pos="96000">
              <a:srgbClr val="F69991"/>
            </a:gs>
          </a:gsLst>
          <a:lin ang="3600000" scaled="0"/>
        </a:gra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0239FA0-8DC7-5F1D-3921-B8597DF32CB1}"/>
              </a:ext>
            </a:extLst>
          </p:cNvPr>
          <p:cNvSpPr/>
          <p:nvPr userDrawn="1"/>
        </p:nvSpPr>
        <p:spPr>
          <a:xfrm>
            <a:off x="1" y="0"/>
            <a:ext cx="12192000" cy="6858000"/>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97222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White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13831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Dark blank">
    <p:bg>
      <p:bgPr>
        <a:solidFill>
          <a:srgbClr val="091F2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12595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ull page">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143208B3-217E-A316-BD41-000CF45068A3}"/>
              </a:ext>
            </a:extLst>
          </p:cNvPr>
          <p:cNvSpPr/>
          <p:nvPr userDrawn="1"/>
        </p:nvSpPr>
        <p:spPr>
          <a:xfrm>
            <a:off x="322521" y="283028"/>
            <a:ext cx="11546958" cy="6291943"/>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1475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6614436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3216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Section_Gradient_Warm Gray">
    <p:bg>
      <p:bgPr>
        <a:solidFill>
          <a:schemeClr val="bg1"/>
        </a:solidFill>
        <a:effectLst/>
      </p:bgPr>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A83DAD36-086B-87B0-091E-EC03E2CFCA2C}"/>
              </a:ext>
            </a:extLst>
          </p:cNvPr>
          <p:cNvPicPr>
            <a:picLocks noChangeAspect="1"/>
          </p:cNvPicPr>
          <p:nvPr userDrawn="1"/>
        </p:nvPicPr>
        <p:blipFill>
          <a:blip r:embed="rId2"/>
          <a:srcRect t="9590" r="19181" b="9590"/>
          <a:stretch/>
        </p:blipFill>
        <p:spPr>
          <a:xfrm>
            <a:off x="0" y="0"/>
            <a:ext cx="12191998" cy="6857999"/>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7452360"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21894441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right photo tech scan 5">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898137" cy="1231106"/>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894254"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3" name="Graphic 2" descr="Microsoft Security">
            <a:extLst>
              <a:ext uri="{FF2B5EF4-FFF2-40B4-BE49-F238E27FC236}">
                <a16:creationId xmlns:a16="http://schemas.microsoft.com/office/drawing/2014/main" id="{CD178E6C-344F-91D9-35BD-CD8D9458FDF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a:stretch/>
        </p:blipFill>
        <p:spPr>
          <a:xfrm>
            <a:off x="575021" y="573599"/>
            <a:ext cx="2291715" cy="290498"/>
          </a:xfrm>
          <a:prstGeom prst="rect">
            <a:avLst/>
          </a:prstGeom>
        </p:spPr>
      </p:pic>
      <p:pic>
        <p:nvPicPr>
          <p:cNvPr id="4" name="Picture 3">
            <a:extLst>
              <a:ext uri="{FF2B5EF4-FFF2-40B4-BE49-F238E27FC236}">
                <a16:creationId xmlns:a16="http://schemas.microsoft.com/office/drawing/2014/main" id="{FF8FEF17-5CC2-F258-A532-2B1F0D727CE0}"/>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t="1009" r="38546" b="5916"/>
          <a:stretch/>
        </p:blipFill>
        <p:spPr>
          <a:xfrm>
            <a:off x="6096547" y="0"/>
            <a:ext cx="6095453" cy="6858000"/>
          </a:xfrm>
          <a:prstGeom prst="rect">
            <a:avLst/>
          </a:prstGeom>
        </p:spPr>
      </p:pic>
    </p:spTree>
    <p:extLst>
      <p:ext uri="{BB962C8B-B14F-4D97-AF65-F5344CB8AC3E}">
        <p14:creationId xmlns:p14="http://schemas.microsoft.com/office/powerpoint/2010/main" val="1431969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456">
          <p15:clr>
            <a:srgbClr val="5ACBF0"/>
          </p15:clr>
        </p15:guide>
        <p15:guide id="5" orient="horz" pos="2160">
          <p15:clr>
            <a:srgbClr val="FBAE40"/>
          </p15:clr>
        </p15:guide>
        <p15:guide id="6" orient="horz" pos="2229">
          <p15:clr>
            <a:srgbClr val="5ACBF0"/>
          </p15:clr>
        </p15:guide>
        <p15:guide id="7" pos="384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6">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EF2A93D-EA52-E933-A063-C89BF9DFEBE0}"/>
              </a:ext>
            </a:extLst>
          </p:cNvPr>
          <p:cNvPicPr>
            <a:picLocks noChangeAspect="1"/>
          </p:cNvPicPr>
          <p:nvPr userDrawn="1"/>
        </p:nvPicPr>
        <p:blipFill>
          <a:blip r:embed="rId2">
            <a:extLst>
              <a:ext uri="{28A0092B-C50C-407E-A947-70E740481C1C}">
                <a14:useLocalDpi xmlns:a14="http://schemas.microsoft.com/office/drawing/2010/main" val="0"/>
              </a:ext>
            </a:extLst>
          </a:blip>
          <a:srcRect l="29466" r="29466"/>
          <a:stretch/>
        </p:blipFill>
        <p:spPr>
          <a:xfrm>
            <a:off x="7185023" y="0"/>
            <a:ext cx="5006977"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236662" y="1871327"/>
            <a:ext cx="4059237" cy="1107996"/>
          </a:xfrm>
        </p:spPr>
        <p:txBody>
          <a:bodyPr wrap="square" anchor="t">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n-lt"/>
                <a:ea typeface="+mn-ea"/>
                <a:cs typeface="Segoe Sans Display" pitchFamily="2" charset="0"/>
              </a:defRPr>
            </a:lvl1pPr>
          </a:lstStyle>
          <a:p>
            <a:r>
              <a:rPr lang="en-US"/>
              <a:t>Click to edit Master title style</a:t>
            </a:r>
          </a:p>
        </p:txBody>
      </p:sp>
      <p:grpSp>
        <p:nvGrpSpPr>
          <p:cNvPr id="3" name="Group 2">
            <a:extLst>
              <a:ext uri="{FF2B5EF4-FFF2-40B4-BE49-F238E27FC236}">
                <a16:creationId xmlns:a16="http://schemas.microsoft.com/office/drawing/2014/main" id="{A374D167-A877-DD4F-71B6-1B226D482EC6}"/>
              </a:ext>
              <a:ext uri="{C183D7F6-B498-43B3-948B-1728B52AA6E4}">
                <adec:decorative xmlns:adec="http://schemas.microsoft.com/office/drawing/2017/decorative" val="1"/>
              </a:ext>
            </a:extLst>
          </p:cNvPr>
          <p:cNvGrpSpPr>
            <a:grpSpLocks noChangeAspect="1"/>
          </p:cNvGrpSpPr>
          <p:nvPr userDrawn="1"/>
        </p:nvGrpSpPr>
        <p:grpSpPr>
          <a:xfrm>
            <a:off x="1236663" y="1053765"/>
            <a:ext cx="524538" cy="457200"/>
            <a:chOff x="4169763" y="585788"/>
            <a:chExt cx="713371" cy="622746"/>
          </a:xfrm>
          <a:solidFill>
            <a:schemeClr val="tx1"/>
          </a:solidFill>
        </p:grpSpPr>
        <p:sp>
          <p:nvSpPr>
            <p:cNvPr id="4" name="Graphic 9">
              <a:extLst>
                <a:ext uri="{FF2B5EF4-FFF2-40B4-BE49-F238E27FC236}">
                  <a16:creationId xmlns:a16="http://schemas.microsoft.com/office/drawing/2014/main" id="{7E30BC2E-C9E5-9640-484B-8757872AA340}"/>
                </a:ext>
              </a:extLst>
            </p:cNvPr>
            <p:cNvSpPr/>
            <p:nvPr/>
          </p:nvSpPr>
          <p:spPr>
            <a:xfrm>
              <a:off x="4565666"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tlCol="0" anchor="ctr"/>
            <a:lstStyle/>
            <a:p>
              <a:pPr lvl="0"/>
              <a:endParaRPr lang="en-US"/>
            </a:p>
          </p:txBody>
        </p:sp>
        <p:sp>
          <p:nvSpPr>
            <p:cNvPr id="5" name="Graphic 9">
              <a:extLst>
                <a:ext uri="{FF2B5EF4-FFF2-40B4-BE49-F238E27FC236}">
                  <a16:creationId xmlns:a16="http://schemas.microsoft.com/office/drawing/2014/main" id="{E3CA75AC-6E69-6F07-C66F-627EE593FCC1}"/>
                </a:ext>
              </a:extLst>
            </p:cNvPr>
            <p:cNvSpPr/>
            <p:nvPr userDrawn="1"/>
          </p:nvSpPr>
          <p:spPr>
            <a:xfrm>
              <a:off x="4169763" y="585788"/>
              <a:ext cx="317468" cy="622746"/>
            </a:xfrm>
            <a:custGeom>
              <a:avLst/>
              <a:gdLst>
                <a:gd name="connsiteX0" fmla="*/ 19526 w 317468"/>
                <a:gd name="connsiteY0" fmla="*/ 622746 h 622746"/>
                <a:gd name="connsiteX1" fmla="*/ 0 w 317468"/>
                <a:gd name="connsiteY1" fmla="*/ 603315 h 622746"/>
                <a:gd name="connsiteX2" fmla="*/ 0 w 317468"/>
                <a:gd name="connsiteY2" fmla="*/ 387955 h 622746"/>
                <a:gd name="connsiteX3" fmla="*/ 81915 w 317468"/>
                <a:gd name="connsiteY3" fmla="*/ 123160 h 622746"/>
                <a:gd name="connsiteX4" fmla="*/ 298037 w 317468"/>
                <a:gd name="connsiteY4" fmla="*/ 287 h 622746"/>
                <a:gd name="connsiteX5" fmla="*/ 311944 w 317468"/>
                <a:gd name="connsiteY5" fmla="*/ 11336 h 622746"/>
                <a:gd name="connsiteX6" fmla="*/ 311944 w 317468"/>
                <a:gd name="connsiteY6" fmla="*/ 104681 h 622746"/>
                <a:gd name="connsiteX7" fmla="*/ 304229 w 317468"/>
                <a:gd name="connsiteY7" fmla="*/ 115445 h 622746"/>
                <a:gd name="connsiteX8" fmla="*/ 160401 w 317468"/>
                <a:gd name="connsiteY8" fmla="*/ 237555 h 622746"/>
                <a:gd name="connsiteX9" fmla="*/ 142018 w 317468"/>
                <a:gd name="connsiteY9" fmla="*/ 322709 h 622746"/>
                <a:gd name="connsiteX10" fmla="*/ 149543 w 317468"/>
                <a:gd name="connsiteY10" fmla="*/ 329948 h 622746"/>
                <a:gd name="connsiteX11" fmla="*/ 297942 w 317468"/>
                <a:gd name="connsiteY11" fmla="*/ 329948 h 622746"/>
                <a:gd name="connsiteX12" fmla="*/ 317468 w 317468"/>
                <a:gd name="connsiteY12" fmla="*/ 349379 h 622746"/>
                <a:gd name="connsiteX13" fmla="*/ 317468 w 317468"/>
                <a:gd name="connsiteY13" fmla="*/ 560643 h 622746"/>
                <a:gd name="connsiteX14" fmla="*/ 255461 w 317468"/>
                <a:gd name="connsiteY14" fmla="*/ 622556 h 622746"/>
                <a:gd name="connsiteX15" fmla="*/ 19526 w 317468"/>
                <a:gd name="connsiteY15" fmla="*/ 622556 h 6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468" h="622746">
                  <a:moveTo>
                    <a:pt x="19526" y="622746"/>
                  </a:moveTo>
                  <a:cubicBezTo>
                    <a:pt x="8763" y="622746"/>
                    <a:pt x="0" y="613983"/>
                    <a:pt x="0" y="603315"/>
                  </a:cubicBezTo>
                  <a:lnTo>
                    <a:pt x="0" y="387955"/>
                  </a:lnTo>
                  <a:cubicBezTo>
                    <a:pt x="0" y="275274"/>
                    <a:pt x="27337" y="186977"/>
                    <a:pt x="81915" y="123160"/>
                  </a:cubicBezTo>
                  <a:cubicBezTo>
                    <a:pt x="133922" y="62295"/>
                    <a:pt x="205931" y="21338"/>
                    <a:pt x="298037" y="287"/>
                  </a:cubicBezTo>
                  <a:cubicBezTo>
                    <a:pt x="305181" y="-1332"/>
                    <a:pt x="311944" y="4097"/>
                    <a:pt x="311944" y="11336"/>
                  </a:cubicBezTo>
                  <a:lnTo>
                    <a:pt x="311944" y="104681"/>
                  </a:lnTo>
                  <a:cubicBezTo>
                    <a:pt x="311944" y="109539"/>
                    <a:pt x="308896" y="113921"/>
                    <a:pt x="304229" y="115445"/>
                  </a:cubicBezTo>
                  <a:cubicBezTo>
                    <a:pt x="233458" y="138876"/>
                    <a:pt x="185452" y="179643"/>
                    <a:pt x="160401" y="237555"/>
                  </a:cubicBezTo>
                  <a:cubicBezTo>
                    <a:pt x="146780" y="266892"/>
                    <a:pt x="140589" y="295277"/>
                    <a:pt x="142018" y="322709"/>
                  </a:cubicBezTo>
                  <a:cubicBezTo>
                    <a:pt x="142208" y="326805"/>
                    <a:pt x="145542" y="329948"/>
                    <a:pt x="149543" y="329948"/>
                  </a:cubicBezTo>
                  <a:lnTo>
                    <a:pt x="297942" y="329948"/>
                  </a:lnTo>
                  <a:cubicBezTo>
                    <a:pt x="308705" y="329948"/>
                    <a:pt x="317468" y="338711"/>
                    <a:pt x="317468" y="349379"/>
                  </a:cubicBezTo>
                  <a:lnTo>
                    <a:pt x="317468" y="560643"/>
                  </a:lnTo>
                  <a:cubicBezTo>
                    <a:pt x="317468" y="594838"/>
                    <a:pt x="289751" y="622556"/>
                    <a:pt x="255461" y="622556"/>
                  </a:cubicBezTo>
                  <a:lnTo>
                    <a:pt x="19526" y="622556"/>
                  </a:lnTo>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FC028E71-17BB-C9A7-F5A0-5931B1E9EBB9}"/>
              </a:ext>
              <a:ext uri="{C183D7F6-B498-43B3-948B-1728B52AA6E4}">
                <adec:decorative xmlns:adec="http://schemas.microsoft.com/office/drawing/2017/decorative" val="0"/>
              </a:ext>
            </a:extLst>
          </p:cNvPr>
          <p:cNvSpPr>
            <a:spLocks noGrp="1"/>
          </p:cNvSpPr>
          <p:nvPr>
            <p:ph type="pic" sz="quarter" idx="13" hasCustomPrompt="1"/>
          </p:nvPr>
        </p:nvSpPr>
        <p:spPr bwMode="ltGray">
          <a:xfrm>
            <a:off x="6242050" y="1072356"/>
            <a:ext cx="4713287" cy="4713287"/>
          </a:xfrm>
          <a:prstGeom prst="roundRect">
            <a:avLst>
              <a:gd name="adj" fmla="val 1073"/>
            </a:avLst>
          </a:prstGeom>
          <a:blipFill>
            <a:blip r:embed="rId3"/>
            <a:stretch>
              <a:fillRect/>
            </a:stretch>
          </a:blipFill>
          <a:effectLst>
            <a:outerShdw blurRad="190500" dist="50800" dir="8100000" algn="ctr" rotWithShape="0">
              <a:srgbClr val="000000">
                <a:alpha val="25000"/>
              </a:srgbClr>
            </a:outerShdw>
          </a:effectLst>
        </p:spPr>
        <p:txBody>
          <a:bodyPr lIns="0" tIns="0" rIns="0" bIns="1005840" anchor="ctr" anchorCtr="0">
            <a:noAutofit/>
          </a:bodyPr>
          <a:lstStyle>
            <a:lvl1pPr marL="0" indent="0" algn="ctr">
              <a:lnSpc>
                <a:spcPct val="100000"/>
              </a:lnSpc>
              <a:buNone/>
              <a:defRPr sz="10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43316621"/>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4">
          <p15:clr>
            <a:srgbClr val="A4A3A4"/>
          </p15:clr>
        </p15:guide>
        <p15:guide id="19" pos="4526">
          <p15:clr>
            <a:srgbClr val="A4A3A4"/>
          </p15:clr>
        </p15:guide>
        <p15:guide id="20" pos="4937">
          <p15:clr>
            <a:srgbClr val="A4A3A4"/>
          </p15:clr>
        </p15:guide>
        <p15:guide id="21" pos="5120">
          <p15:clr>
            <a:srgbClr val="A4A3A4"/>
          </p15:clr>
        </p15:guide>
        <p15:guide id="22" pos="5520">
          <p15:clr>
            <a:srgbClr val="A4A3A4"/>
          </p15:clr>
        </p15:guide>
        <p15:guide id="23" pos="5714">
          <p15:clr>
            <a:srgbClr val="A4A3A4"/>
          </p15:clr>
        </p15:guide>
        <p15:guide id="24" pos="6123">
          <p15:clr>
            <a:srgbClr val="A4A3A4"/>
          </p15:clr>
        </p15:guide>
        <p15:guide id="25" pos="6312">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title page">
    <p:bg>
      <p:bgPr>
        <a:gradFill>
          <a:gsLst>
            <a:gs pos="2000">
              <a:srgbClr val="0179D4"/>
            </a:gs>
            <a:gs pos="32000">
              <a:srgbClr val="2CB6FF"/>
            </a:gs>
            <a:gs pos="44000">
              <a:srgbClr val="2DB6FF"/>
            </a:gs>
            <a:gs pos="81000">
              <a:srgbClr val="D962FA"/>
            </a:gs>
            <a:gs pos="96000">
              <a:srgbClr val="F69991"/>
            </a:gs>
          </a:gsLst>
          <a:lin ang="3600000" scaled="0"/>
        </a:gradFill>
        <a:effectLst/>
      </p:bgPr>
    </p:bg>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307E9F14-6022-5697-DFF4-86FA3A50C41A}"/>
              </a:ext>
            </a:extLst>
          </p:cNvPr>
          <p:cNvSpPr/>
          <p:nvPr userDrawn="1"/>
        </p:nvSpPr>
        <p:spPr>
          <a:xfrm>
            <a:off x="322521" y="283028"/>
            <a:ext cx="11546958" cy="6291943"/>
          </a:xfrm>
          <a:prstGeom prst="roundRect">
            <a:avLst>
              <a:gd name="adj" fmla="val 3511"/>
            </a:avLst>
          </a:prstGeom>
          <a:solidFill>
            <a:srgbClr val="091F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47B7B485-6FB1-1F40-9F6C-8E7C22564D7B}"/>
              </a:ext>
            </a:extLst>
          </p:cNvPr>
          <p:cNvSpPr>
            <a:spLocks noGrp="1"/>
          </p:cNvSpPr>
          <p:nvPr>
            <p:ph type="title" hasCustomPrompt="1"/>
          </p:nvPr>
        </p:nvSpPr>
        <p:spPr>
          <a:xfrm>
            <a:off x="758597" y="2922191"/>
            <a:ext cx="8193024" cy="1495794"/>
          </a:xfrm>
          <a:noFill/>
        </p:spPr>
        <p:txBody>
          <a:bodyPr wrap="square" lIns="0" tIns="0" rIns="0" bIns="0" anchor="b" anchorCtr="0">
            <a:spAutoFit/>
          </a:bodyPr>
          <a:lstStyle>
            <a:lvl1pPr algn="l">
              <a:defRPr sz="5400" b="1" i="0" spc="-50" baseline="0">
                <a:gradFill>
                  <a:gsLst>
                    <a:gs pos="2000">
                      <a:srgbClr val="0179D4"/>
                    </a:gs>
                    <a:gs pos="32000">
                      <a:srgbClr val="2CB6FF"/>
                    </a:gs>
                    <a:gs pos="44000">
                      <a:srgbClr val="2DB6FF"/>
                    </a:gs>
                    <a:gs pos="81000">
                      <a:srgbClr val="D962FA"/>
                    </a:gs>
                    <a:gs pos="96000">
                      <a:srgbClr val="F69991"/>
                    </a:gs>
                  </a:gsLst>
                  <a:lin ang="3600000" scaled="0"/>
                </a:gradFill>
                <a:latin typeface="Segoe UI" panose="020B0502040204020203" pitchFamily="34" charset="0"/>
                <a:cs typeface="Segoe UI" panose="020B0502040204020203" pitchFamily="34" charset="0"/>
              </a:defRPr>
            </a:lvl1pPr>
          </a:lstStyle>
          <a:p>
            <a:r>
              <a:rPr lang="en-US"/>
              <a:t>Event name or </a:t>
            </a:r>
            <a:br>
              <a:rPr lang="en-US"/>
            </a:br>
            <a:r>
              <a:rPr lang="en-US"/>
              <a:t>presentation title </a:t>
            </a:r>
          </a:p>
        </p:txBody>
      </p:sp>
      <p:pic>
        <p:nvPicPr>
          <p:cNvPr id="21" name="MS logo gray - EMF">
            <a:extLst>
              <a:ext uri="{FF2B5EF4-FFF2-40B4-BE49-F238E27FC236}">
                <a16:creationId xmlns:a16="http://schemas.microsoft.com/office/drawing/2014/main" id="{64A4DF9F-2B1C-CAA8-9FB0-804BF4B06E89}"/>
              </a:ext>
            </a:extLst>
          </p:cNvPr>
          <p:cNvPicPr>
            <a:picLocks noChangeAspect="1"/>
          </p:cNvPicPr>
          <p:nvPr userDrawn="1"/>
        </p:nvPicPr>
        <p:blipFill>
          <a:blip r:embed="rId2">
            <a:extLst>
              <a:ext uri="{28A0092B-C50C-407E-A947-70E740481C1C}">
                <a14:useLocalDpi xmlns:a14="http://schemas.microsoft.com/office/drawing/2010/main" val="0"/>
              </a:ext>
            </a:extLst>
          </a:blip>
          <a:srcRect l="12679" t="30223" r="10306" b="29367"/>
          <a:stretch/>
        </p:blipFill>
        <p:spPr bwMode="black">
          <a:xfrm>
            <a:off x="10104777" y="6035405"/>
            <a:ext cx="1501911" cy="353217"/>
          </a:xfrm>
          <a:prstGeom prst="rect">
            <a:avLst/>
          </a:prstGeom>
        </p:spPr>
      </p:pic>
    </p:spTree>
    <p:extLst>
      <p:ext uri="{BB962C8B-B14F-4D97-AF65-F5344CB8AC3E}">
        <p14:creationId xmlns:p14="http://schemas.microsoft.com/office/powerpoint/2010/main" val="3358456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Graphic Head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D56BC81-79FE-6633-4A0F-A6EB76D6B5A3}"/>
              </a:ext>
            </a:extLst>
          </p:cNvPr>
          <p:cNvPicPr>
            <a:picLocks noChangeAspect="1"/>
          </p:cNvPicPr>
          <p:nvPr userDrawn="1"/>
        </p:nvPicPr>
        <p:blipFill>
          <a:blip r:embed="rId2"/>
          <a:srcRect t="6318" b="75600"/>
          <a:stretch/>
        </p:blipFill>
        <p:spPr>
          <a:xfrm>
            <a:off x="1838" y="0"/>
            <a:ext cx="12188949" cy="1239768"/>
          </a:xfrm>
          <a:prstGeom prst="rect">
            <a:avLst/>
          </a:prstGeom>
        </p:spPr>
      </p:pic>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5363699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71501" y="464820"/>
            <a:ext cx="11049000" cy="492443"/>
          </a:xfrm>
        </p:spPr>
        <p:txBody>
          <a:bodyPr lIns="0" tIns="0" rIns="0" bIns="0">
            <a:noAutofit/>
          </a:bodyPr>
          <a:lstStyle>
            <a:lvl1pPr>
              <a:defRPr sz="3600">
                <a:solidFill>
                  <a:schemeClr val="tx1"/>
                </a:solidFill>
              </a:defRPr>
            </a:lvl1pPr>
          </a:lstStyle>
          <a:p>
            <a:r>
              <a:rPr lang="en-US"/>
              <a:t>Click to edit title</a:t>
            </a:r>
          </a:p>
        </p:txBody>
      </p:sp>
    </p:spTree>
    <p:extLst>
      <p:ext uri="{BB962C8B-B14F-4D97-AF65-F5344CB8AC3E}">
        <p14:creationId xmlns:p14="http://schemas.microsoft.com/office/powerpoint/2010/main" val="7205052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71501" y="-803541"/>
            <a:ext cx="11049000" cy="492443"/>
          </a:xfrm>
        </p:spPr>
        <p:txBody>
          <a:bodyPr lIns="0" tIns="0" rIns="0" bIns="0">
            <a:noAutofit/>
          </a:bodyPr>
          <a:lstStyle>
            <a:lvl1pPr>
              <a:defRPr sz="3600">
                <a:solidFill>
                  <a:schemeClr val="tx1"/>
                </a:solidFill>
              </a:defRPr>
            </a:lvl1pPr>
          </a:lstStyle>
          <a:p>
            <a:r>
              <a:rPr lang="en-US"/>
              <a:t>Click to edit title</a:t>
            </a:r>
          </a:p>
        </p:txBody>
      </p:sp>
    </p:spTree>
    <p:extLst>
      <p:ext uri="{BB962C8B-B14F-4D97-AF65-F5344CB8AC3E}">
        <p14:creationId xmlns:p14="http://schemas.microsoft.com/office/powerpoint/2010/main" val="187252664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489639"/>
          </a:xfrm>
        </p:spPr>
        <p:txBody>
          <a:bodyPr wrap="square">
            <a:spAutoFit/>
          </a:bodyPr>
          <a:lstStyle>
            <a:lvl1pPr marL="0" indent="0">
              <a:buNone/>
              <a:defRPr sz="2000"/>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2230187"/>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B6D7427-2C9B-43CB-37C5-4A9AB62F056E}"/>
              </a:ext>
            </a:extLst>
          </p:cNvPr>
          <p:cNvPicPr>
            <a:picLocks noChangeAspect="1"/>
          </p:cNvPicPr>
          <p:nvPr userDrawn="1"/>
        </p:nvPicPr>
        <p:blipFill>
          <a:blip r:embed="rId2"/>
          <a:srcRect l="4249" r="42863"/>
          <a:stretch/>
        </p:blipFill>
        <p:spPr>
          <a:xfrm>
            <a:off x="3651972" y="0"/>
            <a:ext cx="4888057" cy="6853937"/>
          </a:xfrm>
          <a:prstGeom prst="rect">
            <a:avLst/>
          </a:prstGeom>
        </p:spPr>
      </p:pic>
      <p:pic>
        <p:nvPicPr>
          <p:cNvPr id="3" name="MS logo white - EMF" descr="Microsoft logo white text version">
            <a:extLst>
              <a:ext uri="{FF2B5EF4-FFF2-40B4-BE49-F238E27FC236}">
                <a16:creationId xmlns:a16="http://schemas.microsoft.com/office/drawing/2014/main" id="{45EAFEAB-82D1-3536-68B8-C6BA50EDD01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33493" y="566397"/>
            <a:ext cx="1032273" cy="291465"/>
          </a:xfrm>
          <a:prstGeom prst="rect">
            <a:avLst/>
          </a:prstGeom>
        </p:spPr>
      </p:pic>
    </p:spTree>
    <p:extLst>
      <p:ext uri="{BB962C8B-B14F-4D97-AF65-F5344CB8AC3E}">
        <p14:creationId xmlns:p14="http://schemas.microsoft.com/office/powerpoint/2010/main" val="406770786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9F0B352-C7DE-2B94-3121-AAA648955239}"/>
              </a:ext>
            </a:extLst>
          </p:cNvPr>
          <p:cNvPicPr>
            <a:picLocks noChangeAspect="1"/>
          </p:cNvPicPr>
          <p:nvPr userDrawn="1"/>
        </p:nvPicPr>
        <p:blipFill>
          <a:blip r:embed="rId2"/>
          <a:srcRect l="5807" r="16166"/>
          <a:stretch/>
        </p:blipFill>
        <p:spPr>
          <a:xfrm>
            <a:off x="0" y="1039"/>
            <a:ext cx="12192000" cy="6866573"/>
          </a:xfrm>
          <a:prstGeom prst="rect">
            <a:avLst/>
          </a:prstGeom>
        </p:spPr>
      </p:pic>
      <p:sp>
        <p:nvSpPr>
          <p:cNvPr id="22" name="TextBox 21">
            <a:extLst>
              <a:ext uri="{FF2B5EF4-FFF2-40B4-BE49-F238E27FC236}">
                <a16:creationId xmlns:a16="http://schemas.microsoft.com/office/drawing/2014/main" id="{FF5C3D4B-EA6D-6584-8276-66A959070D03}"/>
              </a:ext>
            </a:extLst>
          </p:cNvPr>
          <p:cNvSpPr txBox="1"/>
          <p:nvPr userDrawn="1"/>
        </p:nvSpPr>
        <p:spPr>
          <a:xfrm>
            <a:off x="434623" y="2747778"/>
            <a:ext cx="5319114" cy="1050800"/>
          </a:xfrm>
          <a:prstGeom prst="rect">
            <a:avLst/>
          </a:prstGeom>
          <a:noFill/>
        </p:spPr>
        <p:txBody>
          <a:bodyPr wrap="square" lIns="0" tIns="0" rIns="0" bIns="0" rtlCol="0">
            <a:spAutoFit/>
          </a:bodyPr>
          <a:lstStyle/>
          <a:p>
            <a:pPr algn="l"/>
            <a:r>
              <a:rPr lang="en-US" sz="3414" b="1">
                <a:gradFill>
                  <a:gsLst>
                    <a:gs pos="0">
                      <a:srgbClr val="FFFFFF"/>
                    </a:gs>
                    <a:gs pos="100000">
                      <a:srgbClr val="FFE6A4"/>
                    </a:gs>
                  </a:gsLst>
                  <a:lin ang="0" scaled="1"/>
                </a:gradFill>
              </a:rPr>
              <a:t>Microsoft 365</a:t>
            </a:r>
            <a:br>
              <a:rPr lang="en-US" sz="3414" b="1">
                <a:gradFill>
                  <a:gsLst>
                    <a:gs pos="0">
                      <a:srgbClr val="FFFFFF"/>
                    </a:gs>
                    <a:gs pos="100000">
                      <a:srgbClr val="FFE6A4"/>
                    </a:gs>
                  </a:gsLst>
                  <a:lin ang="0" scaled="1"/>
                </a:gradFill>
              </a:rPr>
            </a:br>
            <a:r>
              <a:rPr lang="en-US" sz="3414" b="1">
                <a:gradFill>
                  <a:gsLst>
                    <a:gs pos="0">
                      <a:srgbClr val="FFFFFF"/>
                    </a:gs>
                    <a:gs pos="100000">
                      <a:srgbClr val="FFE6A4"/>
                    </a:gs>
                  </a:gsLst>
                  <a:lin ang="0" scaled="1"/>
                </a:gradFill>
              </a:rPr>
              <a:t>Community Conference</a:t>
            </a:r>
          </a:p>
        </p:txBody>
      </p:sp>
      <p:pic>
        <p:nvPicPr>
          <p:cNvPr id="5" name="MS logo white - EMF" descr="Microsoft logo white text version">
            <a:extLst>
              <a:ext uri="{FF2B5EF4-FFF2-40B4-BE49-F238E27FC236}">
                <a16:creationId xmlns:a16="http://schemas.microsoft.com/office/drawing/2014/main" id="{290A920F-BA4F-3C77-654E-3D8F0C0B16E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33493" y="566397"/>
            <a:ext cx="1032273" cy="291465"/>
          </a:xfrm>
          <a:prstGeom prst="rect">
            <a:avLst/>
          </a:prstGeom>
        </p:spPr>
      </p:pic>
    </p:spTree>
    <p:extLst>
      <p:ext uri="{BB962C8B-B14F-4D97-AF65-F5344CB8AC3E}">
        <p14:creationId xmlns:p14="http://schemas.microsoft.com/office/powerpoint/2010/main" val="2268360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546">
          <p15:clr>
            <a:srgbClr val="5ACBF0"/>
          </p15:clr>
        </p15:guide>
        <p15:guide id="2" orient="horz" pos="6212">
          <p15:clr>
            <a:srgbClr val="5ACBF0"/>
          </p15:clr>
        </p15:guide>
        <p15:guide id="4" orient="horz" pos="537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792B270-0710-A6E3-4DA6-065494231A93}"/>
              </a:ext>
            </a:extLst>
          </p:cNvPr>
          <p:cNvPicPr>
            <a:picLocks noChangeAspect="1"/>
          </p:cNvPicPr>
          <p:nvPr userDrawn="1"/>
        </p:nvPicPr>
        <p:blipFill>
          <a:blip r:embed="rId2"/>
          <a:srcRect l="5807" r="16166"/>
          <a:stretch/>
        </p:blipFill>
        <p:spPr>
          <a:xfrm>
            <a:off x="0" y="1039"/>
            <a:ext cx="12192000" cy="6866573"/>
          </a:xfrm>
          <a:prstGeom prst="rect">
            <a:avLst/>
          </a:prstGeom>
        </p:spPr>
      </p:pic>
      <p:sp>
        <p:nvSpPr>
          <p:cNvPr id="9" name="Title 1"/>
          <p:cNvSpPr>
            <a:spLocks noGrp="1"/>
          </p:cNvSpPr>
          <p:nvPr>
            <p:ph type="title" hasCustomPrompt="1"/>
          </p:nvPr>
        </p:nvSpPr>
        <p:spPr bwMode="white">
          <a:xfrm>
            <a:off x="443104" y="3221199"/>
            <a:ext cx="11309194" cy="290144"/>
          </a:xfrm>
          <a:prstGeom prst="rect">
            <a:avLst/>
          </a:prstGeom>
          <a:noFill/>
        </p:spPr>
        <p:txBody>
          <a:bodyPr vert="horz" wrap="square" lIns="0" tIns="0" rIns="0" bIns="0" rtlCol="0" anchor="b" anchorCtr="0">
            <a:spAutoFit/>
          </a:bodyPr>
          <a:lstStyle>
            <a:lvl1pPr>
              <a:defRPr lang="en-US" sz="2095" b="0" kern="1200" cap="none" spc="-30" baseline="0" dirty="0">
                <a:ln w="3175">
                  <a:noFill/>
                </a:ln>
                <a:solidFill>
                  <a:srgbClr val="FFF0C9"/>
                </a:solidFill>
                <a:effectLst/>
                <a:latin typeface="+mj-lt"/>
                <a:ea typeface="+mn-ea"/>
                <a:cs typeface="Segoe Sans Display Semibold" pitchFamily="2" charset="0"/>
              </a:defRPr>
            </a:lvl1pPr>
          </a:lstStyle>
          <a:p>
            <a:pPr marL="0" marR="0" lvl="0" indent="0" algn="l" defTabSz="552737"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434623" y="4127004"/>
            <a:ext cx="11309194" cy="161263"/>
          </a:xfrm>
          <a:prstGeom prst="rect">
            <a:avLst/>
          </a:prstGeom>
          <a:noFill/>
        </p:spPr>
        <p:txBody>
          <a:bodyPr wrap="square" lIns="0" tIns="0" rIns="0" bIns="0">
            <a:spAutoFit/>
          </a:bodyPr>
          <a:lstStyle>
            <a:lvl1pPr marL="0" indent="0">
              <a:spcBef>
                <a:spcPts val="0"/>
              </a:spcBef>
              <a:buNone/>
              <a:defRPr lang="en-US" sz="1048" kern="1200" spc="0" baseline="0" dirty="0">
                <a:solidFill>
                  <a:schemeClr val="tx1"/>
                </a:solidFill>
                <a:latin typeface="+mn-lt"/>
                <a:ea typeface="+mn-ea"/>
                <a:cs typeface="Segoe UI" panose="020B0502040204020203" pitchFamily="34" charset="0"/>
              </a:defRPr>
            </a:lvl1pPr>
          </a:lstStyle>
          <a:p>
            <a:pPr marL="0" marR="0" lvl="0" indent="0" algn="l" defTabSz="552737"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Speaker name or subtitle text</a:t>
            </a:r>
          </a:p>
        </p:txBody>
      </p:sp>
      <p:pic>
        <p:nvPicPr>
          <p:cNvPr id="2" name="MS logo white - EMF" descr="Microsoft logo white text version">
            <a:extLst>
              <a:ext uri="{FF2B5EF4-FFF2-40B4-BE49-F238E27FC236}">
                <a16:creationId xmlns:a16="http://schemas.microsoft.com/office/drawing/2014/main" id="{16A28B5E-AD75-1D0F-74BA-58ED5C09E46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33493" y="566397"/>
            <a:ext cx="1032273" cy="291465"/>
          </a:xfrm>
          <a:prstGeom prst="rect">
            <a:avLst/>
          </a:prstGeom>
        </p:spPr>
      </p:pic>
    </p:spTree>
    <p:extLst>
      <p:ext uri="{BB962C8B-B14F-4D97-AF65-F5344CB8AC3E}">
        <p14:creationId xmlns:p14="http://schemas.microsoft.com/office/powerpoint/2010/main" val="1812241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546">
          <p15:clr>
            <a:srgbClr val="5ACBF0"/>
          </p15:clr>
        </p15:guide>
        <p15:guide id="4" orient="horz" pos="537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116D9-E1C4-2D51-836A-AC2E2E8C39D7}"/>
              </a:ext>
            </a:extLst>
          </p:cNvPr>
          <p:cNvSpPr txBox="1">
            <a:spLocks/>
          </p:cNvSpPr>
          <p:nvPr userDrawn="1"/>
        </p:nvSpPr>
        <p:spPr>
          <a:xfrm>
            <a:off x="434622" y="3151377"/>
            <a:ext cx="6343575" cy="359009"/>
          </a:xfrm>
          <a:prstGeom prst="rect">
            <a:avLst/>
          </a:prstGeom>
          <a:noFill/>
        </p:spPr>
        <p:txBody>
          <a:bodyPr vert="horz" wrap="square" lIns="0" tIns="0" rIns="0" bIns="0" rtlCol="0" anchor="b" anchorCtr="0">
            <a:spAutoFit/>
          </a:bodyPr>
          <a:lstStyle>
            <a:lvl1pPr algn="l" defTabSz="1554378" rtl="0" eaLnBrk="1" latinLnBrk="0" hangingPunct="1">
              <a:lnSpc>
                <a:spcPct val="100000"/>
              </a:lnSpc>
              <a:spcBef>
                <a:spcPct val="0"/>
              </a:spcBef>
              <a:buNone/>
              <a:defRPr lang="en-US" sz="6562" b="0" kern="1200" cap="none" spc="-84" baseline="0">
                <a:ln w="3175">
                  <a:noFill/>
                </a:ln>
                <a:solidFill>
                  <a:schemeClr val="tx1"/>
                </a:solidFill>
                <a:effectLst/>
                <a:latin typeface="+mj-lt"/>
                <a:ea typeface="+mn-ea"/>
                <a:cs typeface="Segoe Sans Display Semibold" pitchFamily="2" charset="0"/>
              </a:defRPr>
            </a:lvl1pPr>
          </a:lstStyle>
          <a:p>
            <a:r>
              <a:rPr lang="en-US" sz="2333"/>
              <a:t>Event name or presentation title </a:t>
            </a:r>
          </a:p>
        </p:txBody>
      </p:sp>
      <p:sp>
        <p:nvSpPr>
          <p:cNvPr id="4" name="Text Placeholder 4">
            <a:extLst>
              <a:ext uri="{FF2B5EF4-FFF2-40B4-BE49-F238E27FC236}">
                <a16:creationId xmlns:a16="http://schemas.microsoft.com/office/drawing/2014/main" id="{4EC465E0-EE6D-7547-247E-23A280790F9D}"/>
              </a:ext>
            </a:extLst>
          </p:cNvPr>
          <p:cNvSpPr>
            <a:spLocks noGrp="1"/>
          </p:cNvSpPr>
          <p:nvPr>
            <p:ph type="body" sz="quarter" idx="13" hasCustomPrompt="1"/>
          </p:nvPr>
        </p:nvSpPr>
        <p:spPr>
          <a:xfrm>
            <a:off x="448169" y="4020755"/>
            <a:ext cx="11304129" cy="161263"/>
          </a:xfrm>
          <a:prstGeom prst="rect">
            <a:avLst/>
          </a:prstGeom>
          <a:noFill/>
        </p:spPr>
        <p:txBody>
          <a:bodyPr wrap="square" lIns="0" tIns="0" rIns="0" bIns="0">
            <a:spAutoFit/>
          </a:bodyPr>
          <a:lstStyle>
            <a:lvl1pPr marL="0" indent="0">
              <a:spcBef>
                <a:spcPts val="0"/>
              </a:spcBef>
              <a:buNone/>
              <a:defRPr sz="1048" spc="0" baseline="0">
                <a:solidFill>
                  <a:schemeClr val="tx1"/>
                </a:solidFill>
                <a:latin typeface="+mn-lt"/>
                <a:cs typeface="Segoe UI" panose="020B0502040204020203" pitchFamily="34" charset="0"/>
              </a:defRPr>
            </a:lvl1pPr>
          </a:lstStyle>
          <a:p>
            <a:pPr lvl="0"/>
            <a:r>
              <a:rPr lang="en-US"/>
              <a:t>Speaker name or subtitle text</a:t>
            </a:r>
          </a:p>
        </p:txBody>
      </p:sp>
      <p:pic>
        <p:nvPicPr>
          <p:cNvPr id="3" name="MS logo white - EMF" descr="Microsoft logo white text version">
            <a:extLst>
              <a:ext uri="{FF2B5EF4-FFF2-40B4-BE49-F238E27FC236}">
                <a16:creationId xmlns:a16="http://schemas.microsoft.com/office/drawing/2014/main" id="{6DC9150D-0F3A-173E-602E-7AEEE0AC6EE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33493" y="566397"/>
            <a:ext cx="1032273" cy="291465"/>
          </a:xfrm>
          <a:prstGeom prst="rect">
            <a:avLst/>
          </a:prstGeom>
        </p:spPr>
      </p:pic>
    </p:spTree>
    <p:extLst>
      <p:ext uri="{BB962C8B-B14F-4D97-AF65-F5344CB8AC3E}">
        <p14:creationId xmlns:p14="http://schemas.microsoft.com/office/powerpoint/2010/main" val="588830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5376">
          <p15:clr>
            <a:srgbClr val="5ACBF0"/>
          </p15:clr>
        </p15:guide>
        <p15:guide id="5" orient="horz" pos="460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2" y="-203943"/>
            <a:ext cx="341440" cy="91115"/>
          </a:xfrm>
          <a:prstGeom prst="rect">
            <a:avLst/>
          </a:prstGeom>
          <a:noFill/>
        </p:spPr>
        <p:txBody>
          <a:bodyPr wrap="none" lIns="0" tIns="0" rIns="0" bIns="0" rtlCol="0">
            <a:spAutoFit/>
          </a:bodyPr>
          <a:lstStyle/>
          <a:p>
            <a:pPr algn="l"/>
            <a:r>
              <a:rPr lang="en-US" sz="592">
                <a:solidFill>
                  <a:srgbClr val="A3A3A3"/>
                </a:solidFill>
              </a:rPr>
              <a:t>ELT layout</a:t>
            </a:r>
          </a:p>
        </p:txBody>
      </p:sp>
      <p:sp>
        <p:nvSpPr>
          <p:cNvPr id="9" name="Title 1">
            <a:extLst>
              <a:ext uri="{FF2B5EF4-FFF2-40B4-BE49-F238E27FC236}">
                <a16:creationId xmlns:a16="http://schemas.microsoft.com/office/drawing/2014/main" id="{E51CC04C-7C3D-5AE3-C568-52037E16733D}"/>
              </a:ext>
            </a:extLst>
          </p:cNvPr>
          <p:cNvSpPr>
            <a:spLocks noGrp="1"/>
          </p:cNvSpPr>
          <p:nvPr>
            <p:ph type="title"/>
          </p:nvPr>
        </p:nvSpPr>
        <p:spPr>
          <a:xfrm>
            <a:off x="434622" y="497084"/>
            <a:ext cx="11317676" cy="328423"/>
          </a:xfrm>
          <a:prstGeom prst="rect">
            <a:avLst/>
          </a:prstGeom>
        </p:spPr>
        <p:txBody>
          <a:bodyPr/>
          <a:lstStyle>
            <a:lvl1pPr>
              <a:defRPr sz="2134">
                <a:solidFill>
                  <a:schemeClr val="tx1"/>
                </a:solidFill>
              </a:defRPr>
            </a:lvl1pPr>
          </a:lstStyle>
          <a:p>
            <a:r>
              <a:rPr lang="en-US"/>
              <a:t>Click to edit Master title style</a:t>
            </a:r>
          </a:p>
        </p:txBody>
      </p:sp>
      <p:sp>
        <p:nvSpPr>
          <p:cNvPr id="10" name="Content Placeholder 3">
            <a:extLst>
              <a:ext uri="{FF2B5EF4-FFF2-40B4-BE49-F238E27FC236}">
                <a16:creationId xmlns:a16="http://schemas.microsoft.com/office/drawing/2014/main" id="{08DFFE69-2302-BEAA-654D-D63B558AE450}"/>
              </a:ext>
            </a:extLst>
          </p:cNvPr>
          <p:cNvSpPr>
            <a:spLocks noGrp="1"/>
          </p:cNvSpPr>
          <p:nvPr>
            <p:ph sz="quarter" idx="10"/>
          </p:nvPr>
        </p:nvSpPr>
        <p:spPr>
          <a:xfrm>
            <a:off x="434622" y="1425216"/>
            <a:ext cx="11317676" cy="936795"/>
          </a:xfrm>
          <a:prstGeom prst="rect">
            <a:avLst/>
          </a:prstGeom>
        </p:spPr>
        <p:txBody>
          <a:bodyPr/>
          <a:lstStyle>
            <a:lvl1pPr>
              <a:defRPr sz="1565">
                <a:solidFill>
                  <a:schemeClr val="tx1"/>
                </a:solidFill>
              </a:defRPr>
            </a:lvl1pPr>
            <a:lvl2pPr>
              <a:defRPr sz="1138">
                <a:solidFill>
                  <a:schemeClr val="tx1"/>
                </a:solidFill>
              </a:defRPr>
            </a:lvl2pPr>
            <a:lvl3pPr>
              <a:defRPr sz="1067">
                <a:solidFill>
                  <a:schemeClr val="tx1"/>
                </a:solidFill>
              </a:defRPr>
            </a:lvl3pPr>
            <a:lvl4pPr>
              <a:defRPr sz="782">
                <a:solidFill>
                  <a:schemeClr val="tx1"/>
                </a:solidFill>
              </a:defRPr>
            </a:lvl4pPr>
            <a:lvl5pPr>
              <a:defRPr sz="782">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2255047"/>
      </p:ext>
    </p:extLst>
  </p:cSld>
  <p:clrMapOvr>
    <a:masterClrMapping/>
  </p:clrMapOvr>
  <p:transition>
    <p:fade/>
  </p:transition>
  <p:extLst>
    <p:ext uri="{DCECCB84-F9BA-43D5-87BE-67443E8EF086}">
      <p15:sldGuideLst xmlns:p15="http://schemas.microsoft.com/office/powerpoint/2012/main">
        <p15:guide id="2" orient="horz" pos="3645">
          <p15:clr>
            <a:srgbClr val="5ACBF0"/>
          </p15:clr>
        </p15:guide>
        <p15:guide id="5" orient="horz" pos="2289">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B939E80F-D341-7428-9BD0-7E2894A95E0B}"/>
              </a:ext>
            </a:extLst>
          </p:cNvPr>
          <p:cNvSpPr>
            <a:spLocks noGrp="1"/>
          </p:cNvSpPr>
          <p:nvPr>
            <p:ph type="body" sz="quarter" idx="10"/>
          </p:nvPr>
        </p:nvSpPr>
        <p:spPr>
          <a:xfrm>
            <a:off x="434622" y="1426608"/>
            <a:ext cx="11317676" cy="936795"/>
          </a:xfrm>
          <a:prstGeom prst="rect">
            <a:avLst/>
          </a:prstGeom>
        </p:spPr>
        <p:txBody>
          <a:bodyPr wrap="square">
            <a:spAutoFit/>
          </a:bodyPr>
          <a:lstStyle>
            <a:lvl1pPr marL="0" indent="0">
              <a:buNone/>
              <a:defRPr sz="1565"/>
            </a:lvl1pPr>
            <a:lvl2pPr marL="135467" indent="0">
              <a:buNone/>
              <a:defRPr sz="1138"/>
            </a:lvl2pPr>
            <a:lvl3pPr marL="270934" indent="0">
              <a:buNone/>
              <a:defRPr sz="1067"/>
            </a:lvl3pPr>
            <a:lvl4pPr marL="406401" indent="0">
              <a:buNone/>
              <a:defRPr sz="782"/>
            </a:lvl4pPr>
            <a:lvl5pPr marL="541868" indent="0">
              <a:buNone/>
              <a:defRPr sz="78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FA9EB713-C60E-2EE8-B07A-C9D9F4FD8E5B}"/>
              </a:ext>
            </a:extLst>
          </p:cNvPr>
          <p:cNvSpPr>
            <a:spLocks noGrp="1"/>
          </p:cNvSpPr>
          <p:nvPr>
            <p:ph type="title"/>
          </p:nvPr>
        </p:nvSpPr>
        <p:spPr>
          <a:xfrm>
            <a:off x="434622" y="502187"/>
            <a:ext cx="11317676" cy="328423"/>
          </a:xfrm>
          <a:prstGeom prst="rect">
            <a:avLst/>
          </a:prstGeom>
        </p:spPr>
        <p:txBody>
          <a:bodyPr/>
          <a:lstStyle>
            <a:lvl1pPr algn="l" defTabSz="552737" rtl="0" eaLnBrk="1" latinLnBrk="0" hangingPunct="1">
              <a:lnSpc>
                <a:spcPct val="100000"/>
              </a:lnSpc>
              <a:spcBef>
                <a:spcPct val="0"/>
              </a:spcBef>
              <a:buNone/>
              <a:defRPr lang="en-US" sz="2134" b="0" kern="1200" cap="none" spc="-30" baseline="0" dirty="0">
                <a:ln w="3175">
                  <a:noFill/>
                </a:ln>
                <a:solidFill>
                  <a:schemeClr val="tx1"/>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88631428"/>
      </p:ext>
    </p:extLst>
  </p:cSld>
  <p:clrMapOvr>
    <a:masterClrMapping/>
  </p:clrMapOvr>
  <p:transition>
    <p:fade/>
  </p:transition>
  <p:extLst>
    <p:ext uri="{DCECCB84-F9BA-43D5-87BE-67443E8EF086}">
      <p15:sldGuideLst xmlns:p15="http://schemas.microsoft.com/office/powerpoint/2012/main">
        <p15:guide id="2" orient="horz" pos="2282">
          <p15:clr>
            <a:srgbClr val="5ACBF0"/>
          </p15:clr>
        </p15:guide>
        <p15:guide id="4" orient="horz" pos="364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416CC-F10D-8591-BB64-0F308D5F85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D1B207D-4F51-0831-AE0C-E30A11AE00C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53962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A446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738510-B91A-A399-6876-6FF7152CA892}"/>
              </a:ext>
            </a:extLst>
          </p:cNvPr>
          <p:cNvPicPr>
            <a:picLocks noChangeAspect="1"/>
          </p:cNvPicPr>
          <p:nvPr userDrawn="1"/>
        </p:nvPicPr>
        <p:blipFill>
          <a:blip r:embed="rId2"/>
          <a:srcRect l="9592" r="12381"/>
          <a:stretch/>
        </p:blipFill>
        <p:spPr>
          <a:xfrm>
            <a:off x="0" y="1039"/>
            <a:ext cx="12192000" cy="6866573"/>
          </a:xfrm>
          <a:prstGeom prst="rect">
            <a:avLst/>
          </a:prstGeom>
        </p:spPr>
      </p:pic>
      <p:sp>
        <p:nvSpPr>
          <p:cNvPr id="3" name="Title 1">
            <a:extLst>
              <a:ext uri="{FF2B5EF4-FFF2-40B4-BE49-F238E27FC236}">
                <a16:creationId xmlns:a16="http://schemas.microsoft.com/office/drawing/2014/main" id="{ED3A47DA-07EC-2F2E-E5D2-51D360BAD686}"/>
              </a:ext>
            </a:extLst>
          </p:cNvPr>
          <p:cNvSpPr>
            <a:spLocks noGrp="1"/>
          </p:cNvSpPr>
          <p:nvPr>
            <p:ph type="title" hasCustomPrompt="1"/>
          </p:nvPr>
        </p:nvSpPr>
        <p:spPr bwMode="grayWhite">
          <a:xfrm>
            <a:off x="434622" y="3186579"/>
            <a:ext cx="11317676" cy="325089"/>
          </a:xfrm>
          <a:prstGeom prst="rect">
            <a:avLst/>
          </a:prstGeom>
          <a:noFill/>
        </p:spPr>
        <p:txBody>
          <a:bodyPr wrap="square" lIns="0" tIns="0" rIns="0" bIns="0" anchor="b" anchorCtr="0">
            <a:spAutoFit/>
          </a:bodyPr>
          <a:lstStyle>
            <a:lvl1pPr algn="l" defTabSz="552737" rtl="0" eaLnBrk="1" latinLnBrk="0" hangingPunct="1">
              <a:lnSpc>
                <a:spcPct val="90000"/>
              </a:lnSpc>
              <a:spcBef>
                <a:spcPct val="0"/>
              </a:spcBef>
              <a:buNone/>
              <a:defRPr lang="en-US" sz="2347" b="0" kern="1200" cap="none" spc="-30" baseline="0" dirty="0">
                <a:ln w="3175">
                  <a:noFill/>
                </a:ln>
                <a:solidFill>
                  <a:schemeClr val="tx1"/>
                </a:solidFill>
                <a:effectLst/>
                <a:latin typeface="+mj-lt"/>
                <a:ea typeface="+mn-ea"/>
                <a:cs typeface="Segoe Sans Display Semibold" pitchFamily="2" charset="0"/>
              </a:defRPr>
            </a:lvl1pPr>
          </a:lstStyle>
          <a:p>
            <a:pPr marL="0" marR="0" lvl="0" indent="0" algn="l" defTabSz="552737"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Demo title</a:t>
            </a:r>
          </a:p>
        </p:txBody>
      </p:sp>
      <p:sp>
        <p:nvSpPr>
          <p:cNvPr id="6" name="Text Placeholder 4">
            <a:extLst>
              <a:ext uri="{FF2B5EF4-FFF2-40B4-BE49-F238E27FC236}">
                <a16:creationId xmlns:a16="http://schemas.microsoft.com/office/drawing/2014/main" id="{FAB6390E-4B4D-B500-A3DC-0367F9A5FB66}"/>
              </a:ext>
            </a:extLst>
          </p:cNvPr>
          <p:cNvSpPr>
            <a:spLocks noGrp="1"/>
          </p:cNvSpPr>
          <p:nvPr>
            <p:ph type="body" sz="quarter" idx="12" hasCustomPrompt="1"/>
          </p:nvPr>
        </p:nvSpPr>
        <p:spPr bwMode="grayWhite">
          <a:xfrm>
            <a:off x="434622" y="4000500"/>
            <a:ext cx="11317676" cy="153247"/>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996"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437557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376">
          <p15:clr>
            <a:srgbClr val="FBAE40"/>
          </p15:clr>
        </p15:guide>
        <p15:guide id="2" pos="25767">
          <p15:clr>
            <a:srgbClr val="5ACBF0"/>
          </p15:clr>
        </p15:guide>
        <p15:guide id="3" orient="horz" pos="4661">
          <p15:clr>
            <a:srgbClr val="5ACBF0"/>
          </p15:clr>
        </p15:guide>
        <p15:guide id="4" orient="horz" pos="623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8020F91-CDAC-0882-E84E-D3BBE3A6B023}"/>
              </a:ext>
            </a:extLst>
          </p:cNvPr>
          <p:cNvSpPr>
            <a:spLocks noGrp="1"/>
          </p:cNvSpPr>
          <p:nvPr>
            <p:ph type="title" hasCustomPrompt="1"/>
          </p:nvPr>
        </p:nvSpPr>
        <p:spPr>
          <a:xfrm>
            <a:off x="434622" y="3188097"/>
            <a:ext cx="11317676" cy="325089"/>
          </a:xfrm>
          <a:prstGeom prst="rect">
            <a:avLst/>
          </a:prstGeom>
          <a:noFill/>
        </p:spPr>
        <p:txBody>
          <a:bodyPr wrap="square" lIns="0" tIns="0" rIns="0" bIns="0" anchor="b" anchorCtr="0">
            <a:spAutoFit/>
          </a:bodyPr>
          <a:lstStyle>
            <a:lvl1pPr algn="l" defTabSz="552737" rtl="0" eaLnBrk="1" latinLnBrk="0" hangingPunct="1">
              <a:lnSpc>
                <a:spcPct val="90000"/>
              </a:lnSpc>
              <a:spcBef>
                <a:spcPct val="0"/>
              </a:spcBef>
              <a:buNone/>
              <a:defRPr lang="en-US" sz="2347" b="0" kern="1200" cap="none" spc="-30" baseline="0" dirty="0">
                <a:ln w="3175">
                  <a:noFill/>
                </a:ln>
                <a:solidFill>
                  <a:schemeClr val="tx1"/>
                </a:solidFill>
                <a:effectLst/>
                <a:latin typeface="+mj-lt"/>
                <a:ea typeface="+mn-ea"/>
                <a:cs typeface="Segoe UI" pitchFamily="34" charset="0"/>
              </a:defRPr>
            </a:lvl1pPr>
          </a:lstStyle>
          <a:p>
            <a:r>
              <a:rPr lang="en-US"/>
              <a:t>Demo title</a:t>
            </a:r>
          </a:p>
        </p:txBody>
      </p:sp>
      <p:sp>
        <p:nvSpPr>
          <p:cNvPr id="4" name="Text Placeholder 4">
            <a:extLst>
              <a:ext uri="{FF2B5EF4-FFF2-40B4-BE49-F238E27FC236}">
                <a16:creationId xmlns:a16="http://schemas.microsoft.com/office/drawing/2014/main" id="{ACCEEBDF-2EC0-50BC-797C-E6A6113ED804}"/>
              </a:ext>
            </a:extLst>
          </p:cNvPr>
          <p:cNvSpPr>
            <a:spLocks noGrp="1"/>
          </p:cNvSpPr>
          <p:nvPr>
            <p:ph type="body" sz="quarter" idx="12" hasCustomPrompt="1"/>
          </p:nvPr>
        </p:nvSpPr>
        <p:spPr>
          <a:xfrm>
            <a:off x="439616" y="4000500"/>
            <a:ext cx="11312682" cy="153247"/>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996"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75546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376">
          <p15:clr>
            <a:srgbClr val="5ACBF0"/>
          </p15:clr>
        </p15:guide>
        <p15:guide id="2" pos="25767">
          <p15:clr>
            <a:srgbClr val="5ACBF0"/>
          </p15:clr>
        </p15:guide>
        <p15:guide id="3" orient="horz" pos="4123">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A446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ED9C7E-4A90-4166-240C-48C662B71401}"/>
              </a:ext>
            </a:extLst>
          </p:cNvPr>
          <p:cNvPicPr>
            <a:picLocks noChangeAspect="1"/>
          </p:cNvPicPr>
          <p:nvPr userDrawn="1"/>
        </p:nvPicPr>
        <p:blipFill>
          <a:blip r:embed="rId2"/>
          <a:srcRect l="14967" r="7007"/>
          <a:stretch/>
        </p:blipFill>
        <p:spPr>
          <a:xfrm>
            <a:off x="0" y="-1"/>
            <a:ext cx="12192000" cy="6866573"/>
          </a:xfrm>
          <a:prstGeom prst="rect">
            <a:avLst/>
          </a:prstGeom>
        </p:spPr>
      </p:pic>
      <p:sp>
        <p:nvSpPr>
          <p:cNvPr id="3" name="Title 1">
            <a:extLst>
              <a:ext uri="{FF2B5EF4-FFF2-40B4-BE49-F238E27FC236}">
                <a16:creationId xmlns:a16="http://schemas.microsoft.com/office/drawing/2014/main" id="{65DDEBF6-16A4-9A16-75CC-E39D3DF4DBF2}"/>
              </a:ext>
            </a:extLst>
          </p:cNvPr>
          <p:cNvSpPr>
            <a:spLocks noGrp="1"/>
          </p:cNvSpPr>
          <p:nvPr>
            <p:ph type="title" hasCustomPrompt="1"/>
          </p:nvPr>
        </p:nvSpPr>
        <p:spPr bwMode="grayWhite">
          <a:xfrm>
            <a:off x="434622" y="3187255"/>
            <a:ext cx="11317676" cy="325089"/>
          </a:xfrm>
          <a:prstGeom prst="rect">
            <a:avLst/>
          </a:prstGeom>
          <a:noFill/>
        </p:spPr>
        <p:txBody>
          <a:bodyPr wrap="square" lIns="0" tIns="0" rIns="0" bIns="0" anchor="b" anchorCtr="0">
            <a:spAutoFit/>
          </a:bodyPr>
          <a:lstStyle>
            <a:lvl1pPr algn="l" defTabSz="552737" rtl="0" eaLnBrk="1" latinLnBrk="0" hangingPunct="1">
              <a:lnSpc>
                <a:spcPct val="90000"/>
              </a:lnSpc>
              <a:spcBef>
                <a:spcPct val="0"/>
              </a:spcBef>
              <a:buNone/>
              <a:defRPr lang="en-US" sz="2347" b="0" kern="1200" cap="none" spc="-30" baseline="0" dirty="0">
                <a:ln w="3175">
                  <a:noFill/>
                </a:ln>
                <a:solidFill>
                  <a:schemeClr val="tx1"/>
                </a:solidFill>
                <a:effectLst/>
                <a:latin typeface="+mj-lt"/>
                <a:ea typeface="+mn-ea"/>
                <a:cs typeface="Segoe Sans Display Semibold" pitchFamily="2" charset="0"/>
              </a:defRPr>
            </a:lvl1pPr>
          </a:lstStyle>
          <a:p>
            <a:pPr marL="0" marR="0" lvl="0" indent="0" algn="l" defTabSz="552737"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Section title</a:t>
            </a:r>
          </a:p>
        </p:txBody>
      </p:sp>
    </p:spTree>
    <p:extLst>
      <p:ext uri="{BB962C8B-B14F-4D97-AF65-F5344CB8AC3E}">
        <p14:creationId xmlns:p14="http://schemas.microsoft.com/office/powerpoint/2010/main" val="4098502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376">
          <p15:clr>
            <a:srgbClr val="FBAE40"/>
          </p15:clr>
        </p15:guide>
        <p15:guide id="2" pos="25733">
          <p15:clr>
            <a:srgbClr val="5ACBF0"/>
          </p15:clr>
        </p15:guide>
        <p15:guide id="3" orient="horz" pos="4113">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24195FD-4E5B-BEA6-3612-292B7B015A17}"/>
              </a:ext>
            </a:extLst>
          </p:cNvPr>
          <p:cNvSpPr>
            <a:spLocks noGrp="1"/>
          </p:cNvSpPr>
          <p:nvPr>
            <p:ph type="title" hasCustomPrompt="1"/>
          </p:nvPr>
        </p:nvSpPr>
        <p:spPr>
          <a:xfrm>
            <a:off x="434622" y="3173718"/>
            <a:ext cx="11317676" cy="325089"/>
          </a:xfrm>
          <a:prstGeom prst="rect">
            <a:avLst/>
          </a:prstGeom>
          <a:noFill/>
        </p:spPr>
        <p:txBody>
          <a:bodyPr wrap="square" lIns="0" tIns="0" rIns="0" bIns="0" anchor="b" anchorCtr="0">
            <a:spAutoFit/>
          </a:bodyPr>
          <a:lstStyle>
            <a:lvl1pPr algn="l" defTabSz="552737" rtl="0" eaLnBrk="1" latinLnBrk="0" hangingPunct="1">
              <a:lnSpc>
                <a:spcPct val="90000"/>
              </a:lnSpc>
              <a:spcBef>
                <a:spcPct val="0"/>
              </a:spcBef>
              <a:buNone/>
              <a:defRPr lang="en-US" sz="2347" b="0" kern="1200" cap="none" spc="-3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6086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376">
          <p15:clr>
            <a:srgbClr val="FBAE40"/>
          </p15:clr>
        </p15:guide>
        <p15:guide id="2" pos="25767">
          <p15:clr>
            <a:srgbClr val="5ACBF0"/>
          </p15:clr>
        </p15:guide>
        <p15:guide id="3" orient="horz" pos="412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3323651"/>
      </p:ext>
    </p:extLst>
  </p:cSld>
  <p:clrMapOvr>
    <a:masterClrMapping/>
  </p:clrMapOvr>
  <p:transition>
    <p:fade/>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05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3272">
          <p15:clr>
            <a:srgbClr val="A4A3A4"/>
          </p15:clr>
        </p15:guide>
        <p15:guide id="7" pos="4040">
          <p15:clr>
            <a:srgbClr val="A4A3A4"/>
          </p15:clr>
        </p15:guide>
        <p15:guide id="8" pos="5767">
          <p15:clr>
            <a:srgbClr val="A4A3A4"/>
          </p15:clr>
        </p15:guide>
        <p15:guide id="9" pos="6535">
          <p15:clr>
            <a:srgbClr val="A4A3A4"/>
          </p15:clr>
        </p15:guide>
        <p15:guide id="10" pos="8261">
          <p15:clr>
            <a:srgbClr val="A4A3A4"/>
          </p15:clr>
        </p15:guide>
        <p15:guide id="11" pos="9030">
          <p15:clr>
            <a:srgbClr val="A4A3A4"/>
          </p15:clr>
        </p15:guide>
        <p15:guide id="12" pos="10756">
          <p15:clr>
            <a:srgbClr val="A4A3A4"/>
          </p15:clr>
        </p15:guide>
        <p15:guide id="13" pos="11525">
          <p15:clr>
            <a:srgbClr val="A4A3A4"/>
          </p15:clr>
        </p15:guide>
        <p15:guide id="14" pos="13251">
          <p15:clr>
            <a:srgbClr val="A4A3A4"/>
          </p15:clr>
        </p15:guide>
        <p15:guide id="15" pos="14020">
          <p15:clr>
            <a:srgbClr val="A4A3A4"/>
          </p15:clr>
        </p15:guide>
        <p15:guide id="16" pos="15746">
          <p15:clr>
            <a:srgbClr val="A4A3A4"/>
          </p15:clr>
        </p15:guide>
        <p15:guide id="17" pos="16514">
          <p15:clr>
            <a:srgbClr val="A4A3A4"/>
          </p15:clr>
        </p15:guide>
        <p15:guide id="18" pos="18241">
          <p15:clr>
            <a:srgbClr val="A4A3A4"/>
          </p15:clr>
        </p15:guide>
        <p15:guide id="19" pos="19009">
          <p15:clr>
            <a:srgbClr val="A4A3A4"/>
          </p15:clr>
        </p15:guide>
        <p15:guide id="20" pos="20735">
          <p15:clr>
            <a:srgbClr val="A4A3A4"/>
          </p15:clr>
        </p15:guide>
        <p15:guide id="21" pos="21504">
          <p15:clr>
            <a:srgbClr val="A4A3A4"/>
          </p15:clr>
        </p15:guide>
        <p15:guide id="22" pos="23222">
          <p15:clr>
            <a:srgbClr val="A4A3A4"/>
          </p15:clr>
        </p15:guide>
        <p15:guide id="23" pos="23999">
          <p15:clr>
            <a:srgbClr val="A4A3A4"/>
          </p15:clr>
        </p15:guide>
        <p15:guide id="24" pos="25717">
          <p15:clr>
            <a:srgbClr val="A4A3A4"/>
          </p15:clr>
        </p15:guide>
        <p15:guide id="25" pos="26494">
          <p15:clr>
            <a:srgbClr val="A4A3A4"/>
          </p15:clr>
        </p15:guide>
        <p15:guide id="26" pos="28211">
          <p15:clr>
            <a:srgbClr val="A4A3A4"/>
          </p15:clr>
        </p15:guide>
        <p15:guide id="27" pos="28980">
          <p15:clr>
            <a:srgbClr val="A4A3A4"/>
          </p15:clr>
        </p15:guide>
        <p15:guide id="28" orient="horz" pos="2252">
          <p15:clr>
            <a:srgbClr val="5ACBF0"/>
          </p15:clr>
        </p15:guide>
        <p15:guide id="29" orient="horz" pos="316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437529" y="6042214"/>
            <a:ext cx="3665871" cy="76624"/>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552469" eaLnBrk="0" hangingPunct="0"/>
            <a:r>
              <a:rPr lang="en-US" sz="498">
                <a:solidFill>
                  <a:schemeClr val="tx1"/>
                </a:solidFill>
                <a:cs typeface="Segoe UI" pitchFamily="34" charset="0"/>
              </a:rPr>
              <a:t>© Copyright Microsoft Corporation. All rights reserved. </a:t>
            </a:r>
          </a:p>
        </p:txBody>
      </p:sp>
      <p:pic>
        <p:nvPicPr>
          <p:cNvPr id="4" name="MS logo white - EMF" descr="Microsoft logo white text version">
            <a:extLst>
              <a:ext uri="{FF2B5EF4-FFF2-40B4-BE49-F238E27FC236}">
                <a16:creationId xmlns:a16="http://schemas.microsoft.com/office/drawing/2014/main" id="{4D467690-77BE-80C9-A351-9E2EDD2F392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33493" y="566397"/>
            <a:ext cx="1032273" cy="291465"/>
          </a:xfrm>
          <a:prstGeom prst="rect">
            <a:avLst/>
          </a:prstGeom>
        </p:spPr>
      </p:pic>
    </p:spTree>
    <p:extLst>
      <p:ext uri="{BB962C8B-B14F-4D97-AF65-F5344CB8AC3E}">
        <p14:creationId xmlns:p14="http://schemas.microsoft.com/office/powerpoint/2010/main" val="33228250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819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rgbClr val="000000"/>
        </a:solidFill>
        <a:effectLst/>
      </p:bgPr>
    </p:bg>
    <p:spTree>
      <p:nvGrpSpPr>
        <p:cNvPr id="1" name=""/>
        <p:cNvGrpSpPr/>
        <p:nvPr/>
      </p:nvGrpSpPr>
      <p:grpSpPr>
        <a:xfrm>
          <a:off x="0" y="0"/>
          <a:ext cx="0" cy="0"/>
          <a:chOff x="0" y="0"/>
          <a:chExt cx="0" cy="0"/>
        </a:xfrm>
      </p:grpSpPr>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193" spc="-30"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
        <p:nvSpPr>
          <p:cNvPr id="2" name="Title 2">
            <a:extLst>
              <a:ext uri="{FF2B5EF4-FFF2-40B4-BE49-F238E27FC236}">
                <a16:creationId xmlns:a16="http://schemas.microsoft.com/office/drawing/2014/main" id="{8364E21E-654D-3A70-192B-AB2364EBE04E}"/>
              </a:ext>
            </a:extLst>
          </p:cNvPr>
          <p:cNvSpPr>
            <a:spLocks noGrp="1"/>
          </p:cNvSpPr>
          <p:nvPr>
            <p:ph type="title"/>
          </p:nvPr>
        </p:nvSpPr>
        <p:spPr bwMode="white">
          <a:xfrm>
            <a:off x="434622" y="500822"/>
            <a:ext cx="11317676" cy="328423"/>
          </a:xfrm>
          <a:prstGeom prst="rect">
            <a:avLst/>
          </a:prstGeom>
        </p:spPr>
        <p:txBody>
          <a:bodyPr/>
          <a:lstStyle>
            <a:lvl1pPr>
              <a:defRPr sz="2134"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6" name="Text Placeholder 4">
            <a:extLst>
              <a:ext uri="{FF2B5EF4-FFF2-40B4-BE49-F238E27FC236}">
                <a16:creationId xmlns:a16="http://schemas.microsoft.com/office/drawing/2014/main" id="{D4C7A575-B447-FCCE-C7CB-0E6CDBB13718}"/>
              </a:ext>
            </a:extLst>
          </p:cNvPr>
          <p:cNvSpPr>
            <a:spLocks noGrp="1"/>
          </p:cNvSpPr>
          <p:nvPr>
            <p:ph type="body" sz="quarter" idx="12"/>
          </p:nvPr>
        </p:nvSpPr>
        <p:spPr bwMode="white">
          <a:xfrm>
            <a:off x="434622" y="1392302"/>
            <a:ext cx="11317676" cy="1300292"/>
          </a:xfrm>
          <a:prstGeom prst="rect">
            <a:avLst/>
          </a:prstGeom>
        </p:spPr>
        <p:txBody>
          <a:bodyPr wrap="square">
            <a:spAutoFit/>
          </a:bodyPr>
          <a:lstStyle>
            <a:lvl1pPr>
              <a:defRPr sz="2134">
                <a:latin typeface="+mn-lt"/>
              </a:defRPr>
            </a:lvl1pPr>
            <a:lvl2pPr>
              <a:defRPr sz="1565">
                <a:latin typeface="+mn-lt"/>
              </a:defRPr>
            </a:lvl2pPr>
            <a:lvl3pPr>
              <a:defRPr sz="1422">
                <a:latin typeface="+mn-lt"/>
              </a:defRPr>
            </a:lvl3pPr>
            <a:lvl4pPr>
              <a:defRPr sz="1138">
                <a:latin typeface="+mn-lt"/>
              </a:defRPr>
            </a:lvl4pPr>
            <a:lvl5pPr>
              <a:defRPr sz="1138">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533176"/>
      </p:ext>
    </p:extLst>
  </p:cSld>
  <p:clrMapOvr>
    <a:masterClrMapping/>
  </p:clrMapOvr>
  <p:transition>
    <p:fade/>
  </p:transition>
  <p:extLst>
    <p:ext uri="{DCECCB84-F9BA-43D5-87BE-67443E8EF086}">
      <p15:sldGuideLst xmlns:p15="http://schemas.microsoft.com/office/powerpoint/2012/main">
        <p15:guide id="1" orient="horz" pos="186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471507" y="0"/>
            <a:ext cx="9247858" cy="6858000"/>
          </a:xfrm>
          <a:prstGeom prst="rect">
            <a:avLst/>
          </a:prstGeom>
        </p:spPr>
      </p:pic>
    </p:spTree>
    <p:extLst>
      <p:ext uri="{BB962C8B-B14F-4D97-AF65-F5344CB8AC3E}">
        <p14:creationId xmlns:p14="http://schemas.microsoft.com/office/powerpoint/2010/main" val="226100400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Blank">
    <p:bg>
      <p:bgPr>
        <a:gradFill>
          <a:gsLst>
            <a:gs pos="0">
              <a:srgbClr val="D8C3B2"/>
            </a:gs>
            <a:gs pos="50000">
              <a:srgbClr val="D9D9D6"/>
            </a:gs>
          </a:gsLst>
          <a:lin ang="13500000" scaled="1"/>
        </a:gra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80A2749-4F90-7323-9A4E-826285B0864C}"/>
              </a:ext>
            </a:extLst>
          </p:cNvPr>
          <p:cNvPicPr>
            <a:picLocks noChangeAspect="1"/>
          </p:cNvPicPr>
          <p:nvPr userDrawn="1"/>
        </p:nvPicPr>
        <p:blipFill>
          <a:blip r:embed="rId2"/>
          <a:stretch>
            <a:fillRect/>
          </a:stretch>
        </p:blipFill>
        <p:spPr>
          <a:xfrm>
            <a:off x="13788967" y="834112"/>
            <a:ext cx="3010330" cy="2848560"/>
          </a:xfrm>
          <a:prstGeom prst="rect">
            <a:avLst/>
          </a:prstGeom>
        </p:spPr>
      </p:pic>
      <p:sp>
        <p:nvSpPr>
          <p:cNvPr id="2" name="Oval 1">
            <a:extLst>
              <a:ext uri="{FF2B5EF4-FFF2-40B4-BE49-F238E27FC236}">
                <a16:creationId xmlns:a16="http://schemas.microsoft.com/office/drawing/2014/main" id="{191D8404-1FE1-D734-52BC-5516B5DAF804}"/>
              </a:ext>
            </a:extLst>
          </p:cNvPr>
          <p:cNvSpPr/>
          <p:nvPr userDrawn="1"/>
        </p:nvSpPr>
        <p:spPr bwMode="auto">
          <a:xfrm>
            <a:off x="14646821" y="1420533"/>
            <a:ext cx="82550" cy="92869"/>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0818" tIns="24655" rIns="30818" bIns="24655" numCol="1" spcCol="0" rtlCol="0" fromWordArt="0" anchor="t" anchorCtr="0" forceAA="0" compatLnSpc="1">
            <a:prstTxWarp prst="textNoShape">
              <a:avLst/>
            </a:prstTxWarp>
            <a:noAutofit/>
          </a:bodyPr>
          <a:lstStyle/>
          <a:p>
            <a:pPr algn="l" defTabSz="157162" fontAlgn="base">
              <a:spcBef>
                <a:spcPct val="0"/>
              </a:spcBef>
              <a:spcAft>
                <a:spcPct val="0"/>
              </a:spcAft>
            </a:pPr>
            <a:endParaRPr lang="en-US" sz="337" err="1">
              <a:solidFill>
                <a:srgbClr val="FFFFFF"/>
              </a:solidFill>
              <a:ea typeface="Segoe UI" pitchFamily="34" charset="0"/>
              <a:cs typeface="Segoe UI" pitchFamily="34" charset="0"/>
            </a:endParaRPr>
          </a:p>
        </p:txBody>
      </p:sp>
      <p:sp>
        <p:nvSpPr>
          <p:cNvPr id="3" name="Oval 2">
            <a:extLst>
              <a:ext uri="{FF2B5EF4-FFF2-40B4-BE49-F238E27FC236}">
                <a16:creationId xmlns:a16="http://schemas.microsoft.com/office/drawing/2014/main" id="{8786EACC-0683-3D2F-39BB-900F49241AF6}"/>
              </a:ext>
            </a:extLst>
          </p:cNvPr>
          <p:cNvSpPr/>
          <p:nvPr userDrawn="1"/>
        </p:nvSpPr>
        <p:spPr bwMode="auto">
          <a:xfrm>
            <a:off x="14655800" y="1167544"/>
            <a:ext cx="82550" cy="92869"/>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0818" tIns="24655" rIns="30818" bIns="24655" numCol="1" spcCol="0" rtlCol="0" fromWordArt="0" anchor="t" anchorCtr="0" forceAA="0" compatLnSpc="1">
            <a:prstTxWarp prst="textNoShape">
              <a:avLst/>
            </a:prstTxWarp>
            <a:noAutofit/>
          </a:bodyPr>
          <a:lstStyle/>
          <a:p>
            <a:pPr algn="l" defTabSz="157162" fontAlgn="base">
              <a:spcBef>
                <a:spcPct val="0"/>
              </a:spcBef>
              <a:spcAft>
                <a:spcPct val="0"/>
              </a:spcAft>
            </a:pPr>
            <a:endParaRPr lang="en-US" sz="337" err="1">
              <a:solidFill>
                <a:srgbClr val="FFFFFF"/>
              </a:solidFill>
              <a:ea typeface="Segoe UI" pitchFamily="34" charset="0"/>
              <a:cs typeface="Segoe UI" pitchFamily="34" charset="0"/>
            </a:endParaRPr>
          </a:p>
        </p:txBody>
      </p:sp>
      <p:sp>
        <p:nvSpPr>
          <p:cNvPr id="4" name="Oval 3">
            <a:extLst>
              <a:ext uri="{FF2B5EF4-FFF2-40B4-BE49-F238E27FC236}">
                <a16:creationId xmlns:a16="http://schemas.microsoft.com/office/drawing/2014/main" id="{152EF10A-8F26-D91C-B214-AB6F79AF02F6}"/>
              </a:ext>
            </a:extLst>
          </p:cNvPr>
          <p:cNvSpPr/>
          <p:nvPr userDrawn="1"/>
        </p:nvSpPr>
        <p:spPr bwMode="auto">
          <a:xfrm>
            <a:off x="15840428" y="3180558"/>
            <a:ext cx="82550" cy="92869"/>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0818" tIns="24655" rIns="30818" bIns="24655" numCol="1" spcCol="0" rtlCol="0" fromWordArt="0" anchor="t" anchorCtr="0" forceAA="0" compatLnSpc="1">
            <a:prstTxWarp prst="textNoShape">
              <a:avLst/>
            </a:prstTxWarp>
            <a:noAutofit/>
          </a:bodyPr>
          <a:lstStyle/>
          <a:p>
            <a:pPr algn="l" defTabSz="157162" fontAlgn="base">
              <a:spcBef>
                <a:spcPct val="0"/>
              </a:spcBef>
              <a:spcAft>
                <a:spcPct val="0"/>
              </a:spcAft>
            </a:pPr>
            <a:endParaRPr lang="en-US" sz="337" err="1">
              <a:solidFill>
                <a:srgbClr val="FFFFFF"/>
              </a:solidFill>
              <a:ea typeface="Segoe UI" pitchFamily="34" charset="0"/>
              <a:cs typeface="Segoe UI" pitchFamily="34" charset="0"/>
            </a:endParaRPr>
          </a:p>
        </p:txBody>
      </p:sp>
      <p:sp>
        <p:nvSpPr>
          <p:cNvPr id="12" name="Parallelogram 11">
            <a:extLst>
              <a:ext uri="{FF2B5EF4-FFF2-40B4-BE49-F238E27FC236}">
                <a16:creationId xmlns:a16="http://schemas.microsoft.com/office/drawing/2014/main" id="{273C6E69-8511-450E-C31E-A3A4D2852A67}"/>
              </a:ext>
            </a:extLst>
          </p:cNvPr>
          <p:cNvSpPr/>
          <p:nvPr userDrawn="1"/>
        </p:nvSpPr>
        <p:spPr bwMode="auto">
          <a:xfrm>
            <a:off x="2653124" y="7661557"/>
            <a:ext cx="8498975" cy="3574719"/>
          </a:xfrm>
          <a:prstGeom prst="parallelogram">
            <a:avLst>
              <a:gd name="adj" fmla="val 152384"/>
            </a:avLst>
          </a:prstGeom>
          <a:solidFill>
            <a:srgbClr val="E8E6DF">
              <a:alpha val="30000"/>
            </a:srgbClr>
          </a:solidFill>
          <a:ln>
            <a:noFill/>
            <a:headEnd type="none" w="med" len="med"/>
            <a:tailEnd type="none" w="med" len="med"/>
          </a:ln>
          <a:effectLst>
            <a:softEdge rad="12700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0818" tIns="24655" rIns="30818" bIns="24655" numCol="1" spcCol="0" rtlCol="0" fromWordArt="0" anchor="t" anchorCtr="0" forceAA="0" compatLnSpc="1">
            <a:prstTxWarp prst="textNoShape">
              <a:avLst/>
            </a:prstTxWarp>
            <a:noAutofit/>
          </a:bodyPr>
          <a:lstStyle/>
          <a:p>
            <a:pPr algn="l" defTabSz="157162" fontAlgn="base">
              <a:spcBef>
                <a:spcPct val="0"/>
              </a:spcBef>
              <a:spcAft>
                <a:spcPct val="0"/>
              </a:spcAft>
            </a:pPr>
            <a:endParaRPr lang="en-US" sz="337" err="1">
              <a:solidFill>
                <a:schemeClr val="bg1"/>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AB16FB0F-48B8-0816-7372-98CF7DECEF7F}"/>
              </a:ext>
            </a:extLst>
          </p:cNvPr>
          <p:cNvSpPr/>
          <p:nvPr userDrawn="1"/>
        </p:nvSpPr>
        <p:spPr bwMode="auto">
          <a:xfrm>
            <a:off x="15446728" y="2201864"/>
            <a:ext cx="82550" cy="92869"/>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0818" tIns="24655" rIns="30818" bIns="24655" numCol="1" spcCol="0" rtlCol="0" fromWordArt="0" anchor="t" anchorCtr="0" forceAA="0" compatLnSpc="1">
            <a:prstTxWarp prst="textNoShape">
              <a:avLst/>
            </a:prstTxWarp>
            <a:noAutofit/>
          </a:bodyPr>
          <a:lstStyle/>
          <a:p>
            <a:pPr algn="l" defTabSz="157162" fontAlgn="base">
              <a:spcBef>
                <a:spcPct val="0"/>
              </a:spcBef>
              <a:spcAft>
                <a:spcPct val="0"/>
              </a:spcAft>
            </a:pPr>
            <a:endParaRPr lang="en-US" sz="337"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97402527"/>
      </p:ext>
    </p:extLst>
  </p:cSld>
  <p:clrMapOvr>
    <a:masterClrMapping/>
  </p:clrMapOvr>
  <p:transition>
    <p:fade/>
  </p:transition>
  <p:extLst>
    <p:ext uri="{DCECCB84-F9BA-43D5-87BE-67443E8EF086}">
      <p15:sldGuideLst xmlns:p15="http://schemas.microsoft.com/office/powerpoint/2012/main">
        <p15:guide id="6" pos="6573">
          <p15:clr>
            <a:srgbClr val="A4A3A4"/>
          </p15:clr>
        </p15:guide>
        <p15:guide id="7" pos="8117">
          <p15:clr>
            <a:srgbClr val="A4A3A4"/>
          </p15:clr>
        </p15:guide>
        <p15:guide id="8" pos="11585">
          <p15:clr>
            <a:srgbClr val="A4A3A4"/>
          </p15:clr>
        </p15:guide>
        <p15:guide id="9" pos="13129">
          <p15:clr>
            <a:srgbClr val="A4A3A4"/>
          </p15:clr>
        </p15:guide>
        <p15:guide id="10" pos="16597">
          <p15:clr>
            <a:srgbClr val="A4A3A4"/>
          </p15:clr>
        </p15:guide>
        <p15:guide id="11" pos="18141">
          <p15:clr>
            <a:srgbClr val="A4A3A4"/>
          </p15:clr>
        </p15:guide>
        <p15:guide id="12" pos="21608">
          <p15:clr>
            <a:srgbClr val="A4A3A4"/>
          </p15:clr>
        </p15:guide>
        <p15:guide id="13" pos="23153">
          <p15:clr>
            <a:srgbClr val="A4A3A4"/>
          </p15:clr>
        </p15:guide>
        <p15:guide id="14" pos="26671">
          <p15:clr>
            <a:srgbClr val="A4A3A4"/>
          </p15:clr>
        </p15:guide>
        <p15:guide id="15" pos="28249">
          <p15:clr>
            <a:srgbClr val="A4A3A4"/>
          </p15:clr>
        </p15:guide>
        <p15:guide id="16" pos="31674">
          <p15:clr>
            <a:srgbClr val="A4A3A4"/>
          </p15:clr>
        </p15:guide>
        <p15:guide id="17" pos="33168">
          <p15:clr>
            <a:srgbClr val="A4A3A4"/>
          </p15:clr>
        </p15:guide>
        <p15:guide id="18" pos="36636">
          <p15:clr>
            <a:srgbClr val="A4A3A4"/>
          </p15:clr>
        </p15:guide>
        <p15:guide id="19" pos="38230">
          <p15:clr>
            <a:srgbClr val="A4A3A4"/>
          </p15:clr>
        </p15:guide>
        <p15:guide id="20" pos="41656">
          <p15:clr>
            <a:srgbClr val="A4A3A4"/>
          </p15:clr>
        </p15:guide>
        <p15:guide id="21" pos="43200">
          <p15:clr>
            <a:srgbClr val="A4A3A4"/>
          </p15:clr>
        </p15:guide>
        <p15:guide id="22" pos="46651">
          <p15:clr>
            <a:srgbClr val="A4A3A4"/>
          </p15:clr>
        </p15:guide>
        <p15:guide id="23" pos="48212">
          <p15:clr>
            <a:srgbClr val="A4A3A4"/>
          </p15:clr>
        </p15:guide>
        <p15:guide id="24" pos="51663">
          <p15:clr>
            <a:srgbClr val="A4A3A4"/>
          </p15:clr>
        </p15:guide>
        <p15:guide id="25" pos="53224">
          <p15:clr>
            <a:srgbClr val="A4A3A4"/>
          </p15:clr>
        </p15:guide>
        <p15:guide id="26" pos="56675">
          <p15:clr>
            <a:srgbClr val="A4A3A4"/>
          </p15:clr>
        </p15:guide>
        <p15:guide id="27" pos="58219">
          <p15:clr>
            <a:srgbClr val="A4A3A4"/>
          </p15:clr>
        </p15:guide>
        <p15:guide id="28" orient="horz" pos="3430">
          <p15:clr>
            <a:srgbClr val="5ACBF0"/>
          </p15:clr>
        </p15:guide>
        <p15:guide id="29" orient="horz" pos="4817">
          <p15:clr>
            <a:srgbClr val="5ACBF0"/>
          </p15:clr>
        </p15:guide>
        <p15:guide id="30" orient="horz" pos="1092">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and Content - 2">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4C44EF48-B61D-A704-EA3C-00045FFB991D}"/>
              </a:ext>
            </a:extLst>
          </p:cNvPr>
          <p:cNvSpPr/>
          <p:nvPr userDrawn="1"/>
        </p:nvSpPr>
        <p:spPr>
          <a:xfrm>
            <a:off x="322521" y="283028"/>
            <a:ext cx="11546958" cy="6291943"/>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96416CC-F10D-8591-BB64-0F308D5F85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D1B207D-4F51-0831-AE0C-E30A11AE00C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64896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326884"/>
          </a:xfrm>
        </p:spPr>
        <p:txBody>
          <a:bodyPr/>
          <a:lstStyle>
            <a:lvl1pPr>
              <a:defRPr sz="2124">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607">
                <a:solidFill>
                  <a:srgbClr val="000000"/>
                </a:solidFill>
              </a:defRPr>
            </a:lvl1pPr>
          </a:lstStyle>
          <a:p>
            <a:r>
              <a:rPr lang="en-US"/>
              <a:t>© Microsoft Corporation                                                                                  					   	    	                                     Microsoft 365 </a:t>
            </a:r>
          </a:p>
        </p:txBody>
      </p:sp>
    </p:spTree>
    <p:extLst>
      <p:ext uri="{BB962C8B-B14F-4D97-AF65-F5344CB8AC3E}">
        <p14:creationId xmlns:p14="http://schemas.microsoft.com/office/powerpoint/2010/main" val="4253634494"/>
      </p:ext>
    </p:extLst>
  </p:cSld>
  <p:clrMapOvr>
    <a:masterClrMapping/>
  </p:clrMapOvr>
  <p:transition>
    <p:fade/>
  </p:transition>
  <p:extLst>
    <p:ext uri="{DCECCB84-F9BA-43D5-87BE-67443E8EF086}">
      <p15:sldGuideLst xmlns:p15="http://schemas.microsoft.com/office/powerpoint/2012/main">
        <p15:guide id="3" orient="horz" pos="1920">
          <p15:clr>
            <a:srgbClr val="5ACBF0"/>
          </p15:clr>
        </p15:guide>
        <p15:guide id="4" orient="horz" pos="2722">
          <p15:clr>
            <a:srgbClr val="5ACBF0"/>
          </p15:clr>
        </p15:guide>
        <p15:guide id="5" orient="horz" pos="61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4" y="585790"/>
            <a:ext cx="2308795" cy="29414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3395038"/>
            <a:ext cx="4167887" cy="138499"/>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84639"/>
          </a:xfrm>
          <a:noFill/>
        </p:spPr>
        <p:txBody>
          <a:bodyPr wrap="square" lIns="0" tIns="0" rIns="0" bIns="0">
            <a:spAutoFit/>
          </a:bodyPr>
          <a:lstStyle>
            <a:lvl1pPr marL="0" indent="0">
              <a:spcBef>
                <a:spcPts val="0"/>
              </a:spcBef>
              <a:buNone/>
              <a:defRPr sz="55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1" y="0"/>
            <a:ext cx="7520900" cy="6858000"/>
          </a:xfrm>
          <a:prstGeom prst="rect">
            <a:avLst/>
          </a:prstGeom>
        </p:spPr>
      </p:pic>
    </p:spTree>
    <p:extLst>
      <p:ext uri="{BB962C8B-B14F-4D97-AF65-F5344CB8AC3E}">
        <p14:creationId xmlns:p14="http://schemas.microsoft.com/office/powerpoint/2010/main" val="2353629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3328">
          <p15:clr>
            <a:srgbClr val="5ACBF0"/>
          </p15:clr>
        </p15:guide>
        <p15:guide id="3" pos="10065">
          <p15:clr>
            <a:srgbClr val="5ACBF0"/>
          </p15:clr>
        </p15:guide>
        <p15:guide id="5" orient="horz" pos="2880">
          <p15:clr>
            <a:srgbClr val="FBAE40"/>
          </p15:clr>
        </p15:guide>
        <p15:guide id="6" orient="horz" pos="2972">
          <p15:clr>
            <a:srgbClr val="5ACBF0"/>
          </p15:clr>
        </p15:guide>
        <p15:guide id="7" pos="89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4" y="585790"/>
            <a:ext cx="2308795" cy="29414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3395038"/>
            <a:ext cx="4167887" cy="138499"/>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84639"/>
          </a:xfrm>
          <a:noFill/>
        </p:spPr>
        <p:txBody>
          <a:bodyPr wrap="square" lIns="0" tIns="0" rIns="0" bIns="0">
            <a:spAutoFit/>
          </a:bodyPr>
          <a:lstStyle>
            <a:lvl1pPr marL="0" indent="0">
              <a:spcBef>
                <a:spcPts val="0"/>
              </a:spcBef>
              <a:buNone/>
              <a:defRPr sz="55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7"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8"/>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36576" rIns="45720" bIns="36576" numCol="1" spcCol="0" rtlCol="0" fromWordArt="0" anchor="t" anchorCtr="0" forceAA="0" compatLnSpc="1">
            <a:prstTxWarp prst="textNoShape">
              <a:avLst/>
            </a:prstTxWarp>
            <a:noAutofit/>
          </a:bodyPr>
          <a:lstStyle/>
          <a:p>
            <a:pPr algn="l" defTabSz="233147" fontAlgn="base">
              <a:spcBef>
                <a:spcPct val="0"/>
              </a:spcBef>
              <a:spcAft>
                <a:spcPct val="0"/>
              </a:spcAft>
            </a:pPr>
            <a:endParaRPr lang="en-US" sz="5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2" y="2"/>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36576" rIns="45720" bIns="36576" numCol="1" spcCol="0" rtlCol="0" fromWordArt="0" anchor="t" anchorCtr="0" forceAA="0" compatLnSpc="1">
            <a:prstTxWarp prst="textNoShape">
              <a:avLst/>
            </a:prstTxWarp>
            <a:noAutofit/>
          </a:bodyPr>
          <a:lstStyle/>
          <a:p>
            <a:pPr algn="l" defTabSz="233147" fontAlgn="base">
              <a:spcBef>
                <a:spcPct val="0"/>
              </a:spcBef>
              <a:spcAft>
                <a:spcPct val="0"/>
              </a:spcAft>
            </a:pPr>
            <a:endParaRPr lang="en-US" sz="5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864583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3328">
          <p15:clr>
            <a:srgbClr val="5ACBF0"/>
          </p15:clr>
        </p15:guide>
        <p15:guide id="3" pos="10065">
          <p15:clr>
            <a:srgbClr val="5ACBF0"/>
          </p15:clr>
        </p15:guide>
        <p15:guide id="5" orient="horz" pos="2880">
          <p15:clr>
            <a:srgbClr val="FBAE40"/>
          </p15:clr>
        </p15:guide>
        <p15:guide id="6" orient="horz" pos="2972">
          <p15:clr>
            <a:srgbClr val="5ACBF0"/>
          </p15:clr>
        </p15:guide>
        <p15:guide id="7" pos="89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36576" rIns="45720" bIns="36576" numCol="1" spcCol="0" rtlCol="0" fromWordArt="0" anchor="t" anchorCtr="0" forceAA="0" compatLnSpc="1">
            <a:prstTxWarp prst="textNoShape">
              <a:avLst/>
            </a:prstTxWarp>
            <a:noAutofit/>
          </a:bodyPr>
          <a:lstStyle/>
          <a:p>
            <a:pPr algn="l" defTabSz="233147" fontAlgn="base">
              <a:spcBef>
                <a:spcPct val="0"/>
              </a:spcBef>
              <a:spcAft>
                <a:spcPct val="0"/>
              </a:spcAft>
            </a:pPr>
            <a:endParaRPr lang="en-US" sz="5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3395038"/>
            <a:ext cx="4167887" cy="138499"/>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84639"/>
          </a:xfrm>
          <a:noFill/>
        </p:spPr>
        <p:txBody>
          <a:bodyPr wrap="square" lIns="0" tIns="0" rIns="0" bIns="0">
            <a:spAutoFit/>
          </a:bodyPr>
          <a:lstStyle>
            <a:lvl1pPr marL="0" indent="0">
              <a:spcBef>
                <a:spcPts val="0"/>
              </a:spcBef>
              <a:buNone/>
              <a:defRPr sz="55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4" y="585790"/>
            <a:ext cx="2308795" cy="294140"/>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2"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3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53391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3328">
          <p15:clr>
            <a:srgbClr val="5ACBF0"/>
          </p15:clr>
        </p15:guide>
        <p15:guide id="3" pos="10080">
          <p15:clr>
            <a:srgbClr val="5ACBF0"/>
          </p15:clr>
        </p15:guide>
        <p15:guide id="5" orient="horz" pos="2880">
          <p15:clr>
            <a:srgbClr val="FBAE40"/>
          </p15:clr>
        </p15:guide>
        <p15:guide id="6" orient="horz" pos="2972">
          <p15:clr>
            <a:srgbClr val="5ACBF0"/>
          </p15:clr>
        </p15:guide>
        <p15:guide id="7" pos="89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3395038"/>
            <a:ext cx="4167887" cy="138499"/>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84639"/>
          </a:xfrm>
          <a:noFill/>
        </p:spPr>
        <p:txBody>
          <a:bodyPr wrap="square" lIns="0" tIns="0" rIns="0" bIns="0">
            <a:spAutoFit/>
          </a:bodyPr>
          <a:lstStyle>
            <a:lvl1pPr marL="0" indent="0">
              <a:spcBef>
                <a:spcPts val="0"/>
              </a:spcBef>
              <a:buNone/>
              <a:defRPr sz="55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4" y="585790"/>
            <a:ext cx="2308795" cy="294140"/>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36576" rIns="45720" bIns="36576" numCol="1" spcCol="0" rtlCol="0" fromWordArt="0" anchor="t" anchorCtr="0" forceAA="0" compatLnSpc="1">
            <a:prstTxWarp prst="textNoShape">
              <a:avLst/>
            </a:prstTxWarp>
            <a:noAutofit/>
          </a:bodyPr>
          <a:lstStyle/>
          <a:p>
            <a:pPr algn="l" defTabSz="233147" fontAlgn="base">
              <a:spcBef>
                <a:spcPct val="0"/>
              </a:spcBef>
              <a:spcAft>
                <a:spcPct val="0"/>
              </a:spcAft>
            </a:pPr>
            <a:endParaRPr lang="en-US" sz="5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2"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3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06106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3328">
          <p15:clr>
            <a:srgbClr val="5ACBF0"/>
          </p15:clr>
        </p15:guide>
        <p15:guide id="3" pos="10080">
          <p15:clr>
            <a:srgbClr val="5ACBF0"/>
          </p15:clr>
        </p15:guide>
        <p15:guide id="5" orient="horz" pos="2880">
          <p15:clr>
            <a:srgbClr val="FBAE40"/>
          </p15:clr>
        </p15:guide>
        <p15:guide id="6" orient="horz" pos="2972">
          <p15:clr>
            <a:srgbClr val="5ACBF0"/>
          </p15:clr>
        </p15:guide>
        <p15:guide id="7" pos="89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3395038"/>
            <a:ext cx="4167887" cy="138499"/>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84639"/>
          </a:xfrm>
          <a:noFill/>
        </p:spPr>
        <p:txBody>
          <a:bodyPr wrap="square" lIns="0" tIns="0" rIns="0" bIns="0">
            <a:spAutoFit/>
          </a:bodyPr>
          <a:lstStyle>
            <a:lvl1pPr marL="0" indent="0">
              <a:spcBef>
                <a:spcPts val="0"/>
              </a:spcBef>
              <a:buNone/>
              <a:defRPr sz="55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8" y="585791"/>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36576" rIns="45720" bIns="36576" numCol="1" spcCol="0" rtlCol="0" fromWordArt="0" anchor="t" anchorCtr="0" forceAA="0" compatLnSpc="1">
            <a:prstTxWarp prst="textNoShape">
              <a:avLst/>
            </a:prstTxWarp>
            <a:noAutofit/>
          </a:bodyPr>
          <a:lstStyle/>
          <a:p>
            <a:pPr algn="l" defTabSz="233147" fontAlgn="base">
              <a:spcBef>
                <a:spcPct val="0"/>
              </a:spcBef>
              <a:spcAft>
                <a:spcPct val="0"/>
              </a:spcAft>
            </a:pPr>
            <a:endParaRPr lang="en-US" sz="5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2"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3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9152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3328">
          <p15:clr>
            <a:srgbClr val="5ACBF0"/>
          </p15:clr>
        </p15:guide>
        <p15:guide id="3" pos="10080">
          <p15:clr>
            <a:srgbClr val="5ACBF0"/>
          </p15:clr>
        </p15:guide>
        <p15:guide id="5" orient="horz" pos="2880">
          <p15:clr>
            <a:srgbClr val="FBAE40"/>
          </p15:clr>
        </p15:guide>
        <p15:guide id="6" orient="horz" pos="2972">
          <p15:clr>
            <a:srgbClr val="5ACBF0"/>
          </p15:clr>
        </p15:guide>
        <p15:guide id="7" pos="89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3395038"/>
            <a:ext cx="4167887" cy="138499"/>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84639"/>
          </a:xfrm>
          <a:noFill/>
        </p:spPr>
        <p:txBody>
          <a:bodyPr wrap="square" lIns="0" tIns="0" rIns="0" bIns="0">
            <a:spAutoFit/>
          </a:bodyPr>
          <a:lstStyle>
            <a:lvl1pPr marL="0" indent="0">
              <a:spcBef>
                <a:spcPts val="0"/>
              </a:spcBef>
              <a:buNone/>
              <a:defRPr sz="55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4" y="585790"/>
            <a:ext cx="2308795" cy="294140"/>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36576" rIns="45720" bIns="36576" numCol="1" spcCol="0" rtlCol="0" fromWordArt="0" anchor="t" anchorCtr="0" forceAA="0" compatLnSpc="1">
            <a:prstTxWarp prst="textNoShape">
              <a:avLst/>
            </a:prstTxWarp>
            <a:noAutofit/>
          </a:bodyPr>
          <a:lstStyle/>
          <a:p>
            <a:pPr algn="l" defTabSz="233147" fontAlgn="base">
              <a:spcBef>
                <a:spcPct val="0"/>
              </a:spcBef>
              <a:spcAft>
                <a:spcPct val="0"/>
              </a:spcAft>
            </a:pPr>
            <a:endParaRPr lang="en-US" sz="5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2"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3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50017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3328">
          <p15:clr>
            <a:srgbClr val="5ACBF0"/>
          </p15:clr>
        </p15:guide>
        <p15:guide id="3" pos="10080">
          <p15:clr>
            <a:srgbClr val="5ACBF0"/>
          </p15:clr>
        </p15:guide>
        <p15:guide id="5" orient="horz" pos="2880">
          <p15:clr>
            <a:srgbClr val="FBAE40"/>
          </p15:clr>
        </p15:guide>
        <p15:guide id="6" orient="horz" pos="2972">
          <p15:clr>
            <a:srgbClr val="5ACBF0"/>
          </p15:clr>
        </p15:guide>
        <p15:guide id="7" pos="89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395277"/>
            <a:ext cx="9144000" cy="138499"/>
          </a:xfrm>
          <a:noFill/>
        </p:spPr>
        <p:txBody>
          <a:bodyPr lIns="0" tIns="0" rIns="0" bIns="0" anchor="b" anchorCtr="0">
            <a:spAutoFit/>
          </a:bodyPr>
          <a:lstStyle>
            <a:lvl1pPr>
              <a:defRPr sz="900" spc="-13"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84639"/>
          </a:xfrm>
          <a:noFill/>
        </p:spPr>
        <p:txBody>
          <a:bodyPr wrap="square" lIns="0" tIns="0" rIns="0" bIns="0">
            <a:spAutoFit/>
          </a:bodyPr>
          <a:lstStyle>
            <a:lvl1pPr marL="0" indent="0">
              <a:spcBef>
                <a:spcPts val="0"/>
              </a:spcBef>
              <a:buNone/>
              <a:defRPr sz="55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90"/>
            <a:ext cx="2308795" cy="294140"/>
          </a:xfrm>
          <a:prstGeom prst="rect">
            <a:avLst/>
          </a:prstGeom>
        </p:spPr>
      </p:pic>
    </p:spTree>
    <p:extLst>
      <p:ext uri="{BB962C8B-B14F-4D97-AF65-F5344CB8AC3E}">
        <p14:creationId xmlns:p14="http://schemas.microsoft.com/office/powerpoint/2010/main" val="7196307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971">
          <p15:clr>
            <a:srgbClr val="5ACBF0"/>
          </p15:clr>
        </p15:guide>
        <p15:guide id="2" orient="horz" pos="3328">
          <p15:clr>
            <a:srgbClr val="5ACBF0"/>
          </p15:clr>
        </p15:guide>
        <p15:guide id="3" pos="18396">
          <p15:clr>
            <a:srgbClr val="5ACBF0"/>
          </p15:clr>
        </p15:guide>
        <p15:guide id="4" orient="horz" pos="288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5" y="457201"/>
            <a:ext cx="5215637" cy="138499"/>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1"/>
            <a:ext cx="5212080" cy="403187"/>
          </a:xfrm>
        </p:spPr>
        <p:txBody>
          <a:bodyPr wrap="square">
            <a:spAutoFit/>
          </a:bodyPr>
          <a:lstStyle>
            <a:lvl1pPr marL="0" indent="0">
              <a:spcBef>
                <a:spcPts val="306"/>
              </a:spcBef>
              <a:buClr>
                <a:schemeClr val="tx1"/>
              </a:buClr>
              <a:buFont typeface="Wingdings" panose="05000000000000000000" pitchFamily="2" charset="2"/>
              <a:buNone/>
              <a:defRPr sz="700" b="0">
                <a:latin typeface="Segoe UI" panose="020B0502040204020203" pitchFamily="34" charset="0"/>
                <a:cs typeface="Segoe UI" panose="020B0502040204020203" pitchFamily="34" charset="0"/>
              </a:defRPr>
            </a:lvl1pPr>
            <a:lvl2pPr marL="63905" indent="0">
              <a:buFont typeface="Wingdings" panose="05000000000000000000" pitchFamily="2" charset="2"/>
              <a:buNone/>
              <a:defRPr sz="500" b="0"/>
            </a:lvl2pPr>
            <a:lvl3pPr marL="112727" indent="0">
              <a:buFont typeface="Wingdings" panose="05000000000000000000" pitchFamily="2" charset="2"/>
              <a:buNone/>
              <a:tabLst/>
              <a:defRPr sz="400" b="0"/>
            </a:lvl3pPr>
            <a:lvl4pPr marL="163136" indent="0">
              <a:buFont typeface="Wingdings" panose="05000000000000000000" pitchFamily="2" charset="2"/>
              <a:buNone/>
              <a:defRPr sz="350" b="0"/>
            </a:lvl4pPr>
            <a:lvl5pPr marL="213545" indent="0">
              <a:buFont typeface="Wingdings" panose="05000000000000000000" pitchFamily="2" charset="2"/>
              <a:buNone/>
              <a:tabLst/>
              <a:defRPr sz="3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36576" rIns="45720" bIns="36576" numCol="1" spcCol="0" rtlCol="0" fromWordArt="0" anchor="t" anchorCtr="0" forceAA="0" compatLnSpc="1">
            <a:prstTxWarp prst="textNoShape">
              <a:avLst/>
            </a:prstTxWarp>
            <a:noAutofit/>
          </a:bodyPr>
          <a:lstStyle/>
          <a:p>
            <a:pPr algn="l" defTabSz="233147" fontAlgn="base">
              <a:spcBef>
                <a:spcPct val="0"/>
              </a:spcBef>
              <a:spcAft>
                <a:spcPct val="0"/>
              </a:spcAft>
            </a:pPr>
            <a:endParaRPr lang="en-US" sz="5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4" y="2603640"/>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233147" fontAlgn="base">
                <a:spcBef>
                  <a:spcPct val="0"/>
                </a:spcBef>
                <a:spcAft>
                  <a:spcPct val="0"/>
                </a:spcAft>
              </a:pPr>
              <a:endParaRPr lang="en-US" sz="5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233147" fontAlgn="base">
                <a:spcBef>
                  <a:spcPct val="0"/>
                </a:spcBef>
                <a:spcAft>
                  <a:spcPct val="0"/>
                </a:spcAft>
              </a:pPr>
              <a:endParaRPr lang="en-US" sz="5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233147" fontAlgn="base">
                <a:spcBef>
                  <a:spcPct val="0"/>
                </a:spcBef>
                <a:spcAft>
                  <a:spcPct val="0"/>
                </a:spcAft>
              </a:pPr>
              <a:endParaRPr lang="en-US" sz="5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233147" fontAlgn="base">
                <a:spcBef>
                  <a:spcPct val="0"/>
                </a:spcBef>
                <a:spcAft>
                  <a:spcPct val="0"/>
                </a:spcAft>
              </a:pPr>
              <a:endParaRPr lang="en-US" sz="5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233147" fontAlgn="base">
                <a:spcBef>
                  <a:spcPct val="0"/>
                </a:spcBef>
                <a:spcAft>
                  <a:spcPct val="0"/>
                </a:spcAft>
              </a:pPr>
              <a:endParaRPr lang="en-US" sz="5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233147" fontAlgn="base">
                <a:spcBef>
                  <a:spcPct val="0"/>
                </a:spcBef>
                <a:spcAft>
                  <a:spcPct val="0"/>
                </a:spcAft>
              </a:pPr>
              <a:endParaRPr lang="en-US" sz="5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3207734721"/>
      </p:ext>
    </p:extLst>
  </p:cSld>
  <p:clrMapOvr>
    <a:masterClrMapping/>
  </p:clrMapOvr>
  <p:transition>
    <p:fade/>
  </p:transition>
  <p:extLst>
    <p:ext uri="{DCECCB84-F9BA-43D5-87BE-67443E8EF086}">
      <p15:sldGuideLst xmlns:p15="http://schemas.microsoft.com/office/powerpoint/2012/main">
        <p15:guide id="1" orient="horz" pos="384">
          <p15:clr>
            <a:srgbClr val="5ACBF0"/>
          </p15:clr>
        </p15:guide>
        <p15:guide id="2" orient="horz" pos="1696">
          <p15:clr>
            <a:srgbClr val="5ACBF0"/>
          </p15:clr>
        </p15:guide>
        <p15:guide id="3" orient="horz" pos="1205">
          <p15:clr>
            <a:srgbClr val="5ACBF0"/>
          </p15:clr>
        </p15:guide>
        <p15:guide id="4" pos="10968">
          <p15:clr>
            <a:srgbClr val="5ACBF0"/>
          </p15:clr>
        </p15:guide>
        <p15:guide id="5" pos="12072">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36576" rIns="45720" bIns="36576" numCol="1" spcCol="0" rtlCol="0" fromWordArt="0" anchor="t" anchorCtr="0" forceAA="0" compatLnSpc="1">
            <a:prstTxWarp prst="textNoShape">
              <a:avLst/>
            </a:prstTxWarp>
            <a:noAutofit/>
          </a:bodyPr>
          <a:lstStyle/>
          <a:p>
            <a:pPr algn="l" defTabSz="233147" fontAlgn="base">
              <a:spcBef>
                <a:spcPct val="0"/>
              </a:spcBef>
              <a:spcAft>
                <a:spcPct val="0"/>
              </a:spcAft>
            </a:pPr>
            <a:endParaRPr lang="en-US" sz="5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138499"/>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2" y="1666189"/>
            <a:ext cx="2532063" cy="76944"/>
          </a:xfrm>
        </p:spPr>
        <p:txBody>
          <a:bodyPr anchor="t"/>
          <a:lstStyle>
            <a:lvl1pPr marL="0" indent="0">
              <a:spcBef>
                <a:spcPts val="0"/>
              </a:spcBef>
              <a:buNone/>
              <a:defRPr sz="5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2" y="2511029"/>
            <a:ext cx="2532063" cy="346249"/>
          </a:xfrm>
        </p:spPr>
        <p:txBody>
          <a:bodyPr wrap="square">
            <a:spAutoFit/>
          </a:bodyPr>
          <a:lstStyle>
            <a:lvl1pPr marL="35326" indent="-35326">
              <a:defRPr lang="en-US" sz="450" dirty="0"/>
            </a:lvl1pPr>
            <a:lvl2pPr marL="71446" indent="-31357">
              <a:defRPr lang="en-US" sz="400" dirty="0"/>
            </a:lvl2pPr>
            <a:lvl3pPr marL="109551" indent="-33342">
              <a:defRPr lang="en-US" dirty="0"/>
            </a:lvl3pPr>
            <a:lvl4pPr marL="141702" indent="-28579">
              <a:defRPr lang="en-US" dirty="0"/>
            </a:lvl4pPr>
            <a:lvl5pPr marL="171471" indent="-2738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9"/>
            <a:ext cx="2533650" cy="76944"/>
          </a:xfrm>
        </p:spPr>
        <p:txBody>
          <a:bodyPr anchor="t"/>
          <a:lstStyle>
            <a:lvl1pPr marL="0" indent="0">
              <a:spcBef>
                <a:spcPts val="0"/>
              </a:spcBef>
              <a:buNone/>
              <a:defRPr sz="5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7" y="2504389"/>
            <a:ext cx="2532063" cy="346249"/>
          </a:xfrm>
        </p:spPr>
        <p:txBody>
          <a:bodyPr wrap="square">
            <a:spAutoFit/>
          </a:bodyPr>
          <a:lstStyle>
            <a:lvl1pPr marL="35326" indent="-35326">
              <a:defRPr lang="en-US" sz="450" dirty="0"/>
            </a:lvl1pPr>
            <a:lvl2pPr marL="71446" indent="-31357">
              <a:defRPr lang="en-US" sz="400" dirty="0"/>
            </a:lvl2pPr>
            <a:lvl3pPr marL="109551" indent="-33342">
              <a:defRPr lang="en-US" dirty="0"/>
            </a:lvl3pPr>
            <a:lvl4pPr marL="141702" indent="-28579">
              <a:defRPr lang="en-US" dirty="0"/>
            </a:lvl4pPr>
            <a:lvl5pPr marL="171471" indent="-2738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10" y="1666189"/>
            <a:ext cx="2532063" cy="76944"/>
          </a:xfrm>
        </p:spPr>
        <p:txBody>
          <a:bodyPr anchor="t"/>
          <a:lstStyle>
            <a:lvl1pPr marL="0" indent="0">
              <a:spcBef>
                <a:spcPts val="0"/>
              </a:spcBef>
              <a:buNone/>
              <a:defRPr sz="5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10" y="2511029"/>
            <a:ext cx="2532063" cy="346249"/>
          </a:xfrm>
        </p:spPr>
        <p:txBody>
          <a:bodyPr wrap="square">
            <a:spAutoFit/>
          </a:bodyPr>
          <a:lstStyle>
            <a:lvl1pPr marL="35326" indent="-35326">
              <a:defRPr lang="en-US" sz="450" dirty="0"/>
            </a:lvl1pPr>
            <a:lvl2pPr marL="71446" indent="-31357">
              <a:defRPr lang="en-US" sz="400" dirty="0"/>
            </a:lvl2pPr>
            <a:lvl3pPr marL="109551" indent="-33342">
              <a:defRPr lang="en-US" dirty="0"/>
            </a:lvl3pPr>
            <a:lvl4pPr marL="141702" indent="-28579">
              <a:defRPr lang="en-US" dirty="0"/>
            </a:lvl4pPr>
            <a:lvl5pPr marL="171471" indent="-2738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9"/>
            <a:ext cx="2533650" cy="76944"/>
          </a:xfrm>
        </p:spPr>
        <p:txBody>
          <a:bodyPr anchor="t"/>
          <a:lstStyle>
            <a:lvl1pPr marL="0" indent="0">
              <a:spcBef>
                <a:spcPts val="0"/>
              </a:spcBef>
              <a:buNone/>
              <a:defRPr sz="5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5" y="2504389"/>
            <a:ext cx="2532063" cy="346249"/>
          </a:xfrm>
        </p:spPr>
        <p:txBody>
          <a:bodyPr wrap="square">
            <a:spAutoFit/>
          </a:bodyPr>
          <a:lstStyle>
            <a:lvl1pPr marL="35326" indent="-35326">
              <a:defRPr lang="en-US" sz="450" dirty="0"/>
            </a:lvl1pPr>
            <a:lvl2pPr marL="71446" indent="-31357">
              <a:defRPr lang="en-US" sz="400" dirty="0"/>
            </a:lvl2pPr>
            <a:lvl3pPr marL="109551" indent="-33342">
              <a:defRPr lang="en-US" dirty="0"/>
            </a:lvl3pPr>
            <a:lvl4pPr marL="141702" indent="-28579">
              <a:defRPr lang="en-US" dirty="0"/>
            </a:lvl4pPr>
            <a:lvl5pPr marL="171471" indent="-2738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8" y="457200"/>
            <a:ext cx="1100156" cy="564350"/>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655"/>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655"/>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655"/>
            </a:p>
          </p:txBody>
        </p:sp>
      </p:grpSp>
    </p:spTree>
    <p:extLst>
      <p:ext uri="{BB962C8B-B14F-4D97-AF65-F5344CB8AC3E}">
        <p14:creationId xmlns:p14="http://schemas.microsoft.com/office/powerpoint/2010/main" val="1462691138"/>
      </p:ext>
    </p:extLst>
  </p:cSld>
  <p:clrMapOvr>
    <a:masterClrMapping/>
  </p:clrMapOvr>
  <p:transition>
    <p:fade/>
  </p:transition>
  <p:extLst>
    <p:ext uri="{DCECCB84-F9BA-43D5-87BE-67443E8EF086}">
      <p15:sldGuideLst xmlns:p15="http://schemas.microsoft.com/office/powerpoint/2012/main">
        <p15:guide id="4" orient="horz" pos="1208">
          <p15:clr>
            <a:srgbClr val="5ACBF0"/>
          </p15:clr>
        </p15:guide>
        <p15:guide id="5" orient="horz" pos="384">
          <p15:clr>
            <a:srgbClr val="5ACBF0"/>
          </p15:clr>
        </p15:guide>
        <p15:guide id="6" pos="5889">
          <p15:clr>
            <a:srgbClr val="5ACBF0"/>
          </p15:clr>
        </p15:guide>
        <p15:guide id="7" pos="6450">
          <p15:clr>
            <a:srgbClr val="5ACBF0"/>
          </p15:clr>
        </p15:guide>
        <p15:guide id="8" pos="11238">
          <p15:clr>
            <a:srgbClr val="5ACBF0"/>
          </p15:clr>
        </p15:guide>
        <p15:guide id="9" pos="11802">
          <p15:clr>
            <a:srgbClr val="5ACBF0"/>
          </p15:clr>
        </p15:guide>
        <p15:guide id="10" pos="16590">
          <p15:clr>
            <a:srgbClr val="5ACBF0"/>
          </p15:clr>
        </p15:guide>
        <p15:guide id="11" pos="17148">
          <p15:clr>
            <a:srgbClr val="5ACBF0"/>
          </p15:clr>
        </p15:guide>
        <p15:guide id="12" orient="horz" pos="191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5F2B9C-6C80-CAF7-46F7-38B5ED8B97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9261384-4982-A003-A22D-CEFD29C505F2}"/>
              </a:ext>
            </a:extLst>
          </p:cNvPr>
          <p:cNvSpPr>
            <a:spLocks noGrp="1"/>
          </p:cNvSpPr>
          <p:nvPr>
            <p:ph sz="half" idx="1"/>
          </p:nvPr>
        </p:nvSpPr>
        <p:spPr>
          <a:xfrm>
            <a:off x="890225" y="1620061"/>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44612B7-003F-F88F-DD2D-0EAB38253683}"/>
              </a:ext>
            </a:extLst>
          </p:cNvPr>
          <p:cNvSpPr>
            <a:spLocks noGrp="1"/>
          </p:cNvSpPr>
          <p:nvPr>
            <p:ph sz="half" idx="2"/>
          </p:nvPr>
        </p:nvSpPr>
        <p:spPr>
          <a:xfrm>
            <a:off x="6224225" y="1620061"/>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78049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1"/>
            <a:ext cx="11018838" cy="4031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3" y="-203943"/>
            <a:ext cx="142668" cy="38472"/>
          </a:xfrm>
          <a:prstGeom prst="rect">
            <a:avLst/>
          </a:prstGeom>
          <a:noFill/>
        </p:spPr>
        <p:txBody>
          <a:bodyPr wrap="none" lIns="0" tIns="0" rIns="0" bIns="0" rtlCol="0">
            <a:spAutoFit/>
          </a:bodyPr>
          <a:lstStyle/>
          <a:p>
            <a:pPr algn="l"/>
            <a:r>
              <a:rPr lang="en-US" sz="250">
                <a:solidFill>
                  <a:srgbClr val="A3A3A3"/>
                </a:solidFill>
              </a:rPr>
              <a:t>ELT layout</a:t>
            </a:r>
          </a:p>
        </p:txBody>
      </p:sp>
    </p:spTree>
    <p:extLst>
      <p:ext uri="{BB962C8B-B14F-4D97-AF65-F5344CB8AC3E}">
        <p14:creationId xmlns:p14="http://schemas.microsoft.com/office/powerpoint/2010/main" val="4279470756"/>
      </p:ext>
    </p:extLst>
  </p:cSld>
  <p:clrMapOvr>
    <a:masterClrMapping/>
  </p:clrMapOvr>
  <p:transition>
    <p:fade/>
  </p:transition>
  <p:extLst>
    <p:ext uri="{DCECCB84-F9BA-43D5-87BE-67443E8EF086}">
      <p15:sldGuideLst xmlns:p15="http://schemas.microsoft.com/office/powerpoint/2012/main">
        <p15:guide id="2" orient="horz" pos="1696">
          <p15:clr>
            <a:srgbClr val="5ACBF0"/>
          </p15:clr>
        </p15:guide>
        <p15:guide id="3" orient="horz" pos="384">
          <p15:clr>
            <a:srgbClr val="5ACBF0"/>
          </p15:clr>
        </p15:guide>
        <p15:guide id="5" orient="horz" pos="12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403187"/>
          </a:xfrm>
        </p:spPr>
        <p:txBody>
          <a:bodyPr wrap="square">
            <a:spAutoFit/>
          </a:bodyPr>
          <a:lstStyle>
            <a:lvl1pPr marL="0" indent="0">
              <a:buNone/>
              <a:defRPr/>
            </a:lvl1pPr>
            <a:lvl2pPr marL="57157" indent="0">
              <a:buNone/>
              <a:defRPr/>
            </a:lvl2pPr>
            <a:lvl3pPr marL="114314" indent="0">
              <a:buNone/>
              <a:defRPr/>
            </a:lvl3pPr>
            <a:lvl4pPr marL="171471" indent="0">
              <a:buNone/>
              <a:defRPr/>
            </a:lvl4pPr>
            <a:lvl5pPr marL="2286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4893510"/>
      </p:ext>
    </p:extLst>
  </p:cSld>
  <p:clrMapOvr>
    <a:masterClrMapping/>
  </p:clrMapOvr>
  <p:transition>
    <p:fade/>
  </p:transition>
  <p:extLst>
    <p:ext uri="{DCECCB84-F9BA-43D5-87BE-67443E8EF086}">
      <p15:sldGuideLst xmlns:p15="http://schemas.microsoft.com/office/powerpoint/2012/main">
        <p15:guide id="1" orient="horz" pos="384">
          <p15:clr>
            <a:srgbClr val="5ACBF0"/>
          </p15:clr>
        </p15:guide>
        <p15:guide id="2" orient="horz" pos="1207">
          <p15:clr>
            <a:srgbClr val="5ACBF0"/>
          </p15:clr>
        </p15:guide>
        <p15:guide id="4" orient="horz" pos="169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2" y="1435101"/>
            <a:ext cx="5211763" cy="403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1"/>
            <a:ext cx="5219700" cy="403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3" y="-203943"/>
            <a:ext cx="142668" cy="38472"/>
          </a:xfrm>
          <a:prstGeom prst="rect">
            <a:avLst/>
          </a:prstGeom>
          <a:noFill/>
        </p:spPr>
        <p:txBody>
          <a:bodyPr wrap="none" lIns="0" tIns="0" rIns="0" bIns="0" rtlCol="0">
            <a:spAutoFit/>
          </a:bodyPr>
          <a:lstStyle/>
          <a:p>
            <a:pPr algn="l"/>
            <a:r>
              <a:rPr lang="en-US" sz="250">
                <a:solidFill>
                  <a:srgbClr val="A3A3A3"/>
                </a:solidFill>
              </a:rPr>
              <a:t>ELT layout</a:t>
            </a:r>
          </a:p>
        </p:txBody>
      </p:sp>
    </p:spTree>
    <p:extLst>
      <p:ext uri="{BB962C8B-B14F-4D97-AF65-F5344CB8AC3E}">
        <p14:creationId xmlns:p14="http://schemas.microsoft.com/office/powerpoint/2010/main" val="3824950512"/>
      </p:ext>
    </p:extLst>
  </p:cSld>
  <p:clrMapOvr>
    <a:masterClrMapping/>
  </p:clrMapOvr>
  <p:transition>
    <p:fade/>
  </p:transition>
  <p:extLst>
    <p:ext uri="{DCECCB84-F9BA-43D5-87BE-67443E8EF086}">
      <p15:sldGuideLst xmlns:p15="http://schemas.microsoft.com/office/powerpoint/2012/main">
        <p15:guide id="1" orient="horz" pos="384">
          <p15:clr>
            <a:srgbClr val="5ACBF0"/>
          </p15:clr>
        </p15:guide>
        <p15:guide id="2" orient="horz" pos="1701">
          <p15:clr>
            <a:srgbClr val="5ACBF0"/>
          </p15:clr>
        </p15:guide>
        <p15:guide id="3" orient="horz" pos="1205">
          <p15:clr>
            <a:srgbClr val="5ACBF0"/>
          </p15:clr>
        </p15:guide>
        <p15:guide id="4" pos="10980">
          <p15:clr>
            <a:srgbClr val="5ACBF0"/>
          </p15:clr>
        </p15:guide>
        <p15:guide id="5" pos="12072">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138499"/>
          </a:xfrm>
        </p:spPr>
        <p:txBody>
          <a:bodyPr/>
          <a:lstStyle/>
          <a:p>
            <a:r>
              <a:rPr lang="en-US"/>
              <a:t>Click to edit Master title style</a:t>
            </a:r>
          </a:p>
        </p:txBody>
      </p:sp>
      <p:sp>
        <p:nvSpPr>
          <p:cNvPr id="4" name="Text Placeholder 3"/>
          <p:cNvSpPr>
            <a:spLocks noGrp="1"/>
          </p:cNvSpPr>
          <p:nvPr>
            <p:ph type="body" sz="quarter" idx="10"/>
          </p:nvPr>
        </p:nvSpPr>
        <p:spPr>
          <a:xfrm>
            <a:off x="584200" y="1435101"/>
            <a:ext cx="5212080" cy="403187"/>
          </a:xfrm>
        </p:spPr>
        <p:txBody>
          <a:bodyPr wrap="square">
            <a:spAutoFit/>
          </a:bodyPr>
          <a:lstStyle>
            <a:lvl1pPr marL="0" indent="0">
              <a:spcBef>
                <a:spcPts val="306"/>
              </a:spcBef>
              <a:buClr>
                <a:schemeClr val="tx1"/>
              </a:buClr>
              <a:buFont typeface="Wingdings" panose="05000000000000000000" pitchFamily="2" charset="2"/>
              <a:buNone/>
              <a:defRPr sz="700" b="0">
                <a:latin typeface="Segoe UI" panose="020B0502040204020203" pitchFamily="34" charset="0"/>
                <a:cs typeface="Segoe UI" panose="020B0502040204020203" pitchFamily="34" charset="0"/>
              </a:defRPr>
            </a:lvl1pPr>
            <a:lvl2pPr marL="63905" indent="0">
              <a:buFont typeface="Wingdings" panose="05000000000000000000" pitchFamily="2" charset="2"/>
              <a:buNone/>
              <a:defRPr sz="500" b="0"/>
            </a:lvl2pPr>
            <a:lvl3pPr marL="112727" indent="0">
              <a:buFont typeface="Wingdings" panose="05000000000000000000" pitchFamily="2" charset="2"/>
              <a:buNone/>
              <a:tabLst/>
              <a:defRPr sz="400" b="0"/>
            </a:lvl3pPr>
            <a:lvl4pPr marL="163136" indent="0">
              <a:buFont typeface="Wingdings" panose="05000000000000000000" pitchFamily="2" charset="2"/>
              <a:buNone/>
              <a:defRPr sz="350" b="0"/>
            </a:lvl4pPr>
            <a:lvl5pPr marL="213545" indent="0">
              <a:buFont typeface="Wingdings" panose="05000000000000000000" pitchFamily="2" charset="2"/>
              <a:buNone/>
              <a:tabLst/>
              <a:defRPr sz="3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1"/>
            <a:ext cx="5212080" cy="403187"/>
          </a:xfrm>
        </p:spPr>
        <p:txBody>
          <a:bodyPr wrap="square">
            <a:spAutoFit/>
          </a:bodyPr>
          <a:lstStyle>
            <a:lvl1pPr marL="0" indent="0">
              <a:spcBef>
                <a:spcPts val="306"/>
              </a:spcBef>
              <a:buClr>
                <a:schemeClr val="tx1"/>
              </a:buClr>
              <a:buFont typeface="Wingdings" panose="05000000000000000000" pitchFamily="2" charset="2"/>
              <a:buNone/>
              <a:defRPr sz="700" b="0">
                <a:latin typeface="Segoe UI" panose="020B0502040204020203" pitchFamily="34" charset="0"/>
                <a:cs typeface="Segoe UI" panose="020B0502040204020203" pitchFamily="34" charset="0"/>
              </a:defRPr>
            </a:lvl1pPr>
            <a:lvl2pPr marL="63905" indent="0">
              <a:buFont typeface="Wingdings" panose="05000000000000000000" pitchFamily="2" charset="2"/>
              <a:buNone/>
              <a:defRPr sz="500" b="0"/>
            </a:lvl2pPr>
            <a:lvl3pPr marL="112727" indent="0">
              <a:buFont typeface="Wingdings" panose="05000000000000000000" pitchFamily="2" charset="2"/>
              <a:buNone/>
              <a:tabLst/>
              <a:defRPr sz="400" b="0"/>
            </a:lvl3pPr>
            <a:lvl4pPr marL="163136" indent="0">
              <a:buFont typeface="Wingdings" panose="05000000000000000000" pitchFamily="2" charset="2"/>
              <a:buNone/>
              <a:defRPr sz="350" b="0"/>
            </a:lvl4pPr>
            <a:lvl5pPr marL="213545" indent="0">
              <a:buFont typeface="Wingdings" panose="05000000000000000000" pitchFamily="2" charset="2"/>
              <a:buNone/>
              <a:tabLst/>
              <a:defRPr sz="3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993671"/>
      </p:ext>
    </p:extLst>
  </p:cSld>
  <p:clrMapOvr>
    <a:masterClrMapping/>
  </p:clrMapOvr>
  <p:transition>
    <p:fade/>
  </p:transition>
  <p:extLst>
    <p:ext uri="{DCECCB84-F9BA-43D5-87BE-67443E8EF086}">
      <p15:sldGuideLst xmlns:p15="http://schemas.microsoft.com/office/powerpoint/2012/main">
        <p15:guide id="1" orient="horz" pos="384">
          <p15:clr>
            <a:srgbClr val="5ACBF0"/>
          </p15:clr>
        </p15:guide>
        <p15:guide id="2" orient="horz" pos="1696">
          <p15:clr>
            <a:srgbClr val="5ACBF0"/>
          </p15:clr>
        </p15:guide>
        <p15:guide id="3" orient="horz" pos="1205">
          <p15:clr>
            <a:srgbClr val="5ACBF0"/>
          </p15:clr>
        </p15:guide>
        <p15:guide id="4" pos="10968">
          <p15:clr>
            <a:srgbClr val="5ACBF0"/>
          </p15:clr>
        </p15:guide>
        <p15:guide id="5" pos="12072">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138499"/>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91"/>
            <a:ext cx="5219700" cy="107722"/>
          </a:xfrm>
        </p:spPr>
        <p:txBody>
          <a:bodyPr anchor="t"/>
          <a:lstStyle>
            <a:lvl1pPr marL="0" indent="0">
              <a:spcBef>
                <a:spcPts val="0"/>
              </a:spcBef>
              <a:buNone/>
              <a:defRPr sz="7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387798"/>
          </a:xfrm>
        </p:spPr>
        <p:txBody>
          <a:bodyPr>
            <a:spAutoFit/>
          </a:bodyPr>
          <a:lstStyle>
            <a:lvl1pPr marL="42868" indent="-42868">
              <a:defRPr lang="en-US" sz="600" dirty="0"/>
            </a:lvl1pPr>
            <a:lvl2pPr marL="85736" indent="-42868">
              <a:defRPr lang="en-US" dirty="0"/>
            </a:lvl2pPr>
            <a:lvl3pPr marL="128604" indent="-42868">
              <a:defRPr lang="en-US" dirty="0"/>
            </a:lvl3pPr>
            <a:lvl4pPr marL="166708" indent="-38105">
              <a:defRPr lang="en-US" dirty="0"/>
            </a:lvl4pPr>
            <a:lvl5pPr marL="198462" indent="-3016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6" y="1436691"/>
            <a:ext cx="5219700" cy="107722"/>
          </a:xfrm>
        </p:spPr>
        <p:txBody>
          <a:bodyPr anchor="t"/>
          <a:lstStyle>
            <a:lvl1pPr marL="0" indent="0">
              <a:spcBef>
                <a:spcPts val="0"/>
              </a:spcBef>
              <a:buNone/>
              <a:defRPr sz="7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6" y="2084389"/>
            <a:ext cx="5219700" cy="387798"/>
          </a:xfrm>
        </p:spPr>
        <p:txBody>
          <a:bodyPr>
            <a:spAutoFit/>
          </a:bodyPr>
          <a:lstStyle>
            <a:lvl1pPr marL="42868" indent="-42868">
              <a:defRPr lang="en-US" sz="600" dirty="0"/>
            </a:lvl1pPr>
            <a:lvl2pPr marL="85736" indent="-42868">
              <a:defRPr lang="en-US" dirty="0"/>
            </a:lvl2pPr>
            <a:lvl3pPr marL="128604" indent="-42868">
              <a:defRPr lang="en-US" dirty="0"/>
            </a:lvl3pPr>
            <a:lvl4pPr marL="171471" indent="-34135">
              <a:defRPr lang="en-US" dirty="0"/>
            </a:lvl4pPr>
            <a:lvl5pPr marL="198462" indent="-3016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421531"/>
      </p:ext>
    </p:extLst>
  </p:cSld>
  <p:clrMapOvr>
    <a:masterClrMapping/>
  </p:clrMapOvr>
  <p:transition>
    <p:fade/>
  </p:transition>
  <p:extLst>
    <p:ext uri="{DCECCB84-F9BA-43D5-87BE-67443E8EF086}">
      <p15:sldGuideLst xmlns:p15="http://schemas.microsoft.com/office/powerpoint/2012/main">
        <p15:guide id="1" orient="horz" pos="384">
          <p15:clr>
            <a:srgbClr val="5ACBF0"/>
          </p15:clr>
        </p15:guide>
        <p15:guide id="2" orient="horz" pos="1748">
          <p15:clr>
            <a:srgbClr val="5ACBF0"/>
          </p15:clr>
        </p15:guide>
        <p15:guide id="4" pos="10968">
          <p15:clr>
            <a:srgbClr val="5ACBF0"/>
          </p15:clr>
        </p15:guide>
        <p15:guide id="5" pos="12072">
          <p15:clr>
            <a:srgbClr val="5ACBF0"/>
          </p15:clr>
        </p15:guide>
        <p15:guide id="7" orient="horz" pos="1207">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138499"/>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91"/>
            <a:ext cx="5219700" cy="107722"/>
          </a:xfrm>
        </p:spPr>
        <p:txBody>
          <a:bodyPr anchor="t"/>
          <a:lstStyle>
            <a:lvl1pPr marL="0" indent="0">
              <a:spcBef>
                <a:spcPts val="0"/>
              </a:spcBef>
              <a:buNone/>
              <a:defRPr sz="7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5" y="2081213"/>
            <a:ext cx="5214937" cy="387798"/>
          </a:xfrm>
        </p:spPr>
        <p:txBody>
          <a:bodyPr/>
          <a:lstStyle>
            <a:lvl1pPr>
              <a:defRPr sz="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6" y="1436691"/>
            <a:ext cx="5219700" cy="107722"/>
          </a:xfrm>
        </p:spPr>
        <p:txBody>
          <a:bodyPr anchor="t"/>
          <a:lstStyle>
            <a:lvl1pPr marL="0" indent="0">
              <a:spcBef>
                <a:spcPts val="0"/>
              </a:spcBef>
              <a:buNone/>
              <a:defRPr sz="7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3" y="2081213"/>
            <a:ext cx="5214937" cy="387798"/>
          </a:xfrm>
        </p:spPr>
        <p:txBody>
          <a:bodyPr/>
          <a:lstStyle>
            <a:lvl1pPr>
              <a:defRPr sz="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4794787"/>
      </p:ext>
    </p:extLst>
  </p:cSld>
  <p:clrMapOvr>
    <a:masterClrMapping/>
  </p:clrMapOvr>
  <p:transition>
    <p:fade/>
  </p:transition>
  <p:extLst>
    <p:ext uri="{DCECCB84-F9BA-43D5-87BE-67443E8EF086}">
      <p15:sldGuideLst xmlns:p15="http://schemas.microsoft.com/office/powerpoint/2012/main">
        <p15:guide id="1" orient="horz" pos="384">
          <p15:clr>
            <a:srgbClr val="5ACBF0"/>
          </p15:clr>
        </p15:guide>
        <p15:guide id="2" orient="horz" pos="1748">
          <p15:clr>
            <a:srgbClr val="5ACBF0"/>
          </p15:clr>
        </p15:guide>
        <p15:guide id="4" pos="10968">
          <p15:clr>
            <a:srgbClr val="5ACBF0"/>
          </p15:clr>
        </p15:guide>
        <p15:guide id="5" pos="12072">
          <p15:clr>
            <a:srgbClr val="5ACBF0"/>
          </p15:clr>
        </p15:guide>
        <p15:guide id="7" orient="horz" pos="1207">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138499"/>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8" y="1438275"/>
            <a:ext cx="3264408" cy="84639"/>
          </a:xfrm>
        </p:spPr>
        <p:txBody>
          <a:bodyPr anchor="t"/>
          <a:lstStyle>
            <a:lvl1pPr marL="0" indent="0">
              <a:spcBef>
                <a:spcPts val="0"/>
              </a:spcBef>
              <a:buNone/>
              <a:defRPr sz="55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8" y="2390777"/>
            <a:ext cx="3264408" cy="363176"/>
          </a:xfrm>
        </p:spPr>
        <p:txBody>
          <a:bodyPr wrap="square">
            <a:spAutoFit/>
          </a:bodyPr>
          <a:lstStyle>
            <a:lvl1pPr marL="44059" indent="-44059">
              <a:defRPr lang="en-US" sz="500" dirty="0"/>
            </a:lvl1pPr>
            <a:lvl2pPr marL="80576" indent="-37708">
              <a:defRPr lang="en-US" sz="450" dirty="0"/>
            </a:lvl2pPr>
            <a:lvl3pPr marL="116696" indent="-34533">
              <a:defRPr lang="en-US" dirty="0"/>
            </a:lvl3pPr>
            <a:lvl4pPr marL="148847" indent="-32151">
              <a:defRPr lang="en-US" dirty="0"/>
            </a:lvl4pPr>
            <a:lvl5pPr marL="182983" indent="-3056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7" y="1438275"/>
            <a:ext cx="3264408" cy="84639"/>
          </a:xfrm>
        </p:spPr>
        <p:txBody>
          <a:bodyPr anchor="t"/>
          <a:lstStyle>
            <a:lvl1pPr marL="0" indent="0">
              <a:spcBef>
                <a:spcPts val="0"/>
              </a:spcBef>
              <a:buNone/>
              <a:defRPr sz="55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7" y="2384137"/>
            <a:ext cx="3264408" cy="363176"/>
          </a:xfrm>
        </p:spPr>
        <p:txBody>
          <a:bodyPr wrap="square">
            <a:spAutoFit/>
          </a:bodyPr>
          <a:lstStyle>
            <a:lvl1pPr marL="44059" indent="-44059">
              <a:defRPr lang="en-US" sz="500" dirty="0"/>
            </a:lvl1pPr>
            <a:lvl2pPr marL="99628" indent="-42471">
              <a:defRPr lang="en-US" sz="450" dirty="0"/>
            </a:lvl2pPr>
            <a:lvl3pPr marL="138924" indent="-39296">
              <a:defRPr lang="en-US" dirty="0"/>
            </a:lvl3pPr>
            <a:lvl4pPr marL="171471" indent="-34135">
              <a:defRPr lang="en-US" dirty="0"/>
            </a:lvl4pPr>
            <a:lvl5pPr marL="200050" indent="-2778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84639"/>
          </a:xfrm>
        </p:spPr>
        <p:txBody>
          <a:bodyPr anchor="t"/>
          <a:lstStyle>
            <a:lvl1pPr marL="0" indent="0">
              <a:spcBef>
                <a:spcPts val="0"/>
              </a:spcBef>
              <a:buNone/>
              <a:defRPr sz="55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7"/>
            <a:ext cx="3264408" cy="363176"/>
          </a:xfrm>
        </p:spPr>
        <p:txBody>
          <a:bodyPr wrap="square">
            <a:spAutoFit/>
          </a:bodyPr>
          <a:lstStyle>
            <a:lvl1pPr marL="44059" indent="-44059">
              <a:defRPr lang="en-US" sz="500" dirty="0"/>
            </a:lvl1pPr>
            <a:lvl2pPr marL="99628" indent="-42471">
              <a:defRPr lang="en-US" sz="450" dirty="0"/>
            </a:lvl2pPr>
            <a:lvl3pPr marL="138924" indent="-39296">
              <a:defRPr lang="en-US" dirty="0"/>
            </a:lvl3pPr>
            <a:lvl4pPr marL="171471" indent="-34135">
              <a:defRPr lang="en-US" dirty="0"/>
            </a:lvl4pPr>
            <a:lvl5pPr marL="200050" indent="-2778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103121"/>
      </p:ext>
    </p:extLst>
  </p:cSld>
  <p:clrMapOvr>
    <a:masterClrMapping/>
  </p:clrMapOvr>
  <p:transition>
    <p:fade/>
  </p:transition>
  <p:extLst>
    <p:ext uri="{DCECCB84-F9BA-43D5-87BE-67443E8EF086}">
      <p15:sldGuideLst xmlns:p15="http://schemas.microsoft.com/office/powerpoint/2012/main">
        <p15:guide id="3" orient="horz" pos="2008">
          <p15:clr>
            <a:srgbClr val="5ACBF0"/>
          </p15:clr>
        </p15:guide>
        <p15:guide id="4" orient="horz" pos="1208">
          <p15:clr>
            <a:srgbClr val="5ACBF0"/>
          </p15:clr>
        </p15:guide>
        <p15:guide id="5" orient="horz" pos="384">
          <p15:clr>
            <a:srgbClr val="5ACBF0"/>
          </p15:clr>
        </p15:guide>
        <p15:guide id="6" pos="7290">
          <p15:clr>
            <a:srgbClr val="5ACBF0"/>
          </p15:clr>
        </p15:guide>
        <p15:guide id="7" pos="8433">
          <p15:clr>
            <a:srgbClr val="5ACBF0"/>
          </p15:clr>
        </p15:guide>
        <p15:guide id="8" pos="14613">
          <p15:clr>
            <a:srgbClr val="5ACBF0"/>
          </p15:clr>
        </p15:guide>
        <p15:guide id="9" pos="15753">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138499"/>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2" y="1438278"/>
            <a:ext cx="2532063" cy="76944"/>
          </a:xfrm>
        </p:spPr>
        <p:txBody>
          <a:bodyPr anchor="t"/>
          <a:lstStyle>
            <a:lvl1pPr marL="0" indent="0">
              <a:spcBef>
                <a:spcPts val="0"/>
              </a:spcBef>
              <a:buNone/>
              <a:defRPr sz="5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2" y="2283116"/>
            <a:ext cx="2532063" cy="346249"/>
          </a:xfrm>
        </p:spPr>
        <p:txBody>
          <a:bodyPr wrap="square">
            <a:spAutoFit/>
          </a:bodyPr>
          <a:lstStyle>
            <a:lvl1pPr marL="35326" indent="-35326">
              <a:defRPr lang="en-US" sz="450" dirty="0"/>
            </a:lvl1pPr>
            <a:lvl2pPr marL="71446" indent="-31357">
              <a:defRPr lang="en-US" sz="400" dirty="0"/>
            </a:lvl2pPr>
            <a:lvl3pPr marL="109551" indent="-33342">
              <a:defRPr lang="en-US" dirty="0"/>
            </a:lvl3pPr>
            <a:lvl4pPr marL="141702" indent="-28579">
              <a:defRPr lang="en-US" dirty="0"/>
            </a:lvl4pPr>
            <a:lvl5pPr marL="171471" indent="-2738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8"/>
            <a:ext cx="2533650" cy="76944"/>
          </a:xfrm>
        </p:spPr>
        <p:txBody>
          <a:bodyPr anchor="t"/>
          <a:lstStyle>
            <a:lvl1pPr marL="0" indent="0">
              <a:spcBef>
                <a:spcPts val="0"/>
              </a:spcBef>
              <a:buNone/>
              <a:defRPr sz="5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7" y="2276476"/>
            <a:ext cx="2532063" cy="346249"/>
          </a:xfrm>
        </p:spPr>
        <p:txBody>
          <a:bodyPr wrap="square">
            <a:spAutoFit/>
          </a:bodyPr>
          <a:lstStyle>
            <a:lvl1pPr marL="35326" indent="-35326">
              <a:defRPr lang="en-US" sz="450" dirty="0"/>
            </a:lvl1pPr>
            <a:lvl2pPr marL="71446" indent="-31357">
              <a:defRPr lang="en-US" sz="400" dirty="0"/>
            </a:lvl2pPr>
            <a:lvl3pPr marL="109551" indent="-33342">
              <a:defRPr lang="en-US" dirty="0"/>
            </a:lvl3pPr>
            <a:lvl4pPr marL="141702" indent="-28579">
              <a:defRPr lang="en-US" dirty="0"/>
            </a:lvl4pPr>
            <a:lvl5pPr marL="171471" indent="-2738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10" y="1438278"/>
            <a:ext cx="2532063" cy="76944"/>
          </a:xfrm>
        </p:spPr>
        <p:txBody>
          <a:bodyPr anchor="t"/>
          <a:lstStyle>
            <a:lvl1pPr marL="0" indent="0">
              <a:spcBef>
                <a:spcPts val="0"/>
              </a:spcBef>
              <a:buNone/>
              <a:defRPr sz="5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10" y="2283116"/>
            <a:ext cx="2532063" cy="346249"/>
          </a:xfrm>
        </p:spPr>
        <p:txBody>
          <a:bodyPr wrap="square">
            <a:spAutoFit/>
          </a:bodyPr>
          <a:lstStyle>
            <a:lvl1pPr marL="35326" indent="-35326">
              <a:defRPr lang="en-US" sz="450" dirty="0"/>
            </a:lvl1pPr>
            <a:lvl2pPr marL="71446" indent="-31357">
              <a:defRPr lang="en-US" sz="400" dirty="0"/>
            </a:lvl2pPr>
            <a:lvl3pPr marL="109551" indent="-33342">
              <a:defRPr lang="en-US" dirty="0"/>
            </a:lvl3pPr>
            <a:lvl4pPr marL="141702" indent="-28579">
              <a:defRPr lang="en-US" dirty="0"/>
            </a:lvl4pPr>
            <a:lvl5pPr marL="171471" indent="-2738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8"/>
            <a:ext cx="2533650" cy="76944"/>
          </a:xfrm>
        </p:spPr>
        <p:txBody>
          <a:bodyPr anchor="t"/>
          <a:lstStyle>
            <a:lvl1pPr marL="0" indent="0">
              <a:spcBef>
                <a:spcPts val="0"/>
              </a:spcBef>
              <a:buNone/>
              <a:defRPr sz="5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5" y="2276476"/>
            <a:ext cx="2532063" cy="346249"/>
          </a:xfrm>
        </p:spPr>
        <p:txBody>
          <a:bodyPr wrap="square">
            <a:spAutoFit/>
          </a:bodyPr>
          <a:lstStyle>
            <a:lvl1pPr marL="35326" indent="-35326">
              <a:defRPr lang="en-US" sz="450" dirty="0"/>
            </a:lvl1pPr>
            <a:lvl2pPr marL="71446" indent="-31357">
              <a:defRPr lang="en-US" sz="400" dirty="0"/>
            </a:lvl2pPr>
            <a:lvl3pPr marL="109551" indent="-33342">
              <a:defRPr lang="en-US" dirty="0"/>
            </a:lvl3pPr>
            <a:lvl4pPr marL="141702" indent="-28579">
              <a:defRPr lang="en-US" dirty="0"/>
            </a:lvl4pPr>
            <a:lvl5pPr marL="171471" indent="-2738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9800861"/>
      </p:ext>
    </p:extLst>
  </p:cSld>
  <p:clrMapOvr>
    <a:masterClrMapping/>
  </p:clrMapOvr>
  <p:transition>
    <p:fade/>
  </p:transition>
  <p:extLst>
    <p:ext uri="{DCECCB84-F9BA-43D5-87BE-67443E8EF086}">
      <p15:sldGuideLst xmlns:p15="http://schemas.microsoft.com/office/powerpoint/2012/main">
        <p15:guide id="4" orient="horz" pos="1208">
          <p15:clr>
            <a:srgbClr val="5ACBF0"/>
          </p15:clr>
        </p15:guide>
        <p15:guide id="5" orient="horz" pos="384">
          <p15:clr>
            <a:srgbClr val="5ACBF0"/>
          </p15:clr>
        </p15:guide>
        <p15:guide id="6" pos="5889">
          <p15:clr>
            <a:srgbClr val="5ACBF0"/>
          </p15:clr>
        </p15:guide>
        <p15:guide id="7" pos="6450">
          <p15:clr>
            <a:srgbClr val="5ACBF0"/>
          </p15:clr>
        </p15:guide>
        <p15:guide id="8" pos="11238">
          <p15:clr>
            <a:srgbClr val="5ACBF0"/>
          </p15:clr>
        </p15:guide>
        <p15:guide id="9" pos="11802">
          <p15:clr>
            <a:srgbClr val="5ACBF0"/>
          </p15:clr>
        </p15:guide>
        <p15:guide id="10" pos="16590">
          <p15:clr>
            <a:srgbClr val="5ACBF0"/>
          </p15:clr>
        </p15:guide>
        <p15:guide id="11" pos="17148">
          <p15:clr>
            <a:srgbClr val="5ACBF0"/>
          </p15:clr>
        </p15:guide>
        <p15:guide id="12" orient="horz" pos="191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138499"/>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61555"/>
          </a:xfrm>
        </p:spPr>
        <p:txBody>
          <a:bodyPr anchor="t"/>
          <a:lstStyle>
            <a:lvl1pPr marL="0" indent="0">
              <a:spcBef>
                <a:spcPts val="0"/>
              </a:spcBef>
              <a:buNone/>
              <a:defRPr sz="4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8"/>
            <a:ext cx="1965960" cy="297774"/>
          </a:xfrm>
        </p:spPr>
        <p:txBody>
          <a:bodyPr wrap="square">
            <a:spAutoFit/>
          </a:bodyPr>
          <a:lstStyle>
            <a:lvl1pPr marL="35326" indent="-35326">
              <a:defRPr lang="en-US" sz="375" dirty="0"/>
            </a:lvl1pPr>
            <a:lvl2pPr marL="71446" indent="-31357">
              <a:defRPr lang="en-US" sz="350" dirty="0"/>
            </a:lvl2pPr>
            <a:lvl3pPr marL="109551" indent="-33342">
              <a:defRPr lang="en-US" sz="350" dirty="0"/>
            </a:lvl3pPr>
            <a:lvl4pPr marL="141702" indent="-28579">
              <a:defRPr lang="en-US" sz="300" dirty="0"/>
            </a:lvl4pPr>
            <a:lvl5pPr marL="171471" indent="-27388">
              <a:defRPr lang="en-US" sz="3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61555"/>
          </a:xfrm>
        </p:spPr>
        <p:txBody>
          <a:bodyPr anchor="t"/>
          <a:lstStyle>
            <a:lvl1pPr marL="0" indent="0">
              <a:spcBef>
                <a:spcPts val="0"/>
              </a:spcBef>
              <a:buNone/>
              <a:defRPr sz="4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8"/>
            <a:ext cx="1965960" cy="297774"/>
          </a:xfrm>
        </p:spPr>
        <p:txBody>
          <a:bodyPr wrap="square">
            <a:spAutoFit/>
          </a:bodyPr>
          <a:lstStyle>
            <a:lvl1pPr marL="35326" indent="-35326">
              <a:defRPr lang="en-US" sz="375" dirty="0"/>
            </a:lvl1pPr>
            <a:lvl2pPr marL="71446" indent="-31357">
              <a:defRPr lang="en-US" sz="350" dirty="0"/>
            </a:lvl2pPr>
            <a:lvl3pPr marL="109551" indent="-33342">
              <a:defRPr lang="en-US" sz="350" dirty="0"/>
            </a:lvl3pPr>
            <a:lvl4pPr marL="141702" indent="-28579">
              <a:defRPr lang="en-US" sz="300" dirty="0"/>
            </a:lvl4pPr>
            <a:lvl5pPr marL="171471" indent="-27388">
              <a:defRPr lang="en-US" sz="3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61555"/>
          </a:xfrm>
        </p:spPr>
        <p:txBody>
          <a:bodyPr anchor="t"/>
          <a:lstStyle>
            <a:lvl1pPr marL="0" indent="0">
              <a:spcBef>
                <a:spcPts val="0"/>
              </a:spcBef>
              <a:buNone/>
              <a:defRPr sz="4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8"/>
            <a:ext cx="1965960" cy="297774"/>
          </a:xfrm>
        </p:spPr>
        <p:txBody>
          <a:bodyPr wrap="square">
            <a:spAutoFit/>
          </a:bodyPr>
          <a:lstStyle>
            <a:lvl1pPr marL="35326" indent="-35326">
              <a:defRPr lang="en-US" sz="375" dirty="0"/>
            </a:lvl1pPr>
            <a:lvl2pPr marL="71446" indent="-31357">
              <a:defRPr lang="en-US" sz="350" dirty="0"/>
            </a:lvl2pPr>
            <a:lvl3pPr marL="109551" indent="-33342">
              <a:defRPr lang="en-US" sz="350" dirty="0"/>
            </a:lvl3pPr>
            <a:lvl4pPr marL="141702" indent="-28579">
              <a:defRPr lang="en-US" sz="300" dirty="0"/>
            </a:lvl4pPr>
            <a:lvl5pPr marL="171471" indent="-27388">
              <a:defRPr lang="en-US" sz="3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61555"/>
          </a:xfrm>
        </p:spPr>
        <p:txBody>
          <a:bodyPr anchor="t"/>
          <a:lstStyle>
            <a:lvl1pPr marL="0" indent="0">
              <a:spcBef>
                <a:spcPts val="0"/>
              </a:spcBef>
              <a:buNone/>
              <a:defRPr sz="4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8"/>
            <a:ext cx="1965960" cy="297774"/>
          </a:xfrm>
        </p:spPr>
        <p:txBody>
          <a:bodyPr wrap="square">
            <a:spAutoFit/>
          </a:bodyPr>
          <a:lstStyle>
            <a:lvl1pPr marL="35326" indent="-35326">
              <a:defRPr lang="en-US" sz="375" dirty="0"/>
            </a:lvl1pPr>
            <a:lvl2pPr marL="71446" indent="-31357">
              <a:defRPr lang="en-US" sz="350" dirty="0"/>
            </a:lvl2pPr>
            <a:lvl3pPr marL="109551" indent="-33342">
              <a:defRPr lang="en-US" sz="350" dirty="0"/>
            </a:lvl3pPr>
            <a:lvl4pPr marL="141702" indent="-28579">
              <a:defRPr lang="en-US" sz="300" dirty="0"/>
            </a:lvl4pPr>
            <a:lvl5pPr marL="171471" indent="-27388">
              <a:defRPr lang="en-US" sz="3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61555"/>
          </a:xfrm>
        </p:spPr>
        <p:txBody>
          <a:bodyPr anchor="t"/>
          <a:lstStyle>
            <a:lvl1pPr marL="0" indent="0">
              <a:spcBef>
                <a:spcPts val="0"/>
              </a:spcBef>
              <a:buNone/>
              <a:defRPr sz="4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8"/>
            <a:ext cx="1965960" cy="297774"/>
          </a:xfrm>
        </p:spPr>
        <p:txBody>
          <a:bodyPr wrap="square">
            <a:spAutoFit/>
          </a:bodyPr>
          <a:lstStyle>
            <a:lvl1pPr marL="35326" indent="-35326">
              <a:defRPr lang="en-US" sz="375" dirty="0"/>
            </a:lvl1pPr>
            <a:lvl2pPr marL="71446" indent="-31357">
              <a:defRPr lang="en-US" sz="350" dirty="0"/>
            </a:lvl2pPr>
            <a:lvl3pPr marL="109551" indent="-33342">
              <a:defRPr lang="en-US" sz="350" dirty="0"/>
            </a:lvl3pPr>
            <a:lvl4pPr marL="141702" indent="-28579">
              <a:defRPr lang="en-US" sz="300" dirty="0"/>
            </a:lvl4pPr>
            <a:lvl5pPr marL="171471" indent="-27388">
              <a:defRPr lang="en-US" sz="3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7189484"/>
      </p:ext>
    </p:extLst>
  </p:cSld>
  <p:clrMapOvr>
    <a:masterClrMapping/>
  </p:clrMapOvr>
  <p:transition>
    <p:fade/>
  </p:transition>
  <p:extLst>
    <p:ext uri="{DCECCB84-F9BA-43D5-87BE-67443E8EF086}">
      <p15:sldGuideLst xmlns:p15="http://schemas.microsoft.com/office/powerpoint/2012/main">
        <p15:guide id="4" orient="horz" pos="1208">
          <p15:clr>
            <a:srgbClr val="5ACBF0"/>
          </p15:clr>
        </p15:guide>
        <p15:guide id="5" orient="horz" pos="384">
          <p15:clr>
            <a:srgbClr val="5ACBF0"/>
          </p15:clr>
        </p15:guide>
        <p15:guide id="6" pos="4830">
          <p15:clr>
            <a:srgbClr val="5ACBF0"/>
          </p15:clr>
        </p15:guide>
        <p15:guide id="7" pos="5385">
          <p15:clr>
            <a:srgbClr val="5ACBF0"/>
          </p15:clr>
        </p15:guide>
        <p15:guide id="8" pos="9105">
          <p15:clr>
            <a:srgbClr val="5ACBF0"/>
          </p15:clr>
        </p15:guide>
        <p15:guide id="9" pos="9663">
          <p15:clr>
            <a:srgbClr val="5ACBF0"/>
          </p15:clr>
        </p15:guide>
        <p15:guide id="10" pos="13383">
          <p15:clr>
            <a:srgbClr val="5ACBF0"/>
          </p15:clr>
        </p15:guide>
        <p15:guide id="11" pos="17670">
          <p15:clr>
            <a:srgbClr val="5ACBF0"/>
          </p15:clr>
        </p15:guide>
        <p15:guide id="12" orient="horz" pos="1915">
          <p15:clr>
            <a:srgbClr val="5ACBF0"/>
          </p15:clr>
        </p15:guide>
        <p15:guide id="13" pos="13938">
          <p15:clr>
            <a:srgbClr val="5ACBF0"/>
          </p15:clr>
        </p15:guide>
        <p15:guide id="14" pos="1821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95331539"/>
      </p:ext>
    </p:extLst>
  </p:cSld>
  <p:clrMapOvr>
    <a:masterClrMapping/>
  </p:clrMapOvr>
  <p:transition>
    <p:fade/>
  </p:transition>
  <p:extLst>
    <p:ext uri="{DCECCB84-F9BA-43D5-87BE-67443E8EF086}">
      <p15:sldGuideLst xmlns:p15="http://schemas.microsoft.com/office/powerpoint/2012/main">
        <p15:guide id="6" pos="2337">
          <p15:clr>
            <a:srgbClr val="A4A3A4"/>
          </p15:clr>
        </p15:guide>
        <p15:guide id="7" pos="2886">
          <p15:clr>
            <a:srgbClr val="A4A3A4"/>
          </p15:clr>
        </p15:guide>
        <p15:guide id="8" pos="4119">
          <p15:clr>
            <a:srgbClr val="A4A3A4"/>
          </p15:clr>
        </p15:guide>
        <p15:guide id="9" pos="4668">
          <p15:clr>
            <a:srgbClr val="A4A3A4"/>
          </p15:clr>
        </p15:guide>
        <p15:guide id="10" pos="5901">
          <p15:clr>
            <a:srgbClr val="A4A3A4"/>
          </p15:clr>
        </p15:guide>
        <p15:guide id="11" pos="6450">
          <p15:clr>
            <a:srgbClr val="A4A3A4"/>
          </p15:clr>
        </p15:guide>
        <p15:guide id="12" pos="7683">
          <p15:clr>
            <a:srgbClr val="A4A3A4"/>
          </p15:clr>
        </p15:guide>
        <p15:guide id="13" pos="8232">
          <p15:clr>
            <a:srgbClr val="A4A3A4"/>
          </p15:clr>
        </p15:guide>
        <p15:guide id="14" pos="9465">
          <p15:clr>
            <a:srgbClr val="A4A3A4"/>
          </p15:clr>
        </p15:guide>
        <p15:guide id="15" pos="10014">
          <p15:clr>
            <a:srgbClr val="A4A3A4"/>
          </p15:clr>
        </p15:guide>
        <p15:guide id="16" pos="11247">
          <p15:clr>
            <a:srgbClr val="A4A3A4"/>
          </p15:clr>
        </p15:guide>
        <p15:guide id="17" pos="11796">
          <p15:clr>
            <a:srgbClr val="A4A3A4"/>
          </p15:clr>
        </p15:guide>
        <p15:guide id="18" pos="13029">
          <p15:clr>
            <a:srgbClr val="A4A3A4"/>
          </p15:clr>
        </p15:guide>
        <p15:guide id="19" pos="13578">
          <p15:clr>
            <a:srgbClr val="A4A3A4"/>
          </p15:clr>
        </p15:guide>
        <p15:guide id="20" pos="14811">
          <p15:clr>
            <a:srgbClr val="A4A3A4"/>
          </p15:clr>
        </p15:guide>
        <p15:guide id="21" pos="15360">
          <p15:clr>
            <a:srgbClr val="A4A3A4"/>
          </p15:clr>
        </p15:guide>
        <p15:guide id="22" pos="16587">
          <p15:clr>
            <a:srgbClr val="A4A3A4"/>
          </p15:clr>
        </p15:guide>
        <p15:guide id="23" pos="17142">
          <p15:clr>
            <a:srgbClr val="A4A3A4"/>
          </p15:clr>
        </p15:guide>
        <p15:guide id="24" pos="18369">
          <p15:clr>
            <a:srgbClr val="A4A3A4"/>
          </p15:clr>
        </p15:guide>
        <p15:guide id="25" pos="18924">
          <p15:clr>
            <a:srgbClr val="A4A3A4"/>
          </p15:clr>
        </p15:guide>
        <p15:guide id="26" pos="20151">
          <p15:clr>
            <a:srgbClr val="A4A3A4"/>
          </p15:clr>
        </p15:guide>
        <p15:guide id="27" pos="20700">
          <p15:clr>
            <a:srgbClr val="A4A3A4"/>
          </p15:clr>
        </p15:guide>
        <p15:guide id="28" orient="horz" pos="1207">
          <p15:clr>
            <a:srgbClr val="5ACBF0"/>
          </p15:clr>
        </p15:guide>
        <p15:guide id="29" orient="horz" pos="1695">
          <p15:clr>
            <a:srgbClr val="5ACBF0"/>
          </p15:clr>
        </p15:guide>
        <p15:guide id="30" orient="horz" pos="38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9045EC9-3A5C-BF10-4EC3-BBD790D1CC90}"/>
              </a:ext>
            </a:extLst>
          </p:cNvPr>
          <p:cNvSpPr>
            <a:spLocks noGrp="1"/>
          </p:cNvSpPr>
          <p:nvPr>
            <p:ph type="body" idx="1"/>
          </p:nvPr>
        </p:nvSpPr>
        <p:spPr>
          <a:xfrm>
            <a:off x="809542" y="1536784"/>
            <a:ext cx="5157787" cy="823912"/>
          </a:xfrm>
          <a:noFill/>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425520A-2E0C-1AB0-12FE-75471C476D10}"/>
              </a:ext>
            </a:extLst>
          </p:cNvPr>
          <p:cNvSpPr>
            <a:spLocks noGrp="1"/>
          </p:cNvSpPr>
          <p:nvPr>
            <p:ph sz="half" idx="2"/>
          </p:nvPr>
        </p:nvSpPr>
        <p:spPr>
          <a:xfrm>
            <a:off x="809542" y="2360696"/>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9775E93-F1B0-A09F-367D-0B0EDC940B63}"/>
              </a:ext>
            </a:extLst>
          </p:cNvPr>
          <p:cNvSpPr>
            <a:spLocks noGrp="1"/>
          </p:cNvSpPr>
          <p:nvPr>
            <p:ph type="body" sz="quarter" idx="3"/>
          </p:nvPr>
        </p:nvSpPr>
        <p:spPr>
          <a:xfrm>
            <a:off x="6141954" y="1536784"/>
            <a:ext cx="5183188" cy="823912"/>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ED18764-07D2-DCA5-1817-8C19B4DD0EE8}"/>
              </a:ext>
            </a:extLst>
          </p:cNvPr>
          <p:cNvSpPr>
            <a:spLocks noGrp="1"/>
          </p:cNvSpPr>
          <p:nvPr>
            <p:ph sz="quarter" idx="4"/>
          </p:nvPr>
        </p:nvSpPr>
        <p:spPr>
          <a:xfrm>
            <a:off x="6141954" y="2360696"/>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EA0F0C80-7FE6-276E-5F75-11D316628EA6}"/>
              </a:ext>
            </a:extLst>
          </p:cNvPr>
          <p:cNvSpPr>
            <a:spLocks noGrp="1"/>
          </p:cNvSpPr>
          <p:nvPr>
            <p:ph type="title"/>
          </p:nvPr>
        </p:nvSpPr>
        <p:spPr>
          <a:xfrm>
            <a:off x="629114" y="365126"/>
            <a:ext cx="11025680" cy="1072072"/>
          </a:xfrm>
        </p:spPr>
        <p:txBody>
          <a:bodyPr/>
          <a:lstStyle/>
          <a:p>
            <a:r>
              <a:rPr lang="en-US"/>
              <a:t>Click to edit Master title style</a:t>
            </a:r>
          </a:p>
        </p:txBody>
      </p:sp>
    </p:spTree>
    <p:extLst>
      <p:ext uri="{BB962C8B-B14F-4D97-AF65-F5344CB8AC3E}">
        <p14:creationId xmlns:p14="http://schemas.microsoft.com/office/powerpoint/2010/main" val="3331810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3359750"/>
            <a:ext cx="4127692" cy="138499"/>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1006477"/>
      </p:ext>
    </p:extLst>
  </p:cSld>
  <p:clrMapOvr>
    <a:masterClrMapping/>
  </p:clrMapOvr>
  <p:transition>
    <p:fade/>
  </p:transition>
  <p:extLst>
    <p:ext uri="{DCECCB84-F9BA-43D5-87BE-67443E8EF086}">
      <p15:sldGuideLst xmlns:p15="http://schemas.microsoft.com/office/powerpoint/2012/main">
        <p15:guide id="6" pos="2337">
          <p15:clr>
            <a:srgbClr val="A4A3A4"/>
          </p15:clr>
        </p15:guide>
        <p15:guide id="7" pos="2886">
          <p15:clr>
            <a:srgbClr val="A4A3A4"/>
          </p15:clr>
        </p15:guide>
        <p15:guide id="8" pos="4119">
          <p15:clr>
            <a:srgbClr val="A4A3A4"/>
          </p15:clr>
        </p15:guide>
        <p15:guide id="9" pos="4668">
          <p15:clr>
            <a:srgbClr val="A4A3A4"/>
          </p15:clr>
        </p15:guide>
        <p15:guide id="10" pos="5901">
          <p15:clr>
            <a:srgbClr val="A4A3A4"/>
          </p15:clr>
        </p15:guide>
        <p15:guide id="11" pos="6450">
          <p15:clr>
            <a:srgbClr val="A4A3A4"/>
          </p15:clr>
        </p15:guide>
        <p15:guide id="12" pos="7683">
          <p15:clr>
            <a:srgbClr val="A4A3A4"/>
          </p15:clr>
        </p15:guide>
        <p15:guide id="13" pos="8232">
          <p15:clr>
            <a:srgbClr val="A4A3A4"/>
          </p15:clr>
        </p15:guide>
        <p15:guide id="14" pos="9465">
          <p15:clr>
            <a:srgbClr val="A4A3A4"/>
          </p15:clr>
        </p15:guide>
        <p15:guide id="16" pos="11247">
          <p15:clr>
            <a:srgbClr val="A4A3A4"/>
          </p15:clr>
        </p15:guide>
        <p15:guide id="17" pos="11796">
          <p15:clr>
            <a:srgbClr val="A4A3A4"/>
          </p15:clr>
        </p15:guide>
        <p15:guide id="18" pos="13029">
          <p15:clr>
            <a:srgbClr val="A4A3A4"/>
          </p15:clr>
        </p15:guide>
        <p15:guide id="19" pos="13578">
          <p15:clr>
            <a:srgbClr val="A4A3A4"/>
          </p15:clr>
        </p15:guide>
        <p15:guide id="20" pos="14811">
          <p15:clr>
            <a:srgbClr val="A4A3A4"/>
          </p15:clr>
        </p15:guide>
        <p15:guide id="21" pos="15360">
          <p15:clr>
            <a:srgbClr val="A4A3A4"/>
          </p15:clr>
        </p15:guide>
        <p15:guide id="22" pos="16587">
          <p15:clr>
            <a:srgbClr val="A4A3A4"/>
          </p15:clr>
        </p15:guide>
        <p15:guide id="23" pos="17142">
          <p15:clr>
            <a:srgbClr val="A4A3A4"/>
          </p15:clr>
        </p15:guide>
        <p15:guide id="24" pos="18369">
          <p15:clr>
            <a:srgbClr val="A4A3A4"/>
          </p15:clr>
        </p15:guide>
        <p15:guide id="25" pos="18924">
          <p15:clr>
            <a:srgbClr val="A4A3A4"/>
          </p15:clr>
        </p15:guide>
        <p15:guide id="26" pos="20151">
          <p15:clr>
            <a:srgbClr val="A4A3A4"/>
          </p15:clr>
        </p15:guide>
        <p15:guide id="27" pos="20700">
          <p15:clr>
            <a:srgbClr val="A4A3A4"/>
          </p15:clr>
        </p15:guide>
        <p15:guide id="30" orient="horz" pos="384">
          <p15:clr>
            <a:srgbClr val="5ACBF0"/>
          </p15:clr>
        </p15:guide>
        <p15:guide id="32" orient="horz" pos="2880">
          <p15:clr>
            <a:srgbClr val="5ACBF0"/>
          </p15:clr>
        </p15:guide>
        <p15:guide id="33" pos="8928">
          <p15:clr>
            <a:srgbClr val="5ACBF0"/>
          </p15:clr>
        </p15:guide>
        <p15:guide id="34" pos="1000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2" y="457200"/>
            <a:ext cx="5508419" cy="141577"/>
          </a:xfrm>
        </p:spPr>
        <p:txBody>
          <a:bodyPr tIns="64008"/>
          <a:lstStyle>
            <a:lvl1pPr>
              <a:defRPr sz="5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716740081"/>
      </p:ext>
    </p:extLst>
  </p:cSld>
  <p:clrMapOvr>
    <a:masterClrMapping/>
  </p:clrMapOvr>
  <p:transition>
    <p:fade/>
  </p:transition>
  <p:extLst>
    <p:ext uri="{DCECCB84-F9BA-43D5-87BE-67443E8EF086}">
      <p15:sldGuideLst xmlns:p15="http://schemas.microsoft.com/office/powerpoint/2012/main">
        <p15:guide id="6" pos="2337">
          <p15:clr>
            <a:srgbClr val="A4A3A4"/>
          </p15:clr>
        </p15:guide>
        <p15:guide id="7" pos="2886">
          <p15:clr>
            <a:srgbClr val="A4A3A4"/>
          </p15:clr>
        </p15:guide>
        <p15:guide id="8" pos="4119">
          <p15:clr>
            <a:srgbClr val="A4A3A4"/>
          </p15:clr>
        </p15:guide>
        <p15:guide id="9" pos="4668">
          <p15:clr>
            <a:srgbClr val="A4A3A4"/>
          </p15:clr>
        </p15:guide>
        <p15:guide id="10" pos="5901">
          <p15:clr>
            <a:srgbClr val="A4A3A4"/>
          </p15:clr>
        </p15:guide>
        <p15:guide id="11" pos="6450">
          <p15:clr>
            <a:srgbClr val="A4A3A4"/>
          </p15:clr>
        </p15:guide>
        <p15:guide id="12" pos="7683">
          <p15:clr>
            <a:srgbClr val="A4A3A4"/>
          </p15:clr>
        </p15:guide>
        <p15:guide id="13" pos="8232">
          <p15:clr>
            <a:srgbClr val="A4A3A4"/>
          </p15:clr>
        </p15:guide>
        <p15:guide id="14" pos="9465">
          <p15:clr>
            <a:srgbClr val="A4A3A4"/>
          </p15:clr>
        </p15:guide>
        <p15:guide id="15" pos="10056">
          <p15:clr>
            <a:srgbClr val="A4A3A4"/>
          </p15:clr>
        </p15:guide>
        <p15:guide id="16" pos="11247">
          <p15:clr>
            <a:srgbClr val="A4A3A4"/>
          </p15:clr>
        </p15:guide>
        <p15:guide id="17" pos="11796">
          <p15:clr>
            <a:srgbClr val="A4A3A4"/>
          </p15:clr>
        </p15:guide>
        <p15:guide id="18" pos="13029">
          <p15:clr>
            <a:srgbClr val="A4A3A4"/>
          </p15:clr>
        </p15:guide>
        <p15:guide id="19" pos="13578">
          <p15:clr>
            <a:srgbClr val="A4A3A4"/>
          </p15:clr>
        </p15:guide>
        <p15:guide id="20" pos="14811">
          <p15:clr>
            <a:srgbClr val="A4A3A4"/>
          </p15:clr>
        </p15:guide>
        <p15:guide id="21" pos="15360">
          <p15:clr>
            <a:srgbClr val="A4A3A4"/>
          </p15:clr>
        </p15:guide>
        <p15:guide id="22" pos="16587">
          <p15:clr>
            <a:srgbClr val="A4A3A4"/>
          </p15:clr>
        </p15:guide>
        <p15:guide id="23" pos="17142">
          <p15:clr>
            <a:srgbClr val="A4A3A4"/>
          </p15:clr>
        </p15:guide>
        <p15:guide id="24" pos="18369">
          <p15:clr>
            <a:srgbClr val="A4A3A4"/>
          </p15:clr>
        </p15:guide>
        <p15:guide id="25" pos="18924">
          <p15:clr>
            <a:srgbClr val="A4A3A4"/>
          </p15:clr>
        </p15:guide>
        <p15:guide id="26" pos="20151">
          <p15:clr>
            <a:srgbClr val="A4A3A4"/>
          </p15:clr>
        </p15:guide>
        <p15:guide id="27" pos="20700">
          <p15:clr>
            <a:srgbClr val="A4A3A4"/>
          </p15:clr>
        </p15:guide>
        <p15:guide id="28" orient="horz" pos="1207">
          <p15:clr>
            <a:srgbClr val="5ACBF0"/>
          </p15:clr>
        </p15:guide>
        <p15:guide id="29" orient="horz" pos="1695">
          <p15:clr>
            <a:srgbClr val="5ACBF0"/>
          </p15:clr>
        </p15:guide>
        <p15:guide id="30" orient="horz" pos="384">
          <p15:clr>
            <a:srgbClr val="5ACBF0"/>
          </p15:clr>
        </p15:guide>
        <p15:guide id="31" pos="11520">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985700"/>
            <a:ext cx="4158362" cy="138499"/>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2" y="3535540"/>
            <a:ext cx="4162425" cy="84639"/>
          </a:xfrm>
        </p:spPr>
        <p:txBody>
          <a:bodyPr/>
          <a:lstStyle>
            <a:lvl1pPr marL="0" indent="0">
              <a:buNone/>
              <a:defRPr sz="550">
                <a:latin typeface="+mn-lt"/>
              </a:defRPr>
            </a:lvl1pPr>
            <a:lvl2pPr marL="57157" indent="0">
              <a:buNone/>
              <a:defRPr/>
            </a:lvl2pPr>
            <a:lvl3pPr marL="114314" indent="0">
              <a:buNone/>
              <a:defRPr/>
            </a:lvl3pPr>
            <a:lvl4pPr marL="165518" indent="0">
              <a:buNone/>
              <a:defRPr/>
            </a:lvl4pPr>
            <a:lvl5pPr marL="213942"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3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3" y="-203943"/>
            <a:ext cx="142668" cy="38472"/>
          </a:xfrm>
          <a:prstGeom prst="rect">
            <a:avLst/>
          </a:prstGeom>
          <a:noFill/>
        </p:spPr>
        <p:txBody>
          <a:bodyPr wrap="none" lIns="0" tIns="0" rIns="0" bIns="0" rtlCol="0">
            <a:spAutoFit/>
          </a:bodyPr>
          <a:lstStyle/>
          <a:p>
            <a:pPr algn="l"/>
            <a:r>
              <a:rPr lang="en-US" sz="250">
                <a:solidFill>
                  <a:srgbClr val="A3A3A3"/>
                </a:solidFill>
              </a:rPr>
              <a:t>ELT layout</a:t>
            </a:r>
          </a:p>
        </p:txBody>
      </p:sp>
    </p:spTree>
    <p:extLst>
      <p:ext uri="{BB962C8B-B14F-4D97-AF65-F5344CB8AC3E}">
        <p14:creationId xmlns:p14="http://schemas.microsoft.com/office/powerpoint/2010/main" val="35582648"/>
      </p:ext>
    </p:extLst>
  </p:cSld>
  <p:clrMapOvr>
    <a:masterClrMapping/>
  </p:clrMapOvr>
  <p:transition>
    <p:fade/>
  </p:transition>
  <p:extLst>
    <p:ext uri="{DCECCB84-F9BA-43D5-87BE-67443E8EF086}">
      <p15:sldGuideLst xmlns:p15="http://schemas.microsoft.com/office/powerpoint/2012/main">
        <p15:guide id="2" pos="10080">
          <p15:clr>
            <a:srgbClr val="5ACBF0"/>
          </p15:clr>
        </p15:guide>
        <p15:guide id="7" orient="horz" pos="2624">
          <p15:clr>
            <a:srgbClr val="5ACBF0"/>
          </p15:clr>
        </p15:guide>
        <p15:guide id="8" orient="horz" pos="2968">
          <p15:clr>
            <a:srgbClr val="5ACBF0"/>
          </p15:clr>
        </p15:guide>
        <p15:guide id="10" pos="11187">
          <p15:clr>
            <a:srgbClr val="C35EA4"/>
          </p15:clr>
        </p15:guide>
        <p15:guide id="11" pos="8979">
          <p15:clr>
            <a:srgbClr val="5ACBF0"/>
          </p15:clr>
        </p15:guide>
        <p15:guide id="12" pos="10629">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4" y="3358163"/>
            <a:ext cx="4159950" cy="13849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3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3" y="-203943"/>
            <a:ext cx="142668" cy="38472"/>
          </a:xfrm>
          <a:prstGeom prst="rect">
            <a:avLst/>
          </a:prstGeom>
          <a:noFill/>
        </p:spPr>
        <p:txBody>
          <a:bodyPr wrap="none" lIns="0" tIns="0" rIns="0" bIns="0" rtlCol="0">
            <a:spAutoFit/>
          </a:bodyPr>
          <a:lstStyle/>
          <a:p>
            <a:pPr algn="l"/>
            <a:r>
              <a:rPr lang="en-US" sz="250">
                <a:solidFill>
                  <a:srgbClr val="A3A3A3"/>
                </a:solidFill>
              </a:rPr>
              <a:t>ELT layout</a:t>
            </a:r>
          </a:p>
        </p:txBody>
      </p:sp>
    </p:spTree>
    <p:extLst>
      <p:ext uri="{BB962C8B-B14F-4D97-AF65-F5344CB8AC3E}">
        <p14:creationId xmlns:p14="http://schemas.microsoft.com/office/powerpoint/2010/main" val="3938358007"/>
      </p:ext>
    </p:extLst>
  </p:cSld>
  <p:clrMapOvr>
    <a:masterClrMapping/>
  </p:clrMapOvr>
  <p:transition>
    <p:fade/>
  </p:transition>
  <p:extLst>
    <p:ext uri="{DCECCB84-F9BA-43D5-87BE-67443E8EF086}">
      <p15:sldGuideLst xmlns:p15="http://schemas.microsoft.com/office/powerpoint/2012/main">
        <p15:guide id="2" pos="10080">
          <p15:clr>
            <a:srgbClr val="5ACBF0"/>
          </p15:clr>
        </p15:guide>
        <p15:guide id="5" orient="horz" pos="2880">
          <p15:clr>
            <a:srgbClr val="5ACBF0"/>
          </p15:clr>
        </p15:guide>
        <p15:guide id="6" pos="8973">
          <p15:clr>
            <a:srgbClr val="5ACBF0"/>
          </p15:clr>
        </p15:guide>
        <p15:guide id="7" pos="11184">
          <p15:clr>
            <a:srgbClr val="C35EA4"/>
          </p15:clr>
        </p15:guide>
        <p15:guide id="8" pos="10632">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5" y="2979739"/>
            <a:ext cx="4163125" cy="107722"/>
          </a:xfrm>
        </p:spPr>
        <p:txBody>
          <a:bodyPr anchor="t"/>
          <a:lstStyle>
            <a:lvl1pPr>
              <a:defRPr sz="7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3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3" y="-203943"/>
            <a:ext cx="142668" cy="38472"/>
          </a:xfrm>
          <a:prstGeom prst="rect">
            <a:avLst/>
          </a:prstGeom>
          <a:noFill/>
        </p:spPr>
        <p:txBody>
          <a:bodyPr wrap="none" lIns="0" tIns="0" rIns="0" bIns="0" rtlCol="0">
            <a:spAutoFit/>
          </a:bodyPr>
          <a:lstStyle/>
          <a:p>
            <a:pPr algn="l"/>
            <a:r>
              <a:rPr lang="en-US" sz="250">
                <a:solidFill>
                  <a:srgbClr val="A3A3A3"/>
                </a:solidFill>
              </a:rPr>
              <a:t>ELT layout</a:t>
            </a:r>
          </a:p>
        </p:txBody>
      </p:sp>
    </p:spTree>
    <p:extLst>
      <p:ext uri="{BB962C8B-B14F-4D97-AF65-F5344CB8AC3E}">
        <p14:creationId xmlns:p14="http://schemas.microsoft.com/office/powerpoint/2010/main" val="165650154"/>
      </p:ext>
    </p:extLst>
  </p:cSld>
  <p:clrMapOvr>
    <a:masterClrMapping/>
  </p:clrMapOvr>
  <p:transition>
    <p:fade/>
  </p:transition>
  <p:extLst>
    <p:ext uri="{DCECCB84-F9BA-43D5-87BE-67443E8EF086}">
      <p15:sldGuideLst xmlns:p15="http://schemas.microsoft.com/office/powerpoint/2012/main">
        <p15:guide id="2" pos="10080">
          <p15:clr>
            <a:srgbClr val="5ACBF0"/>
          </p15:clr>
        </p15:guide>
        <p15:guide id="3" orient="horz" pos="2503">
          <p15:clr>
            <a:srgbClr val="5ACBF0"/>
          </p15:clr>
        </p15:guide>
        <p15:guide id="4" pos="11193">
          <p15:clr>
            <a:srgbClr val="C35EA4"/>
          </p15:clr>
        </p15:guide>
        <p15:guide id="5" pos="8979">
          <p15:clr>
            <a:srgbClr val="5ACBF0"/>
          </p15:clr>
        </p15:guide>
        <p15:guide id="6" pos="10641">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35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9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3" y="-203943"/>
            <a:ext cx="142668" cy="38472"/>
          </a:xfrm>
          <a:prstGeom prst="rect">
            <a:avLst/>
          </a:prstGeom>
          <a:noFill/>
        </p:spPr>
        <p:txBody>
          <a:bodyPr wrap="none" lIns="0" tIns="0" rIns="0" bIns="0" rtlCol="0">
            <a:spAutoFit/>
          </a:bodyPr>
          <a:lstStyle/>
          <a:p>
            <a:pPr algn="l"/>
            <a:r>
              <a:rPr lang="en-US" sz="250">
                <a:solidFill>
                  <a:srgbClr val="A3A3A3"/>
                </a:solidFill>
              </a:rPr>
              <a:t>ELT layout</a:t>
            </a:r>
          </a:p>
        </p:txBody>
      </p:sp>
    </p:spTree>
    <p:extLst>
      <p:ext uri="{BB962C8B-B14F-4D97-AF65-F5344CB8AC3E}">
        <p14:creationId xmlns:p14="http://schemas.microsoft.com/office/powerpoint/2010/main" val="33612099"/>
      </p:ext>
    </p:extLst>
  </p:cSld>
  <p:clrMapOvr>
    <a:masterClrMapping/>
  </p:clrMapOvr>
  <p:transition>
    <p:fade/>
  </p:transition>
  <p:extLst>
    <p:ext uri="{DCECCB84-F9BA-43D5-87BE-67443E8EF086}">
      <p15:sldGuideLst xmlns:p15="http://schemas.microsoft.com/office/powerpoint/2012/main">
        <p15:guide id="1" orient="horz" pos="3072">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35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9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3" y="-203943"/>
            <a:ext cx="142668" cy="38472"/>
          </a:xfrm>
          <a:prstGeom prst="rect">
            <a:avLst/>
          </a:prstGeom>
          <a:noFill/>
        </p:spPr>
        <p:txBody>
          <a:bodyPr wrap="none" lIns="0" tIns="0" rIns="0" bIns="0" rtlCol="0">
            <a:spAutoFit/>
          </a:bodyPr>
          <a:lstStyle/>
          <a:p>
            <a:pPr algn="l"/>
            <a:r>
              <a:rPr lang="en-US" sz="250">
                <a:solidFill>
                  <a:srgbClr val="A3A3A3"/>
                </a:solidFill>
              </a:rPr>
              <a:t>ELT layout</a:t>
            </a:r>
          </a:p>
        </p:txBody>
      </p:sp>
    </p:spTree>
    <p:extLst>
      <p:ext uri="{BB962C8B-B14F-4D97-AF65-F5344CB8AC3E}">
        <p14:creationId xmlns:p14="http://schemas.microsoft.com/office/powerpoint/2010/main" val="4144882683"/>
      </p:ext>
    </p:extLst>
  </p:cSld>
  <p:clrMapOvr>
    <a:masterClrMapping/>
  </p:clrMapOvr>
  <p:transition>
    <p:fade/>
  </p:transition>
  <p:extLst>
    <p:ext uri="{DCECCB84-F9BA-43D5-87BE-67443E8EF086}">
      <p15:sldGuideLst xmlns:p15="http://schemas.microsoft.com/office/powerpoint/2012/main">
        <p15:guide id="7" pos="10728">
          <p15:clr>
            <a:srgbClr val="5ACBF0"/>
          </p15:clr>
        </p15:guide>
        <p15:guide id="8" orient="horz" pos="288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35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9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3" y="-203943"/>
            <a:ext cx="142668" cy="38472"/>
          </a:xfrm>
          <a:prstGeom prst="rect">
            <a:avLst/>
          </a:prstGeom>
          <a:noFill/>
        </p:spPr>
        <p:txBody>
          <a:bodyPr wrap="none" lIns="0" tIns="0" rIns="0" bIns="0" rtlCol="0">
            <a:spAutoFit/>
          </a:bodyPr>
          <a:lstStyle/>
          <a:p>
            <a:pPr algn="l"/>
            <a:r>
              <a:rPr lang="en-US" sz="250">
                <a:solidFill>
                  <a:srgbClr val="A3A3A3"/>
                </a:solidFill>
              </a:rPr>
              <a:t>ELT layout</a:t>
            </a:r>
          </a:p>
        </p:txBody>
      </p:sp>
    </p:spTree>
    <p:extLst>
      <p:ext uri="{BB962C8B-B14F-4D97-AF65-F5344CB8AC3E}">
        <p14:creationId xmlns:p14="http://schemas.microsoft.com/office/powerpoint/2010/main" val="3555814207"/>
      </p:ext>
    </p:extLst>
  </p:cSld>
  <p:clrMapOvr>
    <a:masterClrMapping/>
  </p:clrMapOvr>
  <p:transition>
    <p:fade/>
  </p:transition>
  <p:extLst>
    <p:ext uri="{DCECCB84-F9BA-43D5-87BE-67443E8EF086}">
      <p15:sldGuideLst xmlns:p15="http://schemas.microsoft.com/office/powerpoint/2012/main">
        <p15:guide id="7" pos="12315">
          <p15:clr>
            <a:srgbClr val="5ACBF0"/>
          </p15:clr>
        </p15:guide>
        <p15:guide id="8" orient="horz" pos="2880">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643879"/>
            <a:ext cx="11018520" cy="138499"/>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350" b="1" dirty="0">
                <a:solidFill>
                  <a:srgbClr val="000000"/>
                </a:solidFill>
              </a:defRPr>
            </a:lvl1pPr>
          </a:lstStyle>
          <a:p>
            <a:pPr marL="57157" lvl="0" indent="-57157"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3" y="-203943"/>
            <a:ext cx="142668" cy="38472"/>
          </a:xfrm>
          <a:prstGeom prst="rect">
            <a:avLst/>
          </a:prstGeom>
          <a:noFill/>
        </p:spPr>
        <p:txBody>
          <a:bodyPr wrap="none" lIns="0" tIns="0" rIns="0" bIns="0" rtlCol="0">
            <a:spAutoFit/>
          </a:bodyPr>
          <a:lstStyle/>
          <a:p>
            <a:pPr algn="l"/>
            <a:r>
              <a:rPr lang="en-US" sz="250">
                <a:solidFill>
                  <a:srgbClr val="A3A3A3"/>
                </a:solidFill>
              </a:rPr>
              <a:t>ELT layout</a:t>
            </a:r>
          </a:p>
        </p:txBody>
      </p:sp>
    </p:spTree>
    <p:extLst>
      <p:ext uri="{BB962C8B-B14F-4D97-AF65-F5344CB8AC3E}">
        <p14:creationId xmlns:p14="http://schemas.microsoft.com/office/powerpoint/2010/main" val="2801857263"/>
      </p:ext>
    </p:extLst>
  </p:cSld>
  <p:clrMapOvr>
    <a:masterClrMapping/>
  </p:clrMapOvr>
  <p:transition>
    <p:fade/>
  </p:transition>
  <p:extLst>
    <p:ext uri="{DCECCB84-F9BA-43D5-87BE-67443E8EF086}">
      <p15:sldGuideLst xmlns:p15="http://schemas.microsoft.com/office/powerpoint/2012/main">
        <p15:guide id="5" orient="horz" pos="3840">
          <p15:clr>
            <a:srgbClr val="5ACBF0"/>
          </p15:clr>
        </p15:guide>
        <p15:guide id="6" orient="horz" pos="4800">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1074037"/>
            <a:ext cx="11018520" cy="138499"/>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350" b="1" dirty="0">
                <a:solidFill>
                  <a:srgbClr val="000000"/>
                </a:solidFill>
              </a:defRPr>
            </a:lvl1pPr>
          </a:lstStyle>
          <a:p>
            <a:pPr marL="57157" lvl="0" indent="-57157"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3" y="-203943"/>
            <a:ext cx="142668" cy="38472"/>
          </a:xfrm>
          <a:prstGeom prst="rect">
            <a:avLst/>
          </a:prstGeom>
          <a:noFill/>
        </p:spPr>
        <p:txBody>
          <a:bodyPr wrap="none" lIns="0" tIns="0" rIns="0" bIns="0" rtlCol="0">
            <a:spAutoFit/>
          </a:bodyPr>
          <a:lstStyle/>
          <a:p>
            <a:pPr algn="l"/>
            <a:r>
              <a:rPr lang="en-US" sz="250">
                <a:solidFill>
                  <a:srgbClr val="A3A3A3"/>
                </a:solidFill>
              </a:rPr>
              <a:t>ELT layout</a:t>
            </a:r>
          </a:p>
        </p:txBody>
      </p:sp>
    </p:spTree>
    <p:extLst>
      <p:ext uri="{BB962C8B-B14F-4D97-AF65-F5344CB8AC3E}">
        <p14:creationId xmlns:p14="http://schemas.microsoft.com/office/powerpoint/2010/main" val="278421409"/>
      </p:ext>
    </p:extLst>
  </p:cSld>
  <p:clrMapOvr>
    <a:masterClrMapping/>
  </p:clrMapOvr>
  <p:transition>
    <p:fade/>
  </p:transition>
  <p:extLst>
    <p:ext uri="{DCECCB84-F9BA-43D5-87BE-67443E8EF086}">
      <p15:sldGuideLst xmlns:p15="http://schemas.microsoft.com/office/powerpoint/2012/main">
        <p15:guide id="5" orient="horz" pos="1920">
          <p15:clr>
            <a:srgbClr val="5ACBF0"/>
          </p15:clr>
        </p15:guide>
        <p15:guide id="6" orient="horz" pos="96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143208B3-217E-A316-BD41-000CF45068A3}"/>
              </a:ext>
            </a:extLst>
          </p:cNvPr>
          <p:cNvSpPr/>
          <p:nvPr userDrawn="1"/>
        </p:nvSpPr>
        <p:spPr>
          <a:xfrm>
            <a:off x="322521" y="283028"/>
            <a:ext cx="11546958" cy="6291943"/>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E10FF20-C27F-3AD6-A7BF-EF405F6887DE}"/>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96562133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1"/>
            <a:ext cx="11018520" cy="138499"/>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2"/>
            <a:ext cx="5367528" cy="69250"/>
          </a:xfrm>
        </p:spPr>
        <p:txBody>
          <a:bodyPr/>
          <a:lstStyle>
            <a:lvl1pPr marL="0" indent="0" algn="l">
              <a:spcBef>
                <a:spcPts val="0"/>
              </a:spcBef>
              <a:buNone/>
              <a:defRPr sz="45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250" b="1" dirty="0">
                <a:solidFill>
                  <a:srgbClr val="000000"/>
                </a:solidFill>
              </a:defRPr>
            </a:lvl1pPr>
          </a:lstStyle>
          <a:p>
            <a:pPr marL="57157" lvl="0" indent="-57157"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2"/>
            <a:ext cx="5367528" cy="69250"/>
          </a:xfrm>
        </p:spPr>
        <p:txBody>
          <a:bodyPr/>
          <a:lstStyle>
            <a:lvl1pPr marL="0" indent="0" algn="l">
              <a:spcBef>
                <a:spcPts val="0"/>
              </a:spcBef>
              <a:buNone/>
              <a:defRPr sz="45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250" b="1" dirty="0">
                <a:solidFill>
                  <a:srgbClr val="000000"/>
                </a:solidFill>
              </a:defRPr>
            </a:lvl1pPr>
          </a:lstStyle>
          <a:p>
            <a:pPr marL="57157" lvl="0" indent="-57157"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3" y="-203943"/>
            <a:ext cx="142668" cy="38472"/>
          </a:xfrm>
          <a:prstGeom prst="rect">
            <a:avLst/>
          </a:prstGeom>
          <a:noFill/>
        </p:spPr>
        <p:txBody>
          <a:bodyPr wrap="none" lIns="0" tIns="0" rIns="0" bIns="0" rtlCol="0">
            <a:spAutoFit/>
          </a:bodyPr>
          <a:lstStyle/>
          <a:p>
            <a:pPr algn="l"/>
            <a:r>
              <a:rPr lang="en-US" sz="250">
                <a:solidFill>
                  <a:srgbClr val="A3A3A3"/>
                </a:solidFill>
              </a:rPr>
              <a:t>ELT layout</a:t>
            </a:r>
          </a:p>
        </p:txBody>
      </p:sp>
    </p:spTree>
    <p:extLst>
      <p:ext uri="{BB962C8B-B14F-4D97-AF65-F5344CB8AC3E}">
        <p14:creationId xmlns:p14="http://schemas.microsoft.com/office/powerpoint/2010/main" val="3650149468"/>
      </p:ext>
    </p:extLst>
  </p:cSld>
  <p:clrMapOvr>
    <a:masterClrMapping/>
  </p:clrMapOvr>
  <p:transition>
    <p:fade/>
  </p:transition>
  <p:extLst>
    <p:ext uri="{DCECCB84-F9BA-43D5-87BE-67443E8EF086}">
      <p15:sldGuideLst xmlns:p15="http://schemas.microsoft.com/office/powerpoint/2012/main">
        <p15:guide id="3" orient="horz" pos="4779">
          <p15:clr>
            <a:srgbClr val="5ACBF0"/>
          </p15:clr>
        </p15:guide>
        <p15:guide id="4" orient="horz" pos="1701">
          <p15:clr>
            <a:srgbClr val="5ACBF0"/>
          </p15:clr>
        </p15:guide>
        <p15:guide id="5" orient="horz" pos="384">
          <p15:clr>
            <a:srgbClr val="5ACBF0"/>
          </p15:clr>
        </p15:guide>
        <p15:guide id="6" pos="11247">
          <p15:clr>
            <a:srgbClr val="5ACBF0"/>
          </p15:clr>
        </p15:guide>
        <p15:guide id="7" pos="11793">
          <p15:clr>
            <a:srgbClr val="5ACBF0"/>
          </p15:clr>
        </p15:guide>
        <p15:guide id="8" orient="horz" pos="4619">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138499"/>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5" y="5689602"/>
            <a:ext cx="3475037" cy="69250"/>
          </a:xfrm>
        </p:spPr>
        <p:txBody>
          <a:bodyPr/>
          <a:lstStyle>
            <a:lvl1pPr marL="0" indent="0" algn="l">
              <a:spcBef>
                <a:spcPts val="0"/>
              </a:spcBef>
              <a:buNone/>
              <a:defRPr sz="45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2" y="5689602"/>
            <a:ext cx="3475037" cy="69250"/>
          </a:xfrm>
        </p:spPr>
        <p:txBody>
          <a:bodyPr/>
          <a:lstStyle>
            <a:lvl1pPr marL="0" indent="0" algn="l">
              <a:spcBef>
                <a:spcPts val="0"/>
              </a:spcBef>
              <a:buNone/>
              <a:defRPr sz="45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89602"/>
            <a:ext cx="3475037" cy="69250"/>
          </a:xfrm>
        </p:spPr>
        <p:txBody>
          <a:bodyPr/>
          <a:lstStyle>
            <a:lvl1pPr marL="0" indent="0" algn="l">
              <a:spcBef>
                <a:spcPts val="0"/>
              </a:spcBef>
              <a:buNone/>
              <a:defRPr sz="45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3" y="-203943"/>
            <a:ext cx="142668" cy="38472"/>
          </a:xfrm>
          <a:prstGeom prst="rect">
            <a:avLst/>
          </a:prstGeom>
          <a:noFill/>
        </p:spPr>
        <p:txBody>
          <a:bodyPr wrap="none" lIns="0" tIns="0" rIns="0" bIns="0" rtlCol="0">
            <a:spAutoFit/>
          </a:bodyPr>
          <a:lstStyle/>
          <a:p>
            <a:pPr algn="l"/>
            <a:r>
              <a:rPr lang="en-US" sz="250">
                <a:solidFill>
                  <a:srgbClr val="A3A3A3"/>
                </a:solidFill>
              </a:rPr>
              <a:t>ELT layout</a:t>
            </a:r>
          </a:p>
        </p:txBody>
      </p:sp>
    </p:spTree>
    <p:extLst>
      <p:ext uri="{BB962C8B-B14F-4D97-AF65-F5344CB8AC3E}">
        <p14:creationId xmlns:p14="http://schemas.microsoft.com/office/powerpoint/2010/main" val="3813749649"/>
      </p:ext>
    </p:extLst>
  </p:cSld>
  <p:clrMapOvr>
    <a:masterClrMapping/>
  </p:clrMapOvr>
  <p:transition>
    <p:fade/>
  </p:transition>
  <p:extLst>
    <p:ext uri="{DCECCB84-F9BA-43D5-87BE-67443E8EF086}">
      <p15:sldGuideLst xmlns:p15="http://schemas.microsoft.com/office/powerpoint/2012/main">
        <p15:guide id="3" orient="horz" pos="4779">
          <p15:clr>
            <a:srgbClr val="5ACBF0"/>
          </p15:clr>
        </p15:guide>
        <p15:guide id="4" orient="horz" pos="1701">
          <p15:clr>
            <a:srgbClr val="5ACBF0"/>
          </p15:clr>
        </p15:guide>
        <p15:guide id="5" orient="horz" pos="384">
          <p15:clr>
            <a:srgbClr val="5ACBF0"/>
          </p15:clr>
        </p15:guide>
        <p15:guide id="6" pos="7671">
          <p15:clr>
            <a:srgbClr val="5ACBF0"/>
          </p15:clr>
        </p15:guide>
        <p15:guide id="7" pos="8232">
          <p15:clr>
            <a:srgbClr val="5ACBF0"/>
          </p15:clr>
        </p15:guide>
        <p15:guide id="8" pos="14808">
          <p15:clr>
            <a:srgbClr val="5ACBF0"/>
          </p15:clr>
        </p15:guide>
        <p15:guide id="9" pos="15369">
          <p15:clr>
            <a:srgbClr val="5ACBF0"/>
          </p15:clr>
        </p15:guide>
        <p15:guide id="10" orient="horz" pos="462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138499"/>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40"/>
            <a:ext cx="2532888" cy="69250"/>
          </a:xfrm>
        </p:spPr>
        <p:txBody>
          <a:bodyPr/>
          <a:lstStyle>
            <a:lvl1pPr marL="0" indent="0" algn="l">
              <a:spcBef>
                <a:spcPts val="0"/>
              </a:spcBef>
              <a:buNone/>
              <a:defRPr sz="45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40"/>
            <a:ext cx="2532888" cy="69250"/>
          </a:xfrm>
        </p:spPr>
        <p:txBody>
          <a:bodyPr/>
          <a:lstStyle>
            <a:lvl1pPr marL="0" indent="0" algn="l">
              <a:spcBef>
                <a:spcPts val="0"/>
              </a:spcBef>
              <a:buNone/>
              <a:defRPr sz="45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5" y="4753940"/>
            <a:ext cx="2532888" cy="69250"/>
          </a:xfrm>
        </p:spPr>
        <p:txBody>
          <a:bodyPr/>
          <a:lstStyle>
            <a:lvl1pPr marL="0" indent="0" algn="l">
              <a:spcBef>
                <a:spcPts val="0"/>
              </a:spcBef>
              <a:buNone/>
              <a:defRPr sz="45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5"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40"/>
            <a:ext cx="2532888" cy="69250"/>
          </a:xfrm>
        </p:spPr>
        <p:txBody>
          <a:bodyPr/>
          <a:lstStyle>
            <a:lvl1pPr marL="0" indent="0" algn="l">
              <a:spcBef>
                <a:spcPts val="0"/>
              </a:spcBef>
              <a:buNone/>
              <a:defRPr sz="45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3" y="-203943"/>
            <a:ext cx="142668" cy="38472"/>
          </a:xfrm>
          <a:prstGeom prst="rect">
            <a:avLst/>
          </a:prstGeom>
          <a:noFill/>
        </p:spPr>
        <p:txBody>
          <a:bodyPr wrap="none" lIns="0" tIns="0" rIns="0" bIns="0" rtlCol="0">
            <a:spAutoFit/>
          </a:bodyPr>
          <a:lstStyle/>
          <a:p>
            <a:pPr algn="l"/>
            <a:r>
              <a:rPr lang="en-US" sz="250">
                <a:solidFill>
                  <a:srgbClr val="A3A3A3"/>
                </a:solidFill>
              </a:rPr>
              <a:t>ELT layout</a:t>
            </a:r>
          </a:p>
        </p:txBody>
      </p:sp>
    </p:spTree>
    <p:extLst>
      <p:ext uri="{BB962C8B-B14F-4D97-AF65-F5344CB8AC3E}">
        <p14:creationId xmlns:p14="http://schemas.microsoft.com/office/powerpoint/2010/main" val="61274457"/>
      </p:ext>
    </p:extLst>
  </p:cSld>
  <p:clrMapOvr>
    <a:masterClrMapping/>
  </p:clrMapOvr>
  <p:transition>
    <p:fade/>
  </p:transition>
  <p:extLst>
    <p:ext uri="{DCECCB84-F9BA-43D5-87BE-67443E8EF086}">
      <p15:sldGuideLst xmlns:p15="http://schemas.microsoft.com/office/powerpoint/2012/main">
        <p15:guide id="3" orient="horz" pos="3991">
          <p15:clr>
            <a:srgbClr val="5ACBF0"/>
          </p15:clr>
        </p15:guide>
        <p15:guide id="4" orient="horz" pos="1701">
          <p15:clr>
            <a:srgbClr val="5ACBF0"/>
          </p15:clr>
        </p15:guide>
        <p15:guide id="5" orient="horz" pos="384">
          <p15:clr>
            <a:srgbClr val="5ACBF0"/>
          </p15:clr>
        </p15:guide>
        <p15:guide id="6" pos="5889">
          <p15:clr>
            <a:srgbClr val="5ACBF0"/>
          </p15:clr>
        </p15:guide>
        <p15:guide id="7" pos="6450">
          <p15:clr>
            <a:srgbClr val="5ACBF0"/>
          </p15:clr>
        </p15:guide>
        <p15:guide id="8" pos="11238">
          <p15:clr>
            <a:srgbClr val="5ACBF0"/>
          </p15:clr>
        </p15:guide>
        <p15:guide id="9" pos="11802">
          <p15:clr>
            <a:srgbClr val="5ACBF0"/>
          </p15:clr>
        </p15:guide>
        <p15:guide id="10" pos="16590">
          <p15:clr>
            <a:srgbClr val="5ACBF0"/>
          </p15:clr>
        </p15:guide>
        <p15:guide id="11" pos="17148">
          <p15:clr>
            <a:srgbClr val="5ACBF0"/>
          </p15:clr>
        </p15:guide>
        <p15:guide id="12" orient="horz" pos="3827">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1074323"/>
            <a:ext cx="11018520" cy="138499"/>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3"/>
            <a:ext cx="4892040"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2"/>
            <a:ext cx="4892040"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3" y="-203943"/>
            <a:ext cx="142668" cy="38472"/>
          </a:xfrm>
          <a:prstGeom prst="rect">
            <a:avLst/>
          </a:prstGeom>
          <a:noFill/>
        </p:spPr>
        <p:txBody>
          <a:bodyPr wrap="none" lIns="0" tIns="0" rIns="0" bIns="0" rtlCol="0">
            <a:spAutoFit/>
          </a:bodyPr>
          <a:lstStyle/>
          <a:p>
            <a:pPr algn="l"/>
            <a:r>
              <a:rPr lang="en-US" sz="250">
                <a:solidFill>
                  <a:srgbClr val="A3A3A3"/>
                </a:solidFill>
              </a:rPr>
              <a:t>ELT layout</a:t>
            </a:r>
          </a:p>
        </p:txBody>
      </p:sp>
    </p:spTree>
    <p:extLst>
      <p:ext uri="{BB962C8B-B14F-4D97-AF65-F5344CB8AC3E}">
        <p14:creationId xmlns:p14="http://schemas.microsoft.com/office/powerpoint/2010/main" val="2481172693"/>
      </p:ext>
    </p:extLst>
  </p:cSld>
  <p:clrMapOvr>
    <a:masterClrMapping/>
  </p:clrMapOvr>
  <p:transition>
    <p:fade/>
  </p:transition>
  <p:extLst>
    <p:ext uri="{DCECCB84-F9BA-43D5-87BE-67443E8EF086}">
      <p15:sldGuideLst xmlns:p15="http://schemas.microsoft.com/office/powerpoint/2012/main">
        <p15:guide id="1" orient="horz" pos="960">
          <p15:clr>
            <a:srgbClr val="5ACBF0"/>
          </p15:clr>
        </p15:guide>
        <p15:guide id="2" orient="horz" pos="1920">
          <p15:clr>
            <a:srgbClr val="5ACBF0"/>
          </p15:clr>
        </p15:guide>
        <p15:guide id="4" orient="horz" pos="4279">
          <p15:clr>
            <a:srgbClr val="5ACBF0"/>
          </p15:clr>
        </p15:guide>
        <p15:guide id="5" pos="11478">
          <p15:clr>
            <a:srgbClr val="5ACBF0"/>
          </p15:clr>
        </p15:guide>
        <p15:guide id="6" pos="11577">
          <p15:clr>
            <a:srgbClr val="5ACBF0"/>
          </p15:clr>
        </p15:guide>
        <p15:guide id="11" pos="5730">
          <p15:clr>
            <a:srgbClr val="5ACBF0"/>
          </p15:clr>
        </p15:guide>
        <p15:guide id="12" pos="17310">
          <p15:clr>
            <a:srgbClr val="5ACBF0"/>
          </p15:clr>
        </p15:guide>
        <p15:guide id="13" orient="horz" pos="4480">
          <p15:clr>
            <a:srgbClr val="5ACBF0"/>
          </p15:clr>
        </p15:guide>
        <p15:guide id="14" orient="horz">
          <p15:clr>
            <a:srgbClr val="5ACBF0"/>
          </p15:clr>
        </p15:guide>
        <p15:guide id="15" pos="10353">
          <p15:clr>
            <a:srgbClr val="5ACBF0"/>
          </p15:clr>
        </p15:guide>
        <p15:guide id="16" pos="12687">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1074323"/>
            <a:ext cx="11018520" cy="138499"/>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7" y="4800602"/>
            <a:ext cx="2852928"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7" y="4799411"/>
            <a:ext cx="2852928"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7" y="4799411"/>
            <a:ext cx="2852928"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3" y="-203943"/>
            <a:ext cx="142668" cy="38472"/>
          </a:xfrm>
          <a:prstGeom prst="rect">
            <a:avLst/>
          </a:prstGeom>
          <a:noFill/>
        </p:spPr>
        <p:txBody>
          <a:bodyPr wrap="none" lIns="0" tIns="0" rIns="0" bIns="0" rtlCol="0">
            <a:spAutoFit/>
          </a:bodyPr>
          <a:lstStyle/>
          <a:p>
            <a:pPr algn="l"/>
            <a:r>
              <a:rPr lang="en-US" sz="250">
                <a:solidFill>
                  <a:srgbClr val="A3A3A3"/>
                </a:solidFill>
              </a:rPr>
              <a:t>ELT layout</a:t>
            </a:r>
          </a:p>
        </p:txBody>
      </p:sp>
    </p:spTree>
    <p:extLst>
      <p:ext uri="{BB962C8B-B14F-4D97-AF65-F5344CB8AC3E}">
        <p14:creationId xmlns:p14="http://schemas.microsoft.com/office/powerpoint/2010/main" val="1725660882"/>
      </p:ext>
    </p:extLst>
  </p:cSld>
  <p:clrMapOvr>
    <a:masterClrMapping/>
  </p:clrMapOvr>
  <p:transition>
    <p:fade/>
  </p:transition>
  <p:extLst>
    <p:ext uri="{DCECCB84-F9BA-43D5-87BE-67443E8EF086}">
      <p15:sldGuideLst xmlns:p15="http://schemas.microsoft.com/office/powerpoint/2012/main">
        <p15:guide id="1" orient="horz" pos="960">
          <p15:clr>
            <a:srgbClr val="5ACBF0"/>
          </p15:clr>
        </p15:guide>
        <p15:guide id="2" orient="horz" pos="1920">
          <p15:clr>
            <a:srgbClr val="5ACBF0"/>
          </p15:clr>
        </p15:guide>
        <p15:guide id="3" orient="horz" pos="3840">
          <p15:clr>
            <a:srgbClr val="5ACBF0"/>
          </p15:clr>
        </p15:guide>
        <p15:guide id="4" orient="horz" pos="4032">
          <p15:clr>
            <a:srgbClr val="5ACBF0"/>
          </p15:clr>
        </p15:guide>
        <p15:guide id="5" pos="7602">
          <p15:clr>
            <a:srgbClr val="5ACBF0"/>
          </p15:clr>
        </p15:guide>
        <p15:guide id="6" pos="7719">
          <p15:clr>
            <a:srgbClr val="5ACBF0"/>
          </p15:clr>
        </p15:guide>
        <p15:guide id="8" pos="15327">
          <p15:clr>
            <a:srgbClr val="5ACBF0"/>
          </p15:clr>
        </p15:guide>
        <p15:guide id="9" pos="15435">
          <p15:clr>
            <a:srgbClr val="5ACBF0"/>
          </p15:clr>
        </p15:guide>
        <p15:guide id="11" pos="3798">
          <p15:clr>
            <a:srgbClr val="5ACBF0"/>
          </p15:clr>
        </p15:guide>
        <p15:guide id="12" pos="11520">
          <p15:clr>
            <a:srgbClr val="5ACBF0"/>
          </p15:clr>
        </p15:guide>
        <p15:guide id="13" pos="19242">
          <p15:clr>
            <a:srgbClr val="5ACBF0"/>
          </p15:clr>
        </p15:guide>
        <p15:guide id="14" orient="horz" pos="1432">
          <p15:clr>
            <a:srgbClr val="5ACBF0"/>
          </p15:clr>
        </p15:guide>
        <p15:guide id="15" pos="6504">
          <p15:clr>
            <a:srgbClr val="5ACBF0"/>
          </p15:clr>
        </p15:guide>
        <p15:guide id="16" pos="8832">
          <p15:clr>
            <a:srgbClr val="5ACBF0"/>
          </p15:clr>
        </p15:guide>
        <p15:guide id="17" pos="14214">
          <p15:clr>
            <a:srgbClr val="5ACBF0"/>
          </p15:clr>
        </p15:guide>
        <p15:guide id="18" pos="16542">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1074323"/>
            <a:ext cx="11018520" cy="138499"/>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2"/>
            <a:ext cx="1828800"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11"/>
            <a:ext cx="1828800"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1"/>
            <a:ext cx="1828800"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3"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11"/>
            <a:ext cx="1828800"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3" y="-203943"/>
            <a:ext cx="142668" cy="38472"/>
          </a:xfrm>
          <a:prstGeom prst="rect">
            <a:avLst/>
          </a:prstGeom>
          <a:noFill/>
        </p:spPr>
        <p:txBody>
          <a:bodyPr wrap="none" lIns="0" tIns="0" rIns="0" bIns="0" rtlCol="0">
            <a:spAutoFit/>
          </a:bodyPr>
          <a:lstStyle/>
          <a:p>
            <a:pPr algn="l"/>
            <a:r>
              <a:rPr lang="en-US" sz="250">
                <a:solidFill>
                  <a:srgbClr val="A3A3A3"/>
                </a:solidFill>
              </a:rPr>
              <a:t>ELT layout</a:t>
            </a:r>
          </a:p>
        </p:txBody>
      </p:sp>
    </p:spTree>
    <p:extLst>
      <p:ext uri="{BB962C8B-B14F-4D97-AF65-F5344CB8AC3E}">
        <p14:creationId xmlns:p14="http://schemas.microsoft.com/office/powerpoint/2010/main" val="2213029227"/>
      </p:ext>
    </p:extLst>
  </p:cSld>
  <p:clrMapOvr>
    <a:masterClrMapping/>
  </p:clrMapOvr>
  <p:transition>
    <p:fade/>
  </p:transition>
  <p:extLst>
    <p:ext uri="{DCECCB84-F9BA-43D5-87BE-67443E8EF086}">
      <p15:sldGuideLst xmlns:p15="http://schemas.microsoft.com/office/powerpoint/2012/main">
        <p15:guide id="1" orient="horz" pos="960">
          <p15:clr>
            <a:srgbClr val="5ACBF0"/>
          </p15:clr>
        </p15:guide>
        <p15:guide id="2" orient="horz" pos="1920">
          <p15:clr>
            <a:srgbClr val="5ACBF0"/>
          </p15:clr>
        </p15:guide>
        <p15:guide id="3" orient="horz" pos="3840">
          <p15:clr>
            <a:srgbClr val="5ACBF0"/>
          </p15:clr>
        </p15:guide>
        <p15:guide id="4" orient="horz" pos="4032">
          <p15:clr>
            <a:srgbClr val="5ACBF0"/>
          </p15:clr>
        </p15:guide>
        <p15:guide id="5" pos="5670">
          <p15:clr>
            <a:srgbClr val="5ACBF0"/>
          </p15:clr>
        </p15:guide>
        <p15:guide id="6" pos="5790">
          <p15:clr>
            <a:srgbClr val="5ACBF0"/>
          </p15:clr>
        </p15:guide>
        <p15:guide id="7" pos="17247">
          <p15:clr>
            <a:srgbClr val="5ACBF0"/>
          </p15:clr>
        </p15:guide>
        <p15:guide id="8" pos="11460">
          <p15:clr>
            <a:srgbClr val="5ACBF0"/>
          </p15:clr>
        </p15:guide>
        <p15:guide id="9" pos="11580">
          <p15:clr>
            <a:srgbClr val="5ACBF0"/>
          </p15:clr>
        </p15:guide>
        <p15:guide id="10" pos="17367">
          <p15:clr>
            <a:srgbClr val="5ACBF0"/>
          </p15:clr>
        </p15:guide>
        <p15:guide id="11" pos="2832">
          <p15:clr>
            <a:srgbClr val="5ACBF0"/>
          </p15:clr>
        </p15:guide>
        <p15:guide id="12" pos="8628">
          <p15:clr>
            <a:srgbClr val="5ACBF0"/>
          </p15:clr>
        </p15:guide>
        <p15:guide id="13" pos="14421">
          <p15:clr>
            <a:srgbClr val="5ACBF0"/>
          </p15:clr>
        </p15:guide>
        <p15:guide id="14" pos="20208">
          <p15:clr>
            <a:srgbClr val="5ACBF0"/>
          </p15:clr>
        </p15:guide>
        <p15:guide id="15" orient="horz">
          <p15:clr>
            <a:srgbClr val="5ACBF0"/>
          </p15:clr>
        </p15:guide>
        <p15:guide id="16" pos="4572">
          <p15:clr>
            <a:srgbClr val="5ACBF0"/>
          </p15:clr>
        </p15:guide>
        <p15:guide id="17" pos="6894">
          <p15:clr>
            <a:srgbClr val="5ACBF0"/>
          </p15:clr>
        </p15:guide>
        <p15:guide id="18" pos="10350">
          <p15:clr>
            <a:srgbClr val="5ACBF0"/>
          </p15:clr>
        </p15:guide>
        <p15:guide id="19" pos="12690">
          <p15:clr>
            <a:srgbClr val="5ACBF0"/>
          </p15:clr>
        </p15:guide>
        <p15:guide id="20" pos="16140">
          <p15:clr>
            <a:srgbClr val="5ACBF0"/>
          </p15:clr>
        </p15:guide>
        <p15:guide id="21" pos="1846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1074323"/>
            <a:ext cx="11018520" cy="138499"/>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3"/>
            <a:ext cx="1801368"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12"/>
            <a:ext cx="1801368"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7" y="4799412"/>
            <a:ext cx="1801368"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1" y="4799412"/>
            <a:ext cx="1801368"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5" y="4799412"/>
            <a:ext cx="1801368"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3" y="-203943"/>
            <a:ext cx="142668" cy="38472"/>
          </a:xfrm>
          <a:prstGeom prst="rect">
            <a:avLst/>
          </a:prstGeom>
          <a:noFill/>
        </p:spPr>
        <p:txBody>
          <a:bodyPr wrap="none" lIns="0" tIns="0" rIns="0" bIns="0" rtlCol="0">
            <a:spAutoFit/>
          </a:bodyPr>
          <a:lstStyle/>
          <a:p>
            <a:pPr algn="l"/>
            <a:r>
              <a:rPr lang="en-US" sz="250">
                <a:solidFill>
                  <a:srgbClr val="A3A3A3"/>
                </a:solidFill>
              </a:rPr>
              <a:t>ELT layout</a:t>
            </a:r>
          </a:p>
        </p:txBody>
      </p:sp>
    </p:spTree>
    <p:extLst>
      <p:ext uri="{BB962C8B-B14F-4D97-AF65-F5344CB8AC3E}">
        <p14:creationId xmlns:p14="http://schemas.microsoft.com/office/powerpoint/2010/main" val="3066131840"/>
      </p:ext>
    </p:extLst>
  </p:cSld>
  <p:clrMapOvr>
    <a:masterClrMapping/>
  </p:clrMapOvr>
  <p:transition>
    <p:fade/>
  </p:transition>
  <p:extLst>
    <p:ext uri="{DCECCB84-F9BA-43D5-87BE-67443E8EF086}">
      <p15:sldGuideLst xmlns:p15="http://schemas.microsoft.com/office/powerpoint/2012/main">
        <p15:guide id="1" orient="horz" pos="960">
          <p15:clr>
            <a:srgbClr val="5ACBF0"/>
          </p15:clr>
        </p15:guide>
        <p15:guide id="2" orient="horz" pos="1920">
          <p15:clr>
            <a:srgbClr val="5ACBF0"/>
          </p15:clr>
        </p15:guide>
        <p15:guide id="3" orient="horz" pos="3840">
          <p15:clr>
            <a:srgbClr val="5ACBF0"/>
          </p15:clr>
        </p15:guide>
        <p15:guide id="4" orient="horz" pos="4032">
          <p15:clr>
            <a:srgbClr val="5ACBF0"/>
          </p15:clr>
        </p15:guide>
        <p15:guide id="8" pos="13893">
          <p15:clr>
            <a:srgbClr val="5ACBF0"/>
          </p15:clr>
        </p15:guide>
        <p15:guide id="9" pos="13779">
          <p15:clr>
            <a:srgbClr val="5ACBF0"/>
          </p15:clr>
        </p15:guide>
        <p15:guide id="10" pos="18402">
          <p15:clr>
            <a:srgbClr val="5ACBF0"/>
          </p15:clr>
        </p15:guide>
        <p15:guide id="11" pos="3969">
          <p15:clr>
            <a:srgbClr val="5ACBF0"/>
          </p15:clr>
        </p15:guide>
        <p15:guide id="12" pos="8595">
          <p15:clr>
            <a:srgbClr val="5ACBF0"/>
          </p15:clr>
        </p15:guide>
        <p15:guide id="13" pos="14445">
          <p15:clr>
            <a:srgbClr val="5ACBF0"/>
          </p15:clr>
        </p15:guide>
        <p15:guide id="14" pos="19083">
          <p15:clr>
            <a:srgbClr val="5ACBF0"/>
          </p15:clr>
        </p15:guide>
        <p15:guide id="15" orient="horz">
          <p15:clr>
            <a:srgbClr val="5ACBF0"/>
          </p15:clr>
        </p15:guide>
        <p15:guide id="16" pos="5181">
          <p15:clr>
            <a:srgbClr val="5ACBF0"/>
          </p15:clr>
        </p15:guide>
        <p15:guide id="17" pos="6882">
          <p15:clr>
            <a:srgbClr val="5ACBF0"/>
          </p15:clr>
        </p15:guide>
        <p15:guide id="18" pos="9819">
          <p15:clr>
            <a:srgbClr val="5ACBF0"/>
          </p15:clr>
        </p15:guide>
        <p15:guide id="19" pos="13233">
          <p15:clr>
            <a:srgbClr val="5ACBF0"/>
          </p15:clr>
        </p15:guide>
        <p15:guide id="21" pos="18537">
          <p15:clr>
            <a:srgbClr val="5ACBF0"/>
          </p15:clr>
        </p15:guide>
        <p15:guide id="22" pos="4503">
          <p15:clr>
            <a:srgbClr val="5ACBF0"/>
          </p15:clr>
        </p15:guide>
        <p15:guide id="23" pos="4629">
          <p15:clr>
            <a:srgbClr val="5ACBF0"/>
          </p15:clr>
        </p15:guide>
        <p15:guide id="24" pos="9147">
          <p15:clr>
            <a:srgbClr val="5ACBF0"/>
          </p15:clr>
        </p15:guide>
        <p15:guide id="25" pos="9264">
          <p15:clr>
            <a:srgbClr val="5ACBF0"/>
          </p15:clr>
        </p15:guide>
        <p15:guide id="26" pos="17862">
          <p15:clr>
            <a:srgbClr val="5ACBF0"/>
          </p15:clr>
        </p15:guide>
        <p15:guide id="27" pos="11520">
          <p15:clr>
            <a:srgbClr val="5ACBF0"/>
          </p15:clr>
        </p15:guide>
        <p15:guide id="28" pos="16158">
          <p15:clr>
            <a:srgbClr val="5ACBF0"/>
          </p15:clr>
        </p15:guide>
        <p15:guide id="29" pos="2259">
          <p15:clr>
            <a:srgbClr val="5ACBF0"/>
          </p15:clr>
        </p15:guide>
        <p15:guide id="30" pos="2078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1077497"/>
            <a:ext cx="11018520" cy="138499"/>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7"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7" y="4800601"/>
            <a:ext cx="2313432"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5"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5" y="4800601"/>
            <a:ext cx="2313432"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1"/>
            <a:ext cx="2313432"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3" y="-203943"/>
            <a:ext cx="142668" cy="38472"/>
          </a:xfrm>
          <a:prstGeom prst="rect">
            <a:avLst/>
          </a:prstGeom>
          <a:noFill/>
        </p:spPr>
        <p:txBody>
          <a:bodyPr wrap="none" lIns="0" tIns="0" rIns="0" bIns="0" rtlCol="0">
            <a:spAutoFit/>
          </a:bodyPr>
          <a:lstStyle/>
          <a:p>
            <a:pPr algn="l"/>
            <a:r>
              <a:rPr lang="en-US" sz="250">
                <a:solidFill>
                  <a:srgbClr val="A3A3A3"/>
                </a:solidFill>
              </a:rPr>
              <a:t>ELT layout</a:t>
            </a:r>
          </a:p>
        </p:txBody>
      </p:sp>
    </p:spTree>
    <p:extLst>
      <p:ext uri="{BB962C8B-B14F-4D97-AF65-F5344CB8AC3E}">
        <p14:creationId xmlns:p14="http://schemas.microsoft.com/office/powerpoint/2010/main" val="2501899064"/>
      </p:ext>
    </p:extLst>
  </p:cSld>
  <p:clrMapOvr>
    <a:masterClrMapping/>
  </p:clrMapOvr>
  <p:transition>
    <p:fade/>
  </p:transition>
  <p:extLst>
    <p:ext uri="{DCECCB84-F9BA-43D5-87BE-67443E8EF086}">
      <p15:sldGuideLst xmlns:p15="http://schemas.microsoft.com/office/powerpoint/2012/main">
        <p15:guide id="1" orient="horz" pos="960">
          <p15:clr>
            <a:srgbClr val="5ACBF0"/>
          </p15:clr>
        </p15:guide>
        <p15:guide id="2" orient="horz" pos="4032">
          <p15:clr>
            <a:srgbClr val="5ACBF0"/>
          </p15:clr>
        </p15:guide>
        <p15:guide id="3" pos="11520">
          <p15:clr>
            <a:srgbClr val="5ACBF0"/>
          </p15:clr>
        </p15:guide>
        <p15:guide id="4" pos="3849">
          <p15:clr>
            <a:srgbClr val="5ACBF0"/>
          </p15:clr>
        </p15:guide>
        <p15:guide id="5" pos="16998">
          <p15:clr>
            <a:srgbClr val="5ACBF0"/>
          </p15:clr>
        </p15:guide>
        <p15:guide id="6" pos="8223">
          <p15:clr>
            <a:srgbClr val="5ACBF0"/>
          </p15:clr>
        </p15:guide>
        <p15:guide id="7" pos="6036">
          <p15:clr>
            <a:srgbClr val="5ACBF0"/>
          </p15:clr>
        </p15:guide>
        <p15:guide id="8" pos="9327">
          <p15:clr>
            <a:srgbClr val="5ACBF0"/>
          </p15:clr>
        </p15:guide>
        <p15:guide id="9" pos="13710">
          <p15:clr>
            <a:srgbClr val="5ACBF0"/>
          </p15:clr>
        </p15:guide>
        <p15:guide id="11" pos="19191">
          <p15:clr>
            <a:srgbClr val="5ACBF0"/>
          </p15:clr>
        </p15:guide>
        <p15:guide id="12" orient="horz" pos="1920">
          <p15:clr>
            <a:srgbClr val="5ACBF0"/>
          </p15:clr>
        </p15:guide>
        <p15:guide id="13" pos="14814">
          <p15:clr>
            <a:srgbClr val="5ACBF0"/>
          </p15:clr>
        </p15:guide>
        <p15:guide id="14" orient="horz" pos="3859">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1071543"/>
            <a:ext cx="11018520" cy="138499"/>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1"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1" y="4800601"/>
            <a:ext cx="2313432"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1"/>
            <a:ext cx="2313432"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1"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1" y="4800601"/>
            <a:ext cx="2313432"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2"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1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2" y="4800601"/>
            <a:ext cx="2313432"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3" y="-203943"/>
            <a:ext cx="142668" cy="38472"/>
          </a:xfrm>
          <a:prstGeom prst="rect">
            <a:avLst/>
          </a:prstGeom>
          <a:noFill/>
        </p:spPr>
        <p:txBody>
          <a:bodyPr wrap="none" lIns="0" tIns="0" rIns="0" bIns="0" rtlCol="0">
            <a:spAutoFit/>
          </a:bodyPr>
          <a:lstStyle/>
          <a:p>
            <a:pPr algn="l"/>
            <a:r>
              <a:rPr lang="en-US" sz="250">
                <a:solidFill>
                  <a:srgbClr val="A3A3A3"/>
                </a:solidFill>
              </a:rPr>
              <a:t>ELT layout</a:t>
            </a:r>
          </a:p>
        </p:txBody>
      </p:sp>
    </p:spTree>
    <p:extLst>
      <p:ext uri="{BB962C8B-B14F-4D97-AF65-F5344CB8AC3E}">
        <p14:creationId xmlns:p14="http://schemas.microsoft.com/office/powerpoint/2010/main" val="3328788620"/>
      </p:ext>
    </p:extLst>
  </p:cSld>
  <p:clrMapOvr>
    <a:masterClrMapping/>
  </p:clrMapOvr>
  <p:transition>
    <p:fade/>
  </p:transition>
  <p:extLst>
    <p:ext uri="{DCECCB84-F9BA-43D5-87BE-67443E8EF086}">
      <p15:sldGuideLst xmlns:p15="http://schemas.microsoft.com/office/powerpoint/2012/main">
        <p15:guide id="1" orient="horz" pos="960">
          <p15:clr>
            <a:srgbClr val="5ACBF0"/>
          </p15:clr>
        </p15:guide>
        <p15:guide id="2" orient="horz" pos="4032">
          <p15:clr>
            <a:srgbClr val="5ACBF0"/>
          </p15:clr>
        </p15:guide>
        <p15:guide id="3" pos="12075">
          <p15:clr>
            <a:srgbClr val="5ACBF0"/>
          </p15:clr>
        </p15:guide>
        <p15:guide id="5" pos="17562">
          <p15:clr>
            <a:srgbClr val="5ACBF0"/>
          </p15:clr>
        </p15:guide>
        <p15:guide id="7" pos="10962">
          <p15:clr>
            <a:srgbClr val="5ACBF0"/>
          </p15:clr>
        </p15:guide>
        <p15:guide id="8" pos="6585">
          <p15:clr>
            <a:srgbClr val="5ACBF0"/>
          </p15:clr>
        </p15:guide>
        <p15:guide id="10" pos="8778">
          <p15:clr>
            <a:srgbClr val="5ACBF0"/>
          </p15:clr>
        </p15:guide>
        <p15:guide id="11" pos="14268">
          <p15:clr>
            <a:srgbClr val="5ACBF0"/>
          </p15:clr>
        </p15:guide>
        <p15:guide id="12" pos="19743">
          <p15:clr>
            <a:srgbClr val="5ACBF0"/>
          </p15:clr>
        </p15:guide>
        <p15:guide id="13" pos="3291">
          <p15:clr>
            <a:srgbClr val="5ACBF0"/>
          </p15:clr>
        </p15:guide>
        <p15:guide id="14" orient="horz" pos="1920">
          <p15:clr>
            <a:srgbClr val="5ACBF0"/>
          </p15:clr>
        </p15:guide>
        <p15:guide id="15" pos="5478">
          <p15:clr>
            <a:srgbClr val="5ACBF0"/>
          </p15:clr>
        </p15:guide>
        <p15:guide id="18" pos="16449">
          <p15:clr>
            <a:srgbClr val="5ACBF0"/>
          </p15:clr>
        </p15:guide>
        <p15:guide id="19" orient="horz" pos="386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1071543"/>
            <a:ext cx="11018520" cy="138499"/>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125"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2"/>
            <a:ext cx="1737360"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125"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2"/>
            <a:ext cx="1737360"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125"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3"/>
            <a:ext cx="1737360"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125"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2"/>
            <a:ext cx="1737360"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125"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2"/>
            <a:ext cx="1737360" cy="69250"/>
          </a:xfrm>
        </p:spPr>
        <p:txBody>
          <a:bodyPr/>
          <a:lstStyle>
            <a:lvl1pPr marL="0" indent="0" algn="ctr">
              <a:spcBef>
                <a:spcPts val="0"/>
              </a:spcBef>
              <a:buNone/>
              <a:defRPr sz="45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3" y="-203943"/>
            <a:ext cx="142668" cy="38472"/>
          </a:xfrm>
          <a:prstGeom prst="rect">
            <a:avLst/>
          </a:prstGeom>
          <a:noFill/>
        </p:spPr>
        <p:txBody>
          <a:bodyPr wrap="none" lIns="0" tIns="0" rIns="0" bIns="0" rtlCol="0">
            <a:spAutoFit/>
          </a:bodyPr>
          <a:lstStyle/>
          <a:p>
            <a:pPr algn="l"/>
            <a:r>
              <a:rPr lang="en-US" sz="250">
                <a:solidFill>
                  <a:srgbClr val="A3A3A3"/>
                </a:solidFill>
              </a:rPr>
              <a:t>ELT layout</a:t>
            </a:r>
          </a:p>
        </p:txBody>
      </p:sp>
    </p:spTree>
    <p:extLst>
      <p:ext uri="{BB962C8B-B14F-4D97-AF65-F5344CB8AC3E}">
        <p14:creationId xmlns:p14="http://schemas.microsoft.com/office/powerpoint/2010/main" val="2377736398"/>
      </p:ext>
    </p:extLst>
  </p:cSld>
  <p:clrMapOvr>
    <a:masterClrMapping/>
  </p:clrMapOvr>
  <p:transition>
    <p:fade/>
  </p:transition>
  <p:extLst>
    <p:ext uri="{DCECCB84-F9BA-43D5-87BE-67443E8EF086}">
      <p15:sldGuideLst xmlns:p15="http://schemas.microsoft.com/office/powerpoint/2012/main">
        <p15:guide id="1" orient="horz" pos="960">
          <p15:clr>
            <a:srgbClr val="5ACBF0"/>
          </p15:clr>
        </p15:guide>
        <p15:guide id="2" orient="horz" pos="3552">
          <p15:clr>
            <a:srgbClr val="5ACBF0"/>
          </p15:clr>
        </p15:guide>
        <p15:guide id="3" pos="18648">
          <p15:clr>
            <a:srgbClr val="5ACBF0"/>
          </p15:clr>
        </p15:guide>
        <p15:guide id="5" pos="17550">
          <p15:clr>
            <a:srgbClr val="5ACBF0"/>
          </p15:clr>
        </p15:guide>
        <p15:guide id="7" pos="13176">
          <p15:clr>
            <a:srgbClr val="5ACBF0"/>
          </p15:clr>
        </p15:guide>
        <p15:guide id="8" pos="9876">
          <p15:clr>
            <a:srgbClr val="5ACBF0"/>
          </p15:clr>
        </p15:guide>
        <p15:guide id="10" pos="8778">
          <p15:clr>
            <a:srgbClr val="5ACBF0"/>
          </p15:clr>
        </p15:guide>
        <p15:guide id="11" pos="14262">
          <p15:clr>
            <a:srgbClr val="5ACBF0"/>
          </p15:clr>
        </p15:guide>
        <p15:guide id="13" pos="4392">
          <p15:clr>
            <a:srgbClr val="5ACBF0"/>
          </p15:clr>
        </p15:guide>
        <p15:guide id="14" orient="horz" pos="1920">
          <p15:clr>
            <a:srgbClr val="5ACBF0"/>
          </p15:clr>
        </p15:guide>
        <p15:guide id="15" pos="5490">
          <p15:clr>
            <a:srgbClr val="5ACBF0"/>
          </p15:clr>
        </p15:guide>
        <p15:guide id="16" orient="horz" pos="337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41EFE-264E-BC9E-6531-FF41C36C297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2E0B4E1-2641-C609-B66B-50A49234AA0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588902B-320A-1253-F247-CA83542F88F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29960614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8" y="2309814"/>
            <a:ext cx="3182027" cy="138499"/>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1" y="2309815"/>
            <a:ext cx="7253288" cy="107722"/>
          </a:xfrm>
        </p:spPr>
        <p:txBody>
          <a:bodyPr anchor="t"/>
          <a:lstStyle>
            <a:lvl1pPr marL="57951" indent="-57951">
              <a:spcAft>
                <a:spcPts val="15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3" y="-203943"/>
            <a:ext cx="142668" cy="38472"/>
          </a:xfrm>
          <a:prstGeom prst="rect">
            <a:avLst/>
          </a:prstGeom>
          <a:noFill/>
        </p:spPr>
        <p:txBody>
          <a:bodyPr wrap="none" lIns="0" tIns="0" rIns="0" bIns="0" rtlCol="0">
            <a:spAutoFit/>
          </a:bodyPr>
          <a:lstStyle/>
          <a:p>
            <a:pPr algn="l"/>
            <a:r>
              <a:rPr lang="en-US" sz="25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5"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3347784"/>
      </p:ext>
    </p:extLst>
  </p:cSld>
  <p:clrMapOvr>
    <a:masterClrMapping/>
  </p:clrMapOvr>
  <p:transition>
    <p:fade/>
  </p:transition>
  <p:extLst>
    <p:ext uri="{DCECCB84-F9BA-43D5-87BE-67443E8EF086}">
      <p15:sldGuideLst xmlns:p15="http://schemas.microsoft.com/office/powerpoint/2012/main">
        <p15:guide id="13" pos="8232">
          <p15:clr>
            <a:srgbClr val="5ACBF0"/>
          </p15:clr>
        </p15:guide>
        <p15:guide id="29" orient="horz" pos="1696">
          <p15:clr>
            <a:srgbClr val="5ACBF0"/>
          </p15:clr>
        </p15:guide>
        <p15:guide id="30" pos="7128">
          <p15:clr>
            <a:srgbClr val="5ACBF0"/>
          </p15:clr>
        </p15:guide>
        <p15:guide id="32" orient="horz" pos="194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5" y="3358164"/>
            <a:ext cx="3182027" cy="138499"/>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373554"/>
            <a:ext cx="6667500" cy="107722"/>
          </a:xfrm>
        </p:spPr>
        <p:txBody>
          <a:bodyPr anchor="ctr"/>
          <a:lstStyle>
            <a:lvl1pPr marL="57951" indent="-57951">
              <a:spcAft>
                <a:spcPts val="15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1"/>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3" y="-203943"/>
            <a:ext cx="142668" cy="38472"/>
          </a:xfrm>
          <a:prstGeom prst="rect">
            <a:avLst/>
          </a:prstGeom>
          <a:noFill/>
        </p:spPr>
        <p:txBody>
          <a:bodyPr wrap="none" lIns="0" tIns="0" rIns="0" bIns="0" rtlCol="0">
            <a:spAutoFit/>
          </a:bodyPr>
          <a:lstStyle/>
          <a:p>
            <a:pPr algn="l"/>
            <a:r>
              <a:rPr lang="en-US" sz="250">
                <a:solidFill>
                  <a:srgbClr val="A3A3A3"/>
                </a:solidFill>
              </a:rPr>
              <a:t>ELT layout</a:t>
            </a:r>
          </a:p>
        </p:txBody>
      </p:sp>
    </p:spTree>
    <p:extLst>
      <p:ext uri="{BB962C8B-B14F-4D97-AF65-F5344CB8AC3E}">
        <p14:creationId xmlns:p14="http://schemas.microsoft.com/office/powerpoint/2010/main" val="1272991357"/>
      </p:ext>
    </p:extLst>
  </p:cSld>
  <p:clrMapOvr>
    <a:masterClrMapping/>
  </p:clrMapOvr>
  <p:transition>
    <p:fade/>
  </p:transition>
  <p:extLst>
    <p:ext uri="{DCECCB84-F9BA-43D5-87BE-67443E8EF086}">
      <p15:sldGuideLst xmlns:p15="http://schemas.microsoft.com/office/powerpoint/2012/main">
        <p15:guide id="13" pos="8232">
          <p15:clr>
            <a:srgbClr val="5ACBF0"/>
          </p15:clr>
        </p15:guide>
        <p15:guide id="29" orient="horz" pos="2880">
          <p15:clr>
            <a:srgbClr val="5ACBF0"/>
          </p15:clr>
        </p15:guide>
        <p15:guide id="30" pos="7128">
          <p15:clr>
            <a:srgbClr val="5ACBF0"/>
          </p15:clr>
        </p15:guide>
        <p15:guide id="31" pos="9339">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36576" rIns="45720" bIns="36576" numCol="1" spcCol="0" rtlCol="0" fromWordArt="0" anchor="t" anchorCtr="0" forceAA="0" compatLnSpc="1">
            <a:prstTxWarp prst="textNoShape">
              <a:avLst/>
            </a:prstTxWarp>
            <a:noAutofit/>
          </a:bodyPr>
          <a:lstStyle/>
          <a:p>
            <a:pPr algn="l" defTabSz="233147" fontAlgn="base">
              <a:spcBef>
                <a:spcPct val="0"/>
              </a:spcBef>
              <a:spcAft>
                <a:spcPct val="0"/>
              </a:spcAft>
            </a:pPr>
            <a:endParaRPr lang="en-US" sz="5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261610"/>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500"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9"/>
            <a:ext cx="11018520" cy="92333"/>
          </a:xfrm>
        </p:spPr>
        <p:txBody>
          <a:bodyPr/>
          <a:lstStyle>
            <a:lvl1pPr marL="0" indent="0">
              <a:buNone/>
              <a:tabLst/>
              <a:defRPr sz="600">
                <a:solidFill>
                  <a:srgbClr val="000000"/>
                </a:solidFill>
                <a:latin typeface="Consolas" panose="020B0609020204030204" pitchFamily="49" charset="0"/>
                <a:cs typeface="Consolas" panose="020B0609020204030204" pitchFamily="49" charset="0"/>
              </a:defRPr>
            </a:lvl1pPr>
            <a:lvl2pPr marL="86649" indent="0">
              <a:buNone/>
              <a:tabLst>
                <a:tab pos="86133" algn="l"/>
              </a:tabLst>
              <a:defRPr sz="600">
                <a:solidFill>
                  <a:schemeClr val="tx1"/>
                </a:solidFill>
                <a:latin typeface="Consolas" panose="020B0609020204030204" pitchFamily="49" charset="0"/>
                <a:cs typeface="Consolas" panose="020B0609020204030204" pitchFamily="49" charset="0"/>
              </a:defRPr>
            </a:lvl2pPr>
            <a:lvl3pPr marL="146170" indent="0">
              <a:buNone/>
              <a:tabLst>
                <a:tab pos="142496" algn="l"/>
              </a:tabLst>
              <a:defRPr sz="600">
                <a:solidFill>
                  <a:schemeClr val="tx1"/>
                </a:solidFill>
                <a:latin typeface="Consolas" panose="020B0609020204030204" pitchFamily="49" charset="0"/>
                <a:cs typeface="Consolas" panose="020B0609020204030204" pitchFamily="49" charset="0"/>
              </a:defRPr>
            </a:lvl3pPr>
            <a:lvl4pPr marL="203666" indent="0">
              <a:buNone/>
              <a:tabLst>
                <a:tab pos="200050" algn="l"/>
              </a:tabLst>
              <a:defRPr sz="600">
                <a:solidFill>
                  <a:schemeClr val="tx1"/>
                </a:solidFill>
                <a:latin typeface="Consolas" panose="020B0609020204030204" pitchFamily="49" charset="0"/>
                <a:cs typeface="Consolas" panose="020B0609020204030204" pitchFamily="49" charset="0"/>
              </a:defRPr>
            </a:lvl4pPr>
            <a:lvl5pPr marL="262782" indent="0">
              <a:buNone/>
              <a:tabLst>
                <a:tab pos="257207" algn="l"/>
              </a:tabLst>
              <a:defRPr sz="6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63707358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584">
          <p15:clr>
            <a:srgbClr val="5ACBF0"/>
          </p15:clr>
        </p15:guide>
        <p15:guide id="3" orient="horz" pos="38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36576" rIns="45720" bIns="36576" numCol="1" spcCol="0" rtlCol="0" fromWordArt="0" anchor="t" anchorCtr="0" forceAA="0" compatLnSpc="1">
            <a:prstTxWarp prst="textNoShape">
              <a:avLst/>
            </a:prstTxWarp>
            <a:noAutofit/>
          </a:bodyPr>
          <a:lstStyle/>
          <a:p>
            <a:pPr algn="l" defTabSz="233147" fontAlgn="base">
              <a:spcBef>
                <a:spcPct val="0"/>
              </a:spcBef>
              <a:spcAft>
                <a:spcPct val="0"/>
              </a:spcAft>
            </a:pPr>
            <a:endParaRPr lang="en-US" sz="5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215444"/>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500">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2"/>
            <a:ext cx="11018520" cy="92333"/>
          </a:xfrm>
        </p:spPr>
        <p:txBody>
          <a:bodyPr/>
          <a:lstStyle>
            <a:lvl1pPr marL="0" indent="0">
              <a:buNone/>
              <a:tabLst/>
              <a:defRPr sz="600">
                <a:solidFill>
                  <a:srgbClr val="000000"/>
                </a:solidFill>
                <a:latin typeface="Consolas" panose="020B0609020204030204" pitchFamily="49" charset="0"/>
                <a:cs typeface="Consolas" panose="020B0609020204030204" pitchFamily="49" charset="0"/>
              </a:defRPr>
            </a:lvl1pPr>
            <a:lvl2pPr marL="86649" indent="0">
              <a:buNone/>
              <a:tabLst>
                <a:tab pos="86133" algn="l"/>
              </a:tabLst>
              <a:defRPr sz="600">
                <a:solidFill>
                  <a:schemeClr val="tx1"/>
                </a:solidFill>
                <a:latin typeface="Consolas" panose="020B0609020204030204" pitchFamily="49" charset="0"/>
                <a:cs typeface="Consolas" panose="020B0609020204030204" pitchFamily="49" charset="0"/>
              </a:defRPr>
            </a:lvl2pPr>
            <a:lvl3pPr marL="146170" indent="0">
              <a:buNone/>
              <a:tabLst>
                <a:tab pos="142496" algn="l"/>
              </a:tabLst>
              <a:defRPr sz="600">
                <a:solidFill>
                  <a:schemeClr val="tx1"/>
                </a:solidFill>
                <a:latin typeface="Consolas" panose="020B0609020204030204" pitchFamily="49" charset="0"/>
                <a:cs typeface="Consolas" panose="020B0609020204030204" pitchFamily="49" charset="0"/>
              </a:defRPr>
            </a:lvl3pPr>
            <a:lvl4pPr marL="203666" indent="0">
              <a:buNone/>
              <a:tabLst>
                <a:tab pos="200050" algn="l"/>
              </a:tabLst>
              <a:defRPr sz="600">
                <a:solidFill>
                  <a:schemeClr val="tx1"/>
                </a:solidFill>
                <a:latin typeface="Consolas" panose="020B0609020204030204" pitchFamily="49" charset="0"/>
                <a:cs typeface="Consolas" panose="020B0609020204030204" pitchFamily="49" charset="0"/>
              </a:defRPr>
            </a:lvl4pPr>
            <a:lvl5pPr marL="262782" indent="0">
              <a:buNone/>
              <a:tabLst>
                <a:tab pos="257207" algn="l"/>
              </a:tabLst>
              <a:defRPr sz="6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9221474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763">
          <p15:clr>
            <a:srgbClr val="5ACBF0"/>
          </p15:clr>
        </p15:guide>
        <p15:guide id="2" orient="horz" pos="1207">
          <p15:clr>
            <a:srgbClr val="5ACBF0"/>
          </p15:clr>
        </p15:guide>
        <p15:guide id="3" orient="horz" pos="38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2"/>
            <a:ext cx="11018520" cy="92333"/>
          </a:xfrm>
        </p:spPr>
        <p:txBody>
          <a:bodyPr wrap="square">
            <a:spAutoFit/>
          </a:bodyPr>
          <a:lstStyle>
            <a:lvl1pPr marL="0" indent="0">
              <a:spcBef>
                <a:spcPts val="150"/>
              </a:spcBef>
              <a:spcAft>
                <a:spcPts val="0"/>
              </a:spcAft>
              <a:buNone/>
              <a:defRPr sz="600">
                <a:solidFill>
                  <a:schemeClr val="tx1"/>
                </a:solidFill>
                <a:latin typeface="+mn-lt"/>
                <a:cs typeface="Segoe UI" panose="020B0502040204020203" pitchFamily="34" charset="0"/>
              </a:defRPr>
            </a:lvl1pPr>
            <a:lvl2pPr marL="57140" indent="0">
              <a:buNone/>
              <a:defRPr sz="600">
                <a:solidFill>
                  <a:srgbClr val="2F2F2F"/>
                </a:solidFill>
                <a:latin typeface="Segoe UI" panose="020B0502040204020203" pitchFamily="34" charset="0"/>
                <a:cs typeface="Segoe UI" panose="020B0502040204020203" pitchFamily="34" charset="0"/>
              </a:defRPr>
            </a:lvl2pPr>
            <a:lvl3pPr marL="114280" indent="0">
              <a:buNone/>
              <a:defRPr/>
            </a:lvl3pPr>
            <a:lvl4pPr marL="171420" indent="0">
              <a:buNone/>
              <a:defRPr/>
            </a:lvl4pPr>
            <a:lvl5pPr marL="228560"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9"/>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36576" rIns="45720" bIns="36576" numCol="1" spcCol="0" rtlCol="0" fromWordArt="0" anchor="t" anchorCtr="0" forceAA="0" compatLnSpc="1">
            <a:prstTxWarp prst="textNoShape">
              <a:avLst/>
            </a:prstTxWarp>
            <a:noAutofit/>
          </a:bodyPr>
          <a:lstStyle/>
          <a:p>
            <a:pPr algn="l" defTabSz="233147" fontAlgn="base">
              <a:spcBef>
                <a:spcPct val="0"/>
              </a:spcBef>
              <a:spcAft>
                <a:spcPct val="0"/>
              </a:spcAft>
            </a:pPr>
            <a:endParaRPr lang="en-US" sz="5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9"/>
            <a:ext cx="3788358" cy="215444"/>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500">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20"/>
            <a:ext cx="11018520" cy="92333"/>
          </a:xfrm>
        </p:spPr>
        <p:txBody>
          <a:bodyPr/>
          <a:lstStyle>
            <a:lvl1pPr marL="0" indent="0">
              <a:buNone/>
              <a:tabLst/>
              <a:defRPr sz="600">
                <a:solidFill>
                  <a:srgbClr val="000000"/>
                </a:solidFill>
                <a:latin typeface="Consolas" panose="020B0609020204030204" pitchFamily="49" charset="0"/>
                <a:cs typeface="Consolas" panose="020B0609020204030204" pitchFamily="49" charset="0"/>
              </a:defRPr>
            </a:lvl1pPr>
            <a:lvl2pPr marL="86623" indent="0">
              <a:buNone/>
              <a:defRPr sz="6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146126" indent="0">
              <a:buNone/>
              <a:defRPr sz="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203605" indent="0">
              <a:buNone/>
              <a:defRPr sz="4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262703" indent="0">
              <a:buNone/>
              <a:defRPr sz="4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8273903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384">
          <p15:clr>
            <a:srgbClr val="5ACBF0"/>
          </p15:clr>
        </p15:guide>
        <p15:guide id="4" orient="horz" pos="2368">
          <p15:clr>
            <a:srgbClr val="5ACBF0"/>
          </p15:clr>
        </p15:guide>
        <p15:guide id="5" orient="horz" pos="2930">
          <p15:clr>
            <a:srgbClr val="5ACBF0"/>
          </p15:clr>
        </p15:guide>
        <p15:guide id="6" orient="horz" pos="1031">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1"/>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36576" rIns="45720" bIns="36576" numCol="1" spcCol="0" rtlCol="0" fromWordArt="0" anchor="t" anchorCtr="0" forceAA="0" compatLnSpc="1">
            <a:prstTxWarp prst="textNoShape">
              <a:avLst/>
            </a:prstTxWarp>
            <a:noAutofit/>
          </a:bodyPr>
          <a:lstStyle/>
          <a:p>
            <a:pPr algn="l" defTabSz="233147" fontAlgn="base">
              <a:spcBef>
                <a:spcPct val="0"/>
              </a:spcBef>
              <a:spcAft>
                <a:spcPct val="0"/>
              </a:spcAft>
            </a:pPr>
            <a:endParaRPr lang="en-US" sz="5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3"/>
            <a:ext cx="11018520" cy="123111"/>
          </a:xfrm>
        </p:spPr>
        <p:txBody>
          <a:bodyPr/>
          <a:lstStyle>
            <a:lvl1pPr>
              <a:defRPr sz="8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215444"/>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500">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9"/>
            <a:ext cx="11018520" cy="92333"/>
          </a:xfrm>
        </p:spPr>
        <p:txBody>
          <a:bodyPr/>
          <a:lstStyle>
            <a:lvl1pPr marL="0" indent="0">
              <a:buNone/>
              <a:tabLst/>
              <a:defRPr sz="600">
                <a:solidFill>
                  <a:srgbClr val="000000"/>
                </a:solidFill>
                <a:latin typeface="Consolas" panose="020B0609020204030204" pitchFamily="49" charset="0"/>
                <a:cs typeface="Consolas" panose="020B0609020204030204" pitchFamily="49" charset="0"/>
              </a:defRPr>
            </a:lvl1pPr>
            <a:lvl2pPr marL="86623" indent="0">
              <a:buNone/>
              <a:defRPr sz="6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146126" indent="0">
              <a:buNone/>
              <a:defRPr sz="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203605" indent="0">
              <a:buNone/>
              <a:defRPr sz="4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262703" indent="0">
              <a:buNone/>
              <a:defRPr sz="4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7"/>
            <a:ext cx="11018520" cy="92333"/>
          </a:xfrm>
        </p:spPr>
        <p:txBody>
          <a:bodyPr wrap="square">
            <a:spAutoFit/>
          </a:bodyPr>
          <a:lstStyle>
            <a:lvl1pPr marL="0" indent="0">
              <a:spcBef>
                <a:spcPts val="150"/>
              </a:spcBef>
              <a:spcAft>
                <a:spcPts val="0"/>
              </a:spcAft>
              <a:buNone/>
              <a:defRPr sz="600">
                <a:solidFill>
                  <a:schemeClr val="tx1"/>
                </a:solidFill>
                <a:latin typeface="+mn-lt"/>
                <a:cs typeface="Segoe UI" panose="020B0502040204020203" pitchFamily="34" charset="0"/>
              </a:defRPr>
            </a:lvl1pPr>
            <a:lvl2pPr marL="57140" indent="0">
              <a:buNone/>
              <a:defRPr sz="600">
                <a:solidFill>
                  <a:srgbClr val="2F2F2F"/>
                </a:solidFill>
                <a:latin typeface="Segoe UI" panose="020B0502040204020203" pitchFamily="34" charset="0"/>
                <a:cs typeface="Segoe UI" panose="020B0502040204020203" pitchFamily="34" charset="0"/>
              </a:defRPr>
            </a:lvl2pPr>
            <a:lvl3pPr marL="114280" indent="0">
              <a:buNone/>
              <a:defRPr/>
            </a:lvl3pPr>
            <a:lvl4pPr marL="171420" indent="0">
              <a:buNone/>
              <a:defRPr/>
            </a:lvl4pPr>
            <a:lvl5pPr marL="228560" indent="0">
              <a:buNone/>
              <a:defRPr/>
            </a:lvl5pPr>
          </a:lstStyle>
          <a:p>
            <a:pPr lvl="0"/>
            <a:r>
              <a:rPr lang="en-US"/>
              <a:t>Click to edit text</a:t>
            </a:r>
          </a:p>
        </p:txBody>
      </p:sp>
    </p:spTree>
    <p:extLst>
      <p:ext uri="{BB962C8B-B14F-4D97-AF65-F5344CB8AC3E}">
        <p14:creationId xmlns:p14="http://schemas.microsoft.com/office/powerpoint/2010/main" val="1743379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384">
          <p15:clr>
            <a:srgbClr val="5ACBF0"/>
          </p15:clr>
        </p15:guide>
        <p15:guide id="4" orient="horz" pos="3548">
          <p15:clr>
            <a:srgbClr val="5ACBF0"/>
          </p15:clr>
        </p15:guide>
        <p15:guide id="5" orient="horz" pos="4196">
          <p15:clr>
            <a:srgbClr val="5ACBF0"/>
          </p15:clr>
        </p15:guide>
        <p15:guide id="6" orient="horz" pos="559">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4" y="457203"/>
            <a:ext cx="4040887" cy="123111"/>
          </a:xfrm>
        </p:spPr>
        <p:txBody>
          <a:bodyPr/>
          <a:lstStyle>
            <a:lvl1pPr>
              <a:defRPr sz="8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7" y="1338141"/>
            <a:ext cx="4040185" cy="92333"/>
          </a:xfrm>
        </p:spPr>
        <p:txBody>
          <a:bodyPr wrap="square">
            <a:spAutoFit/>
          </a:bodyPr>
          <a:lstStyle>
            <a:lvl1pPr marL="0" indent="0">
              <a:lnSpc>
                <a:spcPct val="100000"/>
              </a:lnSpc>
              <a:spcBef>
                <a:spcPts val="150"/>
              </a:spcBef>
              <a:spcAft>
                <a:spcPts val="0"/>
              </a:spcAft>
              <a:buNone/>
              <a:defRPr sz="6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15"/>
              </a:spcBef>
              <a:spcAft>
                <a:spcPts val="15"/>
              </a:spcAft>
              <a:buNone/>
              <a:defRPr sz="600" b="0" i="0">
                <a:solidFill>
                  <a:srgbClr val="2F2F2F"/>
                </a:solidFill>
                <a:latin typeface="Segoe UI" panose="020B0502040204020203" pitchFamily="34" charset="0"/>
                <a:cs typeface="Segoe UI" panose="020B0502040204020203" pitchFamily="34" charset="0"/>
              </a:defRPr>
            </a:lvl2pPr>
            <a:lvl3pPr marL="114280" indent="0">
              <a:buNone/>
              <a:defRPr/>
            </a:lvl3pPr>
            <a:lvl4pPr marL="171420" indent="0">
              <a:buNone/>
              <a:defRPr/>
            </a:lvl4pPr>
            <a:lvl5pPr marL="228560"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36576" rIns="45720" bIns="36576" numCol="1" spcCol="0" rtlCol="0" fromWordArt="0" anchor="t" anchorCtr="0" forceAA="0" compatLnSpc="1">
            <a:prstTxWarp prst="textNoShape">
              <a:avLst/>
            </a:prstTxWarp>
            <a:noAutofit/>
          </a:bodyPr>
          <a:lstStyle/>
          <a:p>
            <a:pPr algn="l" defTabSz="233147" fontAlgn="base">
              <a:spcBef>
                <a:spcPct val="0"/>
              </a:spcBef>
              <a:spcAft>
                <a:spcPct val="0"/>
              </a:spcAft>
            </a:pPr>
            <a:endParaRPr lang="en-US" sz="5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261610"/>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500">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7" y="709189"/>
            <a:ext cx="5801961" cy="92333"/>
          </a:xfrm>
        </p:spPr>
        <p:txBody>
          <a:bodyPr/>
          <a:lstStyle>
            <a:lvl1pPr marL="0" indent="0">
              <a:buNone/>
              <a:tabLst/>
              <a:defRPr sz="600">
                <a:solidFill>
                  <a:srgbClr val="2F2F2F"/>
                </a:solidFill>
                <a:latin typeface="Consolas" panose="020B0609020204030204" pitchFamily="49" charset="0"/>
                <a:cs typeface="Consolas" panose="020B0609020204030204" pitchFamily="49" charset="0"/>
              </a:defRPr>
            </a:lvl1pPr>
            <a:lvl2pPr marL="86623" indent="0">
              <a:buNone/>
              <a:defRPr sz="6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146126" indent="0">
              <a:buNone/>
              <a:defRPr sz="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203605" indent="0">
              <a:buNone/>
              <a:defRPr sz="4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262703" indent="0">
              <a:buNone/>
              <a:defRPr sz="4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445842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384">
          <p15:clr>
            <a:srgbClr val="5ACBF0"/>
          </p15:clr>
        </p15:guide>
        <p15:guide id="2" orient="horz" pos="594">
          <p15:clr>
            <a:srgbClr val="5ACBF0"/>
          </p15:clr>
        </p15:guide>
        <p15:guide id="4" orient="horz" pos="1124">
          <p15:clr>
            <a:srgbClr val="5ACBF0"/>
          </p15:clr>
        </p15:guide>
        <p15:guide id="7" pos="9849">
          <p15:clr>
            <a:srgbClr val="5ACBF0"/>
          </p15:clr>
        </p15:guide>
        <p15:guide id="8" pos="10962">
          <p15:clr>
            <a:srgbClr val="5ACBF0"/>
          </p15:clr>
        </p15:guide>
        <p15:guide id="9" pos="874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36576" rIns="45720" bIns="36576" numCol="1" spcCol="0" rtlCol="0" fromWordArt="0" anchor="t" anchorCtr="0" forceAA="0" compatLnSpc="1">
            <a:prstTxWarp prst="textNoShape">
              <a:avLst/>
            </a:prstTxWarp>
            <a:noAutofit/>
          </a:bodyPr>
          <a:lstStyle/>
          <a:p>
            <a:pPr algn="l" defTabSz="233147" fontAlgn="base">
              <a:spcBef>
                <a:spcPct val="0"/>
              </a:spcBef>
              <a:spcAft>
                <a:spcPct val="0"/>
              </a:spcAft>
            </a:pPr>
            <a:endParaRPr lang="en-US" sz="5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1" y="457203"/>
            <a:ext cx="4031233" cy="123111"/>
          </a:xfrm>
        </p:spPr>
        <p:txBody>
          <a:bodyPr/>
          <a:lstStyle>
            <a:lvl1pPr>
              <a:defRPr sz="8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261610"/>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500">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1" y="706012"/>
            <a:ext cx="5819775" cy="92333"/>
          </a:xfrm>
        </p:spPr>
        <p:txBody>
          <a:bodyPr/>
          <a:lstStyle>
            <a:lvl1pPr marL="0" indent="0">
              <a:buNone/>
              <a:defRPr sz="600">
                <a:solidFill>
                  <a:srgbClr val="2F2F2F"/>
                </a:solidFill>
                <a:latin typeface="Consolas" panose="020B0609020204030204" pitchFamily="49" charset="0"/>
                <a:cs typeface="Consolas" panose="020B0609020204030204" pitchFamily="49" charset="0"/>
              </a:defRPr>
            </a:lvl1pPr>
            <a:lvl2pPr marL="86623" indent="0">
              <a:buNone/>
              <a:defRPr sz="6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146126" indent="0">
              <a:buNone/>
              <a:defRPr sz="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203605" indent="0">
              <a:buNone/>
              <a:defRPr sz="4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262703" indent="0">
              <a:buNone/>
              <a:defRPr sz="4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6"/>
            <a:ext cx="4033838" cy="92333"/>
          </a:xfrm>
        </p:spPr>
        <p:txBody>
          <a:bodyPr wrap="square">
            <a:spAutoFit/>
          </a:bodyPr>
          <a:lstStyle>
            <a:lvl1pPr marL="0" indent="0">
              <a:lnSpc>
                <a:spcPct val="100000"/>
              </a:lnSpc>
              <a:spcBef>
                <a:spcPts val="150"/>
              </a:spcBef>
              <a:spcAft>
                <a:spcPts val="0"/>
              </a:spcAft>
              <a:buNone/>
              <a:defRPr sz="6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15"/>
              </a:spcBef>
              <a:spcAft>
                <a:spcPts val="15"/>
              </a:spcAft>
              <a:buNone/>
              <a:defRPr sz="600" b="0" i="0">
                <a:solidFill>
                  <a:srgbClr val="2F2F2F"/>
                </a:solidFill>
                <a:latin typeface="Segoe UI" panose="020B0502040204020203" pitchFamily="34" charset="0"/>
                <a:cs typeface="Segoe UI" panose="020B0502040204020203" pitchFamily="34" charset="0"/>
              </a:defRPr>
            </a:lvl2pPr>
            <a:lvl3pPr marL="114280" indent="0">
              <a:buNone/>
              <a:defRPr/>
            </a:lvl3pPr>
            <a:lvl4pPr marL="171420" indent="0">
              <a:buNone/>
              <a:defRPr/>
            </a:lvl4pPr>
            <a:lvl5pPr marL="228560" indent="0">
              <a:buNone/>
              <a:defRPr/>
            </a:lvl5pPr>
          </a:lstStyle>
          <a:p>
            <a:pPr lvl="0"/>
            <a:r>
              <a:rPr lang="en-US"/>
              <a:t>Click to edit text</a:t>
            </a:r>
          </a:p>
        </p:txBody>
      </p:sp>
    </p:spTree>
    <p:extLst>
      <p:ext uri="{BB962C8B-B14F-4D97-AF65-F5344CB8AC3E}">
        <p14:creationId xmlns:p14="http://schemas.microsoft.com/office/powerpoint/2010/main" val="13732523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384">
          <p15:clr>
            <a:srgbClr val="5ACBF0"/>
          </p15:clr>
        </p15:guide>
        <p15:guide id="2" orient="horz" pos="581">
          <p15:clr>
            <a:srgbClr val="5ACBF0"/>
          </p15:clr>
        </p15:guide>
        <p15:guide id="4" orient="horz" pos="1119">
          <p15:clr>
            <a:srgbClr val="5ACBF0"/>
          </p15:clr>
        </p15:guide>
        <p15:guide id="6" pos="13206">
          <p15:clr>
            <a:srgbClr val="5ACBF0"/>
          </p15:clr>
        </p15:guide>
        <p15:guide id="7" pos="12102">
          <p15:clr>
            <a:srgbClr val="5ACBF0"/>
          </p15:clr>
        </p15:guide>
        <p15:guide id="8" pos="1431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90"/>
            <a:ext cx="8026972" cy="2946033"/>
          </a:xfrm>
          <a:noFill/>
        </p:spPr>
        <p:txBody>
          <a:bodyPr wrap="square" lIns="0" tIns="0" rIns="0" bIns="0" anchor="b" anchorCtr="0">
            <a:normAutofit/>
          </a:bodyPr>
          <a:lstStyle>
            <a:lvl1pPr algn="l" defTabSz="233215" rtl="0" eaLnBrk="1" latinLnBrk="0" hangingPunct="1">
              <a:lnSpc>
                <a:spcPct val="90000"/>
              </a:lnSpc>
              <a:spcBef>
                <a:spcPct val="0"/>
              </a:spcBef>
              <a:buNone/>
              <a:defRPr lang="en-US" sz="2000" b="0" kern="1200" cap="none" spc="-13"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230832"/>
          </a:xfrm>
          <a:noFill/>
        </p:spPr>
        <p:txBody>
          <a:bodyPr wrap="square" lIns="0" tIns="0" rIns="0" bIns="0">
            <a:spAutoFit/>
          </a:bodyPr>
          <a:lstStyle>
            <a:lvl1pPr marL="0" indent="0">
              <a:spcBef>
                <a:spcPts val="0"/>
              </a:spcBef>
              <a:spcAft>
                <a:spcPts val="0"/>
              </a:spcAft>
              <a:buFont typeface="Arial" panose="020B0604020202020204" pitchFamily="34" charset="0"/>
              <a:buNone/>
              <a:defRPr sz="1500" spc="0" baseline="0">
                <a:solidFill>
                  <a:schemeClr val="tx1"/>
                </a:solidFill>
                <a:latin typeface="+mn-lt"/>
              </a:defRPr>
            </a:lvl1pPr>
          </a:lstStyle>
          <a:p>
            <a:pPr lvl="0"/>
            <a:r>
              <a:rPr lang="en-US"/>
              <a:t>Name</a:t>
            </a:r>
          </a:p>
        </p:txBody>
      </p:sp>
      <p:pic>
        <p:nvPicPr>
          <p:cNvPr id="6" name="Picture 5">
            <a:extLst>
              <a:ext uri="{FF2B5EF4-FFF2-40B4-BE49-F238E27FC236}">
                <a16:creationId xmlns:a16="http://schemas.microsoft.com/office/drawing/2014/main" id="{32C60324-0FB1-DBEB-0917-17B79AA2A250}"/>
              </a:ext>
            </a:extLst>
          </p:cNvPr>
          <p:cNvPicPr>
            <a:picLocks noChangeAspect="1"/>
          </p:cNvPicPr>
          <p:nvPr userDrawn="1"/>
        </p:nvPicPr>
        <p:blipFill>
          <a:blip r:embed="rId2"/>
          <a:stretch>
            <a:fillRect/>
          </a:stretch>
        </p:blipFill>
        <p:spPr bwMode="black">
          <a:xfrm>
            <a:off x="1959519" y="1177603"/>
            <a:ext cx="1561151" cy="2795237"/>
          </a:xfrm>
          <a:prstGeom prst="rect">
            <a:avLst/>
          </a:prstGeom>
        </p:spPr>
      </p:pic>
    </p:spTree>
    <p:extLst>
      <p:ext uri="{BB962C8B-B14F-4D97-AF65-F5344CB8AC3E}">
        <p14:creationId xmlns:p14="http://schemas.microsoft.com/office/powerpoint/2010/main" val="2216239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p15:clr>
            <a:srgbClr val="FBAE40"/>
          </p15:clr>
        </p15:guide>
        <p15:guide id="2" pos="18405">
          <p15:clr>
            <a:srgbClr val="5ACBF0"/>
          </p15:clr>
        </p15:guide>
        <p15:guide id="3" orient="horz" pos="2547">
          <p15:clr>
            <a:srgbClr val="5ACBF0"/>
          </p15:clr>
        </p15:guide>
        <p15:guide id="4" orient="horz" pos="3340">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90"/>
            <a:ext cx="8025384" cy="2946033"/>
          </a:xfrm>
          <a:noFill/>
        </p:spPr>
        <p:txBody>
          <a:bodyPr wrap="square" lIns="0" tIns="0" rIns="0" bIns="0" anchor="b" anchorCtr="0">
            <a:normAutofit/>
          </a:bodyPr>
          <a:lstStyle>
            <a:lvl1pPr algn="l" defTabSz="233215" rtl="0" eaLnBrk="1" latinLnBrk="0" hangingPunct="1">
              <a:lnSpc>
                <a:spcPct val="90000"/>
              </a:lnSpc>
              <a:spcBef>
                <a:spcPct val="0"/>
              </a:spcBef>
              <a:buNone/>
              <a:defRPr lang="en-US" sz="2000" b="0" kern="1200" cap="none" spc="-13"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230832"/>
          </a:xfrm>
          <a:noFill/>
        </p:spPr>
        <p:txBody>
          <a:bodyPr wrap="square" lIns="0" tIns="0" rIns="0" bIns="0">
            <a:spAutoFit/>
          </a:bodyPr>
          <a:lstStyle>
            <a:lvl1pPr marL="0" indent="0">
              <a:spcBef>
                <a:spcPts val="0"/>
              </a:spcBef>
              <a:spcAft>
                <a:spcPts val="0"/>
              </a:spcAft>
              <a:buFont typeface="Arial" panose="020B0604020202020204" pitchFamily="34" charset="0"/>
              <a:buNone/>
              <a:defRPr sz="1500" spc="0" baseline="0">
                <a:solidFill>
                  <a:schemeClr val="tx1"/>
                </a:solidFill>
                <a:latin typeface="+mn-lt"/>
              </a:defRPr>
            </a:lvl1pPr>
          </a:lstStyle>
          <a:p>
            <a:pPr lvl="0"/>
            <a:r>
              <a:rPr lang="en-US"/>
              <a:t>Name</a:t>
            </a:r>
          </a:p>
        </p:txBody>
      </p:sp>
      <p:pic>
        <p:nvPicPr>
          <p:cNvPr id="7" name="Picture 6">
            <a:extLst>
              <a:ext uri="{FF2B5EF4-FFF2-40B4-BE49-F238E27FC236}">
                <a16:creationId xmlns:a16="http://schemas.microsoft.com/office/drawing/2014/main" id="{C22D12D3-343D-13A6-B150-E2C63CF070A6}"/>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959230" y="1179576"/>
            <a:ext cx="1256620" cy="2245015"/>
          </a:xfrm>
          <a:prstGeom prst="rect">
            <a:avLst/>
          </a:prstGeom>
        </p:spPr>
      </p:pic>
    </p:spTree>
    <p:extLst>
      <p:ext uri="{BB962C8B-B14F-4D97-AF65-F5344CB8AC3E}">
        <p14:creationId xmlns:p14="http://schemas.microsoft.com/office/powerpoint/2010/main" val="4283392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p15:clr>
            <a:srgbClr val="FBAE40"/>
          </p15:clr>
        </p15:guide>
        <p15:guide id="2" pos="18405">
          <p15:clr>
            <a:srgbClr val="5ACBF0"/>
          </p15:clr>
        </p15:guide>
        <p15:guide id="3" orient="horz" pos="2547">
          <p15:clr>
            <a:srgbClr val="5ACBF0"/>
          </p15:clr>
        </p15:guide>
        <p15:guide id="4" orient="horz" pos="334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72953-9124-276A-BB50-BD2F4C24D9BA}"/>
              </a:ext>
            </a:extLst>
          </p:cNvPr>
          <p:cNvSpPr>
            <a:spLocks noGrp="1"/>
          </p:cNvSpPr>
          <p:nvPr>
            <p:ph type="title"/>
          </p:nvPr>
        </p:nvSpPr>
        <p:spPr>
          <a:xfrm>
            <a:off x="644893" y="529389"/>
            <a:ext cx="4408369" cy="152801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6159689-30F3-F218-A97C-F85C6D2A04ED}"/>
              </a:ext>
            </a:extLst>
          </p:cNvPr>
          <p:cNvSpPr>
            <a:spLocks noGrp="1"/>
          </p:cNvSpPr>
          <p:nvPr>
            <p:ph type="pic" idx="1"/>
          </p:nvPr>
        </p:nvSpPr>
        <p:spPr>
          <a:xfrm>
            <a:off x="5274644" y="529389"/>
            <a:ext cx="6448926" cy="581365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B797312A-79E3-C52B-11B9-50A3F6DEE4D1}"/>
              </a:ext>
            </a:extLst>
          </p:cNvPr>
          <p:cNvSpPr>
            <a:spLocks noGrp="1"/>
          </p:cNvSpPr>
          <p:nvPr>
            <p:ph type="body" sz="half" idx="2"/>
          </p:nvPr>
        </p:nvSpPr>
        <p:spPr>
          <a:xfrm>
            <a:off x="644894" y="2057399"/>
            <a:ext cx="4408368" cy="427121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80111330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90"/>
            <a:ext cx="8026972" cy="2946033"/>
          </a:xfrm>
          <a:noFill/>
        </p:spPr>
        <p:txBody>
          <a:bodyPr wrap="square" lIns="0" tIns="0" rIns="0" bIns="0" anchor="b" anchorCtr="0">
            <a:normAutofit/>
          </a:bodyPr>
          <a:lstStyle>
            <a:lvl1pPr algn="l" defTabSz="233215" rtl="0" eaLnBrk="1" latinLnBrk="0" hangingPunct="1">
              <a:lnSpc>
                <a:spcPct val="90000"/>
              </a:lnSpc>
              <a:spcBef>
                <a:spcPct val="0"/>
              </a:spcBef>
              <a:buNone/>
              <a:defRPr lang="en-US" sz="2000" b="0" kern="1200" cap="none" spc="-13"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230832"/>
          </a:xfrm>
          <a:noFill/>
        </p:spPr>
        <p:txBody>
          <a:bodyPr wrap="square" lIns="0" tIns="0" rIns="0" bIns="0">
            <a:spAutoFit/>
          </a:bodyPr>
          <a:lstStyle>
            <a:lvl1pPr marL="0" indent="0">
              <a:spcBef>
                <a:spcPts val="0"/>
              </a:spcBef>
              <a:spcAft>
                <a:spcPts val="0"/>
              </a:spcAft>
              <a:buFont typeface="Arial" panose="020B0604020202020204" pitchFamily="34" charset="0"/>
              <a:buNone/>
              <a:defRPr sz="1500" spc="0" baseline="0">
                <a:solidFill>
                  <a:schemeClr val="tx1"/>
                </a:solidFill>
                <a:latin typeface="+mn-lt"/>
              </a:defRPr>
            </a:lvl1pPr>
          </a:lstStyle>
          <a:p>
            <a:pPr lvl="0"/>
            <a:r>
              <a:rPr lang="en-US"/>
              <a:t>Name</a:t>
            </a:r>
          </a:p>
        </p:txBody>
      </p:sp>
      <p:pic>
        <p:nvPicPr>
          <p:cNvPr id="6" name="Picture 5">
            <a:extLst>
              <a:ext uri="{FF2B5EF4-FFF2-40B4-BE49-F238E27FC236}">
                <a16:creationId xmlns:a16="http://schemas.microsoft.com/office/drawing/2014/main" id="{2662FA53-80A3-EF19-4DA1-836633BA5E87}"/>
              </a:ext>
            </a:extLst>
          </p:cNvPr>
          <p:cNvPicPr>
            <a:picLocks noChangeAspect="1"/>
          </p:cNvPicPr>
          <p:nvPr userDrawn="1"/>
        </p:nvPicPr>
        <p:blipFill>
          <a:blip r:embed="rId2"/>
          <a:stretch>
            <a:fillRect/>
          </a:stretch>
        </p:blipFill>
        <p:spPr bwMode="black">
          <a:xfrm>
            <a:off x="1959519" y="1177603"/>
            <a:ext cx="1561151" cy="2795237"/>
          </a:xfrm>
          <a:prstGeom prst="rect">
            <a:avLst/>
          </a:prstGeom>
        </p:spPr>
      </p:pic>
    </p:spTree>
    <p:extLst>
      <p:ext uri="{BB962C8B-B14F-4D97-AF65-F5344CB8AC3E}">
        <p14:creationId xmlns:p14="http://schemas.microsoft.com/office/powerpoint/2010/main" val="38851283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p15:clr>
            <a:srgbClr val="FBAE40"/>
          </p15:clr>
        </p15:guide>
        <p15:guide id="2" pos="18405">
          <p15:clr>
            <a:srgbClr val="5ACBF0"/>
          </p15:clr>
        </p15:guide>
        <p15:guide id="3" orient="horz" pos="2547">
          <p15:clr>
            <a:srgbClr val="5ACBF0"/>
          </p15:clr>
        </p15:guide>
        <p15:guide id="4" orient="horz" pos="3340">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33635"/>
            <a:ext cx="9144000" cy="398186"/>
          </a:xfrm>
          <a:noFill/>
        </p:spPr>
        <p:txBody>
          <a:bodyPr lIns="0" tIns="0" rIns="0" bIns="0" anchor="b" anchorCtr="0">
            <a:spAutoFit/>
          </a:bodyPr>
          <a:lstStyle>
            <a:lvl1pPr algn="l" defTabSz="233215" rtl="0" eaLnBrk="1" latinLnBrk="0" hangingPunct="1">
              <a:lnSpc>
                <a:spcPct val="90000"/>
              </a:lnSpc>
              <a:spcBef>
                <a:spcPct val="0"/>
              </a:spcBef>
              <a:buNone/>
              <a:defRPr lang="en-US" sz="2875" b="0" kern="1200" cap="none" spc="-13"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276999"/>
          </a:xfrm>
          <a:noFill/>
        </p:spPr>
        <p:txBody>
          <a:bodyPr lIns="0" tIns="0" rIns="0" bIns="0">
            <a:spAutoFit/>
          </a:bodyPr>
          <a:lstStyle>
            <a:lvl1pPr marL="0" indent="0">
              <a:spcBef>
                <a:spcPts val="0"/>
              </a:spcBef>
              <a:spcAft>
                <a:spcPts val="0"/>
              </a:spcAft>
              <a:buFont typeface="Arial" panose="020B0604020202020204" pitchFamily="34" charset="0"/>
              <a:buNone/>
              <a:defRPr sz="18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8656129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p15:clr>
            <a:srgbClr val="FBAE40"/>
          </p15:clr>
        </p15:guide>
        <p15:guide id="2" pos="18405">
          <p15:clr>
            <a:srgbClr val="5ACBF0"/>
          </p15:clr>
        </p15:guide>
        <p15:guide id="3" orient="horz" pos="2547">
          <p15:clr>
            <a:srgbClr val="5ACBF0"/>
          </p15:clr>
        </p15:guide>
        <p15:guide id="4" orient="horz" pos="3340">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33635"/>
            <a:ext cx="9144000" cy="398186"/>
          </a:xfrm>
          <a:noFill/>
        </p:spPr>
        <p:txBody>
          <a:bodyPr lIns="0" tIns="0" rIns="0" bIns="0" anchor="b" anchorCtr="0">
            <a:spAutoFit/>
          </a:bodyPr>
          <a:lstStyle>
            <a:lvl1pPr algn="l" defTabSz="233215" rtl="0" eaLnBrk="1" latinLnBrk="0" hangingPunct="1">
              <a:lnSpc>
                <a:spcPct val="90000"/>
              </a:lnSpc>
              <a:spcBef>
                <a:spcPct val="0"/>
              </a:spcBef>
              <a:buNone/>
              <a:defRPr lang="en-US" sz="2875" b="0" kern="1200" cap="none" spc="-13"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276999"/>
          </a:xfrm>
          <a:noFill/>
        </p:spPr>
        <p:txBody>
          <a:bodyPr lIns="0" tIns="0" rIns="0" bIns="0">
            <a:spAutoFit/>
          </a:bodyPr>
          <a:lstStyle>
            <a:lvl1pPr marL="0" indent="0">
              <a:spcBef>
                <a:spcPts val="0"/>
              </a:spcBef>
              <a:spcAft>
                <a:spcPts val="0"/>
              </a:spcAft>
              <a:buFont typeface="Arial" panose="020B0604020202020204" pitchFamily="34" charset="0"/>
              <a:buNone/>
              <a:defRPr sz="18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2539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p15:clr>
            <a:srgbClr val="FBAE40"/>
          </p15:clr>
        </p15:guide>
        <p15:guide id="2" pos="18405">
          <p15:clr>
            <a:srgbClr val="5ACBF0"/>
          </p15:clr>
        </p15:guide>
        <p15:guide id="3" orient="horz" pos="2547">
          <p15:clr>
            <a:srgbClr val="5ACBF0"/>
          </p15:clr>
        </p15:guide>
        <p15:guide id="4" orient="horz" pos="334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33635"/>
            <a:ext cx="9144000" cy="398186"/>
          </a:xfrm>
          <a:noFill/>
        </p:spPr>
        <p:txBody>
          <a:bodyPr lIns="0" tIns="0" rIns="0" bIns="0" anchor="b" anchorCtr="0">
            <a:spAutoFit/>
          </a:bodyPr>
          <a:lstStyle>
            <a:lvl1pPr algn="l" defTabSz="233215" rtl="0" eaLnBrk="1" latinLnBrk="0" hangingPunct="1">
              <a:lnSpc>
                <a:spcPct val="90000"/>
              </a:lnSpc>
              <a:spcBef>
                <a:spcPct val="0"/>
              </a:spcBef>
              <a:buNone/>
              <a:defRPr lang="en-US" sz="2875" b="0" kern="1200" cap="none" spc="-13"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276999"/>
          </a:xfrm>
          <a:noFill/>
        </p:spPr>
        <p:txBody>
          <a:bodyPr lIns="0" tIns="0" rIns="0" bIns="0">
            <a:spAutoFit/>
          </a:bodyPr>
          <a:lstStyle>
            <a:lvl1pPr marL="0" indent="0">
              <a:spcBef>
                <a:spcPts val="0"/>
              </a:spcBef>
              <a:spcAft>
                <a:spcPts val="0"/>
              </a:spcAft>
              <a:buFont typeface="Arial" panose="020B0604020202020204" pitchFamily="34" charset="0"/>
              <a:buNone/>
              <a:defRPr sz="18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37441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p15:clr>
            <a:srgbClr val="FBAE40"/>
          </p15:clr>
        </p15:guide>
        <p15:guide id="2" pos="18405">
          <p15:clr>
            <a:srgbClr val="5ACBF0"/>
          </p15:clr>
        </p15:guide>
        <p15:guide id="3" orient="horz" pos="2547">
          <p15:clr>
            <a:srgbClr val="5ACBF0"/>
          </p15:clr>
        </p15:guide>
        <p15:guide id="4" orient="horz" pos="3340">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285108"/>
            <a:ext cx="9144000" cy="249299"/>
          </a:xfrm>
          <a:noFill/>
        </p:spPr>
        <p:txBody>
          <a:bodyPr lIns="0" tIns="0" rIns="0" bIns="0" anchor="b" anchorCtr="0">
            <a:spAutoFit/>
          </a:bodyPr>
          <a:lstStyle>
            <a:lvl1pPr algn="l" defTabSz="233215" rtl="0" eaLnBrk="1" latinLnBrk="0" hangingPunct="1">
              <a:lnSpc>
                <a:spcPct val="90000"/>
              </a:lnSpc>
              <a:spcBef>
                <a:spcPct val="0"/>
              </a:spcBef>
              <a:buNone/>
              <a:defRPr lang="en-US" sz="1800" b="0" kern="1200" cap="none" spc="-13"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856189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p15:clr>
            <a:srgbClr val="FBAE40"/>
          </p15:clr>
        </p15:guide>
        <p15:guide id="2" pos="18381">
          <p15:clr>
            <a:srgbClr val="5ACBF0"/>
          </p15:clr>
        </p15:guide>
        <p15:guide id="3" orient="horz" pos="254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409757"/>
            <a:ext cx="9144000" cy="124650"/>
          </a:xfrm>
          <a:noFill/>
        </p:spPr>
        <p:txBody>
          <a:bodyPr lIns="0" tIns="0" rIns="0" bIns="0" anchor="b" anchorCtr="0">
            <a:spAutoFit/>
          </a:bodyPr>
          <a:lstStyle>
            <a:lvl1pPr algn="l" defTabSz="233215" rtl="0" eaLnBrk="1" latinLnBrk="0" hangingPunct="1">
              <a:lnSpc>
                <a:spcPct val="90000"/>
              </a:lnSpc>
              <a:spcBef>
                <a:spcPct val="0"/>
              </a:spcBef>
              <a:buNone/>
              <a:defRPr lang="en-US" sz="900" b="0" kern="1200" cap="none" spc="-13"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48019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p15:clr>
            <a:srgbClr val="FBAE40"/>
          </p15:clr>
        </p15:guide>
        <p15:guide id="2" pos="18405">
          <p15:clr>
            <a:srgbClr val="5ACBF0"/>
          </p15:clr>
        </p15:guide>
        <p15:guide id="3" orient="horz" pos="2547">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409757"/>
            <a:ext cx="9144000" cy="124650"/>
          </a:xfrm>
          <a:noFill/>
        </p:spPr>
        <p:txBody>
          <a:bodyPr lIns="0" tIns="0" rIns="0" bIns="0" anchor="b" anchorCtr="0">
            <a:spAutoFit/>
          </a:bodyPr>
          <a:lstStyle>
            <a:lvl1pPr algn="l" defTabSz="233215" rtl="0" eaLnBrk="1" latinLnBrk="0" hangingPunct="1">
              <a:lnSpc>
                <a:spcPct val="90000"/>
              </a:lnSpc>
              <a:spcBef>
                <a:spcPct val="0"/>
              </a:spcBef>
              <a:buNone/>
              <a:defRPr lang="en-US" sz="900" b="0" kern="1200" cap="none" spc="-13"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61350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p15:clr>
            <a:srgbClr val="FBAE40"/>
          </p15:clr>
        </p15:guide>
        <p15:guide id="2" pos="18405">
          <p15:clr>
            <a:srgbClr val="5ACBF0"/>
          </p15:clr>
        </p15:guide>
        <p15:guide id="3" orient="horz" pos="2547">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409757"/>
            <a:ext cx="3948684" cy="124650"/>
          </a:xfrm>
          <a:noFill/>
        </p:spPr>
        <p:txBody>
          <a:bodyPr wrap="square" lIns="0" tIns="0" rIns="0" bIns="0" anchor="b" anchorCtr="0">
            <a:spAutoFit/>
          </a:bodyPr>
          <a:lstStyle>
            <a:lvl1pPr algn="l" defTabSz="233215" rtl="0" eaLnBrk="1" latinLnBrk="0" hangingPunct="1">
              <a:lnSpc>
                <a:spcPct val="90000"/>
              </a:lnSpc>
              <a:spcBef>
                <a:spcPct val="0"/>
              </a:spcBef>
              <a:buNone/>
              <a:defRPr lang="en-US" sz="900" b="0" kern="1200" cap="none" spc="-13"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3475963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p15:clr>
            <a:srgbClr val="FBAE40"/>
          </p15:clr>
        </p15:guide>
        <p15:guide id="2" pos="18405">
          <p15:clr>
            <a:srgbClr val="5ACBF0"/>
          </p15:clr>
        </p15:guide>
        <p15:guide id="3" orient="horz" pos="2547">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409757"/>
            <a:ext cx="3948684" cy="124650"/>
          </a:xfrm>
          <a:noFill/>
        </p:spPr>
        <p:txBody>
          <a:bodyPr wrap="square" lIns="0" tIns="0" rIns="0" bIns="0" anchor="b" anchorCtr="0">
            <a:spAutoFit/>
          </a:bodyPr>
          <a:lstStyle>
            <a:lvl1pPr algn="l" defTabSz="233215" rtl="0" eaLnBrk="1" latinLnBrk="0" hangingPunct="1">
              <a:lnSpc>
                <a:spcPct val="90000"/>
              </a:lnSpc>
              <a:spcBef>
                <a:spcPct val="0"/>
              </a:spcBef>
              <a:buNone/>
              <a:defRPr lang="en-US" sz="900" b="0" kern="1200" cap="none" spc="-13"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2"/>
            <a:ext cx="6921500" cy="6857999"/>
          </a:xfrm>
          <a:prstGeom prst="rect">
            <a:avLst/>
          </a:prstGeom>
          <a:solidFill>
            <a:srgbClr val="0078D4"/>
          </a:solidFill>
        </p:spPr>
      </p:pic>
    </p:spTree>
    <p:extLst>
      <p:ext uri="{BB962C8B-B14F-4D97-AF65-F5344CB8AC3E}">
        <p14:creationId xmlns:p14="http://schemas.microsoft.com/office/powerpoint/2010/main" val="40144063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p15:clr>
            <a:srgbClr val="FBAE40"/>
          </p15:clr>
        </p15:guide>
        <p15:guide id="2" pos="18405">
          <p15:clr>
            <a:srgbClr val="5ACBF0"/>
          </p15:clr>
        </p15:guide>
        <p15:guide id="3" orient="horz" pos="2547">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36576" rIns="45720" bIns="36576" numCol="1" spcCol="0" rtlCol="0" fromWordArt="0" anchor="t" anchorCtr="0" forceAA="0" compatLnSpc="1">
            <a:prstTxWarp prst="textNoShape">
              <a:avLst/>
            </a:prstTxWarp>
            <a:noAutofit/>
          </a:bodyPr>
          <a:lstStyle/>
          <a:p>
            <a:pPr algn="l" defTabSz="233147" fontAlgn="base">
              <a:spcBef>
                <a:spcPct val="0"/>
              </a:spcBef>
              <a:spcAft>
                <a:spcPct val="0"/>
              </a:spcAft>
            </a:pPr>
            <a:endParaRPr lang="en-US" sz="5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409757"/>
            <a:ext cx="3948684" cy="124650"/>
          </a:xfrm>
          <a:noFill/>
        </p:spPr>
        <p:txBody>
          <a:bodyPr wrap="square" lIns="0" tIns="0" rIns="0" bIns="0" anchor="b" anchorCtr="0">
            <a:spAutoFit/>
          </a:bodyPr>
          <a:lstStyle>
            <a:lvl1pPr algn="l" defTabSz="233215" rtl="0" eaLnBrk="1" latinLnBrk="0" hangingPunct="1">
              <a:lnSpc>
                <a:spcPct val="90000"/>
              </a:lnSpc>
              <a:spcBef>
                <a:spcPct val="0"/>
              </a:spcBef>
              <a:buNone/>
              <a:defRPr lang="en-US" sz="900" b="0" kern="1200" cap="none" spc="-13"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5270500" y="2241551"/>
            <a:ext cx="6921500" cy="2374900"/>
          </a:xfrm>
          <a:prstGeom prst="rect">
            <a:avLst/>
          </a:prstGeom>
        </p:spPr>
      </p:pic>
    </p:spTree>
    <p:extLst>
      <p:ext uri="{BB962C8B-B14F-4D97-AF65-F5344CB8AC3E}">
        <p14:creationId xmlns:p14="http://schemas.microsoft.com/office/powerpoint/2010/main" val="3302384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p15:clr>
            <a:srgbClr val="FBAE40"/>
          </p15:clr>
        </p15:guide>
        <p15:guide id="2" pos="18405">
          <p15:clr>
            <a:srgbClr val="5ACBF0"/>
          </p15:clr>
        </p15:guide>
        <p15:guide id="3" orient="horz" pos="2547">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sv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theme" Target="../theme/theme2.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image" Target="../media/image2.sv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image" Target="../media/image1.pn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66.xml"/><Relationship Id="rId21" Type="http://schemas.openxmlformats.org/officeDocument/2006/relationships/slideLayout" Target="../slideLayouts/slideLayout61.xml"/><Relationship Id="rId42" Type="http://schemas.openxmlformats.org/officeDocument/2006/relationships/slideLayout" Target="../slideLayouts/slideLayout82.xml"/><Relationship Id="rId47" Type="http://schemas.openxmlformats.org/officeDocument/2006/relationships/slideLayout" Target="../slideLayouts/slideLayout87.xml"/><Relationship Id="rId63" Type="http://schemas.openxmlformats.org/officeDocument/2006/relationships/slideLayout" Target="../slideLayouts/slideLayout103.xml"/><Relationship Id="rId68" Type="http://schemas.openxmlformats.org/officeDocument/2006/relationships/slideLayout" Target="../slideLayouts/slideLayout108.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9" Type="http://schemas.openxmlformats.org/officeDocument/2006/relationships/slideLayout" Target="../slideLayouts/slideLayout69.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slideLayout" Target="../slideLayouts/slideLayout85.xml"/><Relationship Id="rId53" Type="http://schemas.openxmlformats.org/officeDocument/2006/relationships/slideLayout" Target="../slideLayouts/slideLayout93.xml"/><Relationship Id="rId58" Type="http://schemas.openxmlformats.org/officeDocument/2006/relationships/slideLayout" Target="../slideLayouts/slideLayout98.xml"/><Relationship Id="rId66" Type="http://schemas.openxmlformats.org/officeDocument/2006/relationships/slideLayout" Target="../slideLayouts/slideLayout106.xml"/><Relationship Id="rId5" Type="http://schemas.openxmlformats.org/officeDocument/2006/relationships/slideLayout" Target="../slideLayouts/slideLayout45.xml"/><Relationship Id="rId61" Type="http://schemas.openxmlformats.org/officeDocument/2006/relationships/slideLayout" Target="../slideLayouts/slideLayout101.xml"/><Relationship Id="rId19" Type="http://schemas.openxmlformats.org/officeDocument/2006/relationships/slideLayout" Target="../slideLayouts/slideLayout5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slideLayout" Target="../slideLayouts/slideLayout83.xml"/><Relationship Id="rId48" Type="http://schemas.openxmlformats.org/officeDocument/2006/relationships/slideLayout" Target="../slideLayouts/slideLayout88.xml"/><Relationship Id="rId56" Type="http://schemas.openxmlformats.org/officeDocument/2006/relationships/slideLayout" Target="../slideLayouts/slideLayout96.xml"/><Relationship Id="rId64" Type="http://schemas.openxmlformats.org/officeDocument/2006/relationships/slideLayout" Target="../slideLayouts/slideLayout104.xml"/><Relationship Id="rId69" Type="http://schemas.openxmlformats.org/officeDocument/2006/relationships/theme" Target="../theme/theme3.xml"/><Relationship Id="rId8" Type="http://schemas.openxmlformats.org/officeDocument/2006/relationships/slideLayout" Target="../slideLayouts/slideLayout48.xml"/><Relationship Id="rId51" Type="http://schemas.openxmlformats.org/officeDocument/2006/relationships/slideLayout" Target="../slideLayouts/slideLayout91.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slideLayout" Target="../slideLayouts/slideLayout86.xml"/><Relationship Id="rId59" Type="http://schemas.openxmlformats.org/officeDocument/2006/relationships/slideLayout" Target="../slideLayouts/slideLayout99.xml"/><Relationship Id="rId67" Type="http://schemas.openxmlformats.org/officeDocument/2006/relationships/slideLayout" Target="../slideLayouts/slideLayout107.xml"/><Relationship Id="rId20" Type="http://schemas.openxmlformats.org/officeDocument/2006/relationships/slideLayout" Target="../slideLayouts/slideLayout60.xml"/><Relationship Id="rId41" Type="http://schemas.openxmlformats.org/officeDocument/2006/relationships/slideLayout" Target="../slideLayouts/slideLayout81.xml"/><Relationship Id="rId54" Type="http://schemas.openxmlformats.org/officeDocument/2006/relationships/slideLayout" Target="../slideLayouts/slideLayout94.xml"/><Relationship Id="rId62" Type="http://schemas.openxmlformats.org/officeDocument/2006/relationships/slideLayout" Target="../slideLayouts/slideLayout102.xml"/><Relationship Id="rId70" Type="http://schemas.openxmlformats.org/officeDocument/2006/relationships/image" Target="../media/image19.emf"/><Relationship Id="rId1" Type="http://schemas.openxmlformats.org/officeDocument/2006/relationships/slideLayout" Target="../slideLayouts/slideLayout41.xml"/><Relationship Id="rId6" Type="http://schemas.openxmlformats.org/officeDocument/2006/relationships/slideLayout" Target="../slideLayouts/slideLayout46.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49" Type="http://schemas.openxmlformats.org/officeDocument/2006/relationships/slideLayout" Target="../slideLayouts/slideLayout89.xml"/><Relationship Id="rId57" Type="http://schemas.openxmlformats.org/officeDocument/2006/relationships/slideLayout" Target="../slideLayouts/slideLayout97.xml"/><Relationship Id="rId10" Type="http://schemas.openxmlformats.org/officeDocument/2006/relationships/slideLayout" Target="../slideLayouts/slideLayout50.xml"/><Relationship Id="rId31" Type="http://schemas.openxmlformats.org/officeDocument/2006/relationships/slideLayout" Target="../slideLayouts/slideLayout71.xml"/><Relationship Id="rId44" Type="http://schemas.openxmlformats.org/officeDocument/2006/relationships/slideLayout" Target="../slideLayouts/slideLayout84.xml"/><Relationship Id="rId52" Type="http://schemas.openxmlformats.org/officeDocument/2006/relationships/slideLayout" Target="../slideLayouts/slideLayout92.xml"/><Relationship Id="rId60" Type="http://schemas.openxmlformats.org/officeDocument/2006/relationships/slideLayout" Target="../slideLayouts/slideLayout100.xml"/><Relationship Id="rId65" Type="http://schemas.openxmlformats.org/officeDocument/2006/relationships/slideLayout" Target="../slideLayouts/slideLayout105.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9" Type="http://schemas.openxmlformats.org/officeDocument/2006/relationships/slideLayout" Target="../slideLayouts/slideLayout79.xml"/><Relationship Id="rId34" Type="http://schemas.openxmlformats.org/officeDocument/2006/relationships/slideLayout" Target="../slideLayouts/slideLayout74.xml"/><Relationship Id="rId50" Type="http://schemas.openxmlformats.org/officeDocument/2006/relationships/slideLayout" Target="../slideLayouts/slideLayout90.xml"/><Relationship Id="rId55"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a:gsLst>
            <a:gs pos="2000">
              <a:srgbClr val="0179D4"/>
            </a:gs>
            <a:gs pos="32000">
              <a:srgbClr val="2CB6FF"/>
            </a:gs>
            <a:gs pos="44000">
              <a:srgbClr val="2DB6FF"/>
            </a:gs>
            <a:gs pos="81000">
              <a:srgbClr val="D962FA"/>
            </a:gs>
            <a:gs pos="96000">
              <a:srgbClr val="F69991"/>
            </a:gs>
          </a:gsLst>
          <a:lin ang="3600000" scaled="0"/>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1779380-DB64-E27C-EF2B-4D639D0DD6E5}"/>
              </a:ext>
            </a:extLst>
          </p:cNvPr>
          <p:cNvSpPr/>
          <p:nvPr userDrawn="1"/>
        </p:nvSpPr>
        <p:spPr>
          <a:xfrm>
            <a:off x="0" y="0"/>
            <a:ext cx="12253119" cy="6858000"/>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A1502A43-35BF-C9C6-7D79-A62726DAF0E1}"/>
              </a:ext>
            </a:extLst>
          </p:cNvPr>
          <p:cNvSpPr>
            <a:spLocks noGrp="1"/>
          </p:cNvSpPr>
          <p:nvPr>
            <p:ph type="title"/>
          </p:nvPr>
        </p:nvSpPr>
        <p:spPr>
          <a:xfrm>
            <a:off x="659219" y="365126"/>
            <a:ext cx="11025680" cy="10720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491B4E4-1133-B3EF-552E-8A42ED9C69D6}"/>
              </a:ext>
            </a:extLst>
          </p:cNvPr>
          <p:cNvSpPr>
            <a:spLocks noGrp="1"/>
          </p:cNvSpPr>
          <p:nvPr>
            <p:ph type="body" idx="1"/>
          </p:nvPr>
        </p:nvSpPr>
        <p:spPr>
          <a:xfrm>
            <a:off x="659217" y="1519296"/>
            <a:ext cx="11025681" cy="465766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Graphic 7">
            <a:extLst>
              <a:ext uri="{FF2B5EF4-FFF2-40B4-BE49-F238E27FC236}">
                <a16:creationId xmlns:a16="http://schemas.microsoft.com/office/drawing/2014/main" id="{81362433-F7BA-721F-BF73-B10705AF3615}"/>
              </a:ext>
            </a:extLst>
          </p:cNvPr>
          <p:cNvPicPr>
            <a:picLocks noChangeAspect="1"/>
          </p:cNvPicPr>
          <p:nvPr userDrawn="1"/>
        </p:nvPicPr>
        <p:blipFill>
          <a:blip r:embed="rId25">
            <a:extLst>
              <a:ext uri="{96DAC541-7B7A-43D3-8B79-37D633B846F1}">
                <asvg:svgBlip xmlns:asvg="http://schemas.microsoft.com/office/drawing/2016/SVG/main" r:embed="rId26"/>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74843748"/>
      </p:ext>
    </p:extLst>
  </p:cSld>
  <p:clrMap bg1="lt1" tx1="dk1" bg2="lt2" tx2="dk2" accent1="accent1" accent2="accent2" accent3="accent3" accent4="accent4" accent5="accent5" accent6="accent6" hlink="hlink" folHlink="folHlink"/>
  <p:sldLayoutIdLst>
    <p:sldLayoutId id="2147483665" r:id="rId1"/>
    <p:sldLayoutId id="2147483661" r:id="rId2"/>
    <p:sldLayoutId id="2147483650" r:id="rId3"/>
    <p:sldLayoutId id="2147483671" r:id="rId4"/>
    <p:sldLayoutId id="2147483652" r:id="rId5"/>
    <p:sldLayoutId id="2147483653" r:id="rId6"/>
    <p:sldLayoutId id="2147483654" r:id="rId7"/>
    <p:sldLayoutId id="2147483656" r:id="rId8"/>
    <p:sldLayoutId id="2147483657" r:id="rId9"/>
    <p:sldLayoutId id="2147483670" r:id="rId10"/>
    <p:sldLayoutId id="2147483655" r:id="rId11"/>
    <p:sldLayoutId id="2147483668" r:id="rId12"/>
    <p:sldLayoutId id="2147483666" r:id="rId13"/>
    <p:sldLayoutId id="2147483673" r:id="rId14"/>
    <p:sldLayoutId id="2147483674" r:id="rId15"/>
    <p:sldLayoutId id="2147483891" r:id="rId16"/>
    <p:sldLayoutId id="2147484061" r:id="rId17"/>
    <p:sldLayoutId id="2147484021" r:id="rId18"/>
    <p:sldLayoutId id="2147484023" r:id="rId19"/>
    <p:sldLayoutId id="2147484025" r:id="rId20"/>
    <p:sldLayoutId id="2147484053" r:id="rId21"/>
    <p:sldLayoutId id="2147484065" r:id="rId22"/>
    <p:sldLayoutId id="2147484066" r:id="rId23"/>
  </p:sldLayoutIdLst>
  <p:txStyles>
    <p:titleStyle>
      <a:lvl1pPr algn="ctr" defTabSz="914400" rtl="0" eaLnBrk="1" latinLnBrk="0" hangingPunct="1">
        <a:lnSpc>
          <a:spcPct val="90000"/>
        </a:lnSpc>
        <a:spcBef>
          <a:spcPct val="0"/>
        </a:spcBef>
        <a:buNone/>
        <a:defRPr sz="4200" b="1" kern="1200">
          <a:solidFill>
            <a:srgbClr val="091F2C"/>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91F2C"/>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91F2C"/>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91F2C"/>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91F2C"/>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91F2C"/>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8045" y="496342"/>
            <a:ext cx="9624342" cy="32842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438045" y="1596571"/>
            <a:ext cx="9624342" cy="8973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373" tIns="86699" rIns="108373" bIns="86699" numCol="1" spcCol="0" rtlCol="0" fromWordArt="0" anchor="t" anchorCtr="0" forceAA="0" compatLnSpc="1">
            <a:prstTxWarp prst="textNoShape">
              <a:avLst/>
            </a:prstTxWarp>
            <a:noAutofit/>
          </a:bodyPr>
          <a:lstStyle/>
          <a:p>
            <a:pPr algn="ctr" defTabSz="552577" fontAlgn="base">
              <a:lnSpc>
                <a:spcPct val="90000"/>
              </a:lnSpc>
              <a:spcBef>
                <a:spcPct val="0"/>
              </a:spcBef>
              <a:spcAft>
                <a:spcPct val="0"/>
              </a:spcAft>
            </a:pPr>
            <a:endParaRPr lang="en-US" sz="1422">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373" tIns="86699" rIns="108373" bIns="86699" numCol="1" spcCol="0" rtlCol="0" fromWordArt="0" anchor="t" anchorCtr="0" forceAA="0" compatLnSpc="1">
            <a:prstTxWarp prst="textNoShape">
              <a:avLst/>
            </a:prstTxWarp>
            <a:noAutofit/>
          </a:bodyPr>
          <a:lstStyle/>
          <a:p>
            <a:pPr algn="ctr" defTabSz="552577" fontAlgn="base">
              <a:lnSpc>
                <a:spcPct val="90000"/>
              </a:lnSpc>
              <a:spcBef>
                <a:spcPct val="0"/>
              </a:spcBef>
              <a:spcAft>
                <a:spcPct val="0"/>
              </a:spcAft>
            </a:pPr>
            <a:endParaRPr lang="en-US" sz="1422">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847EAFB1-E842-2701-D62C-A39A294103BC}"/>
              </a:ext>
            </a:extLst>
          </p:cNvPr>
          <p:cNvPicPr>
            <a:picLocks noChangeAspect="1"/>
          </p:cNvPicPr>
          <p:nvPr userDrawn="1"/>
        </p:nvPicPr>
        <p:blipFill>
          <a:blip r:embed="rId19">
            <a:extLst>
              <a:ext uri="{96DAC541-7B7A-43D3-8B79-37D633B846F1}">
                <asvg:svgBlip xmlns:asvg="http://schemas.microsoft.com/office/drawing/2016/SVG/main" r:embed="rId20"/>
              </a:ext>
            </a:extLst>
          </a:blip>
          <a:stretch/>
        </p:blipFill>
        <p:spPr>
          <a:xfrm rot="16200000">
            <a:off x="9351134" y="2882779"/>
            <a:ext cx="6858000" cy="1092442"/>
          </a:xfrm>
          <a:prstGeom prst="rect">
            <a:avLst/>
          </a:prstGeom>
        </p:spPr>
      </p:pic>
    </p:spTree>
    <p:extLst>
      <p:ext uri="{BB962C8B-B14F-4D97-AF65-F5344CB8AC3E}">
        <p14:creationId xmlns:p14="http://schemas.microsoft.com/office/powerpoint/2010/main" val="3921708478"/>
      </p:ext>
    </p:extLst>
  </p:cSld>
  <p:clrMap bg1="dk1" tx1="lt1" bg2="dk2" tx2="lt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4079" r:id="rId11"/>
    <p:sldLayoutId id="2147484080" r:id="rId12"/>
    <p:sldLayoutId id="2147484081" r:id="rId13"/>
    <p:sldLayoutId id="2147484082" r:id="rId14"/>
    <p:sldLayoutId id="2147484083" r:id="rId15"/>
    <p:sldLayoutId id="2147484084" r:id="rId16"/>
    <p:sldLayoutId id="2147484085" r:id="rId17"/>
  </p:sldLayoutIdLst>
  <p:transition>
    <p:fade/>
  </p:transition>
  <p:hf sldNum="0" hdr="0" ftr="0" dt="0"/>
  <p:txStyles>
    <p:titleStyle>
      <a:lvl1pPr algn="l" defTabSz="552737" rtl="0" eaLnBrk="1" latinLnBrk="0" hangingPunct="1">
        <a:lnSpc>
          <a:spcPct val="100000"/>
        </a:lnSpc>
        <a:spcBef>
          <a:spcPct val="0"/>
        </a:spcBef>
        <a:buNone/>
        <a:defRPr lang="en-US" sz="2134" b="0" kern="1200" cap="none" spc="-30" baseline="0" dirty="0" smtClean="0">
          <a:ln w="3175">
            <a:noFill/>
          </a:ln>
          <a:solidFill>
            <a:schemeClr val="tx1"/>
          </a:solidFill>
          <a:effectLst/>
          <a:latin typeface="+mj-lt"/>
          <a:ea typeface="+mn-ea"/>
          <a:cs typeface="Segoe UI" pitchFamily="34" charset="0"/>
        </a:defRPr>
      </a:lvl1pPr>
    </p:titleStyle>
    <p:bodyStyle>
      <a:lvl1pPr marL="135467" marR="0" indent="-135467" algn="l" defTabSz="55273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65" kern="1200" spc="0" baseline="0">
          <a:solidFill>
            <a:schemeClr val="tx1"/>
          </a:solidFill>
          <a:latin typeface="+mn-lt"/>
          <a:ea typeface="+mn-ea"/>
          <a:cs typeface="Segoe UI" panose="020B0502040204020203" pitchFamily="34" charset="0"/>
        </a:defRPr>
      </a:lvl1pPr>
      <a:lvl2pPr marL="270934" marR="0" indent="-135467" algn="l" defTabSz="55273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38" kern="1200" spc="0" baseline="0">
          <a:solidFill>
            <a:schemeClr val="tx1"/>
          </a:solidFill>
          <a:latin typeface="+mn-lt"/>
          <a:ea typeface="+mn-ea"/>
          <a:cs typeface="+mn-cs"/>
        </a:defRPr>
      </a:lvl2pPr>
      <a:lvl3pPr marL="389467" marR="0" indent="-118534" algn="l" defTabSz="55273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996" kern="1200" spc="0" baseline="0">
          <a:solidFill>
            <a:schemeClr val="tx1"/>
          </a:solidFill>
          <a:latin typeface="+mn-lt"/>
          <a:ea typeface="+mn-ea"/>
          <a:cs typeface="+mn-cs"/>
        </a:defRPr>
      </a:lvl3pPr>
      <a:lvl4pPr marL="499534" marR="0" indent="-107245" algn="l" defTabSz="55273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711" kern="1200" spc="0" baseline="0">
          <a:solidFill>
            <a:schemeClr val="tx1"/>
          </a:solidFill>
          <a:latin typeface="+mn-lt"/>
          <a:ea typeface="+mn-ea"/>
          <a:cs typeface="+mn-cs"/>
        </a:defRPr>
      </a:lvl4pPr>
      <a:lvl5pPr marL="606779" marR="0" indent="-99719" algn="l" defTabSz="55273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711" kern="1200" spc="0" baseline="0">
          <a:solidFill>
            <a:schemeClr val="tx1"/>
          </a:solidFill>
          <a:latin typeface="+mn-lt"/>
          <a:ea typeface="+mn-ea"/>
          <a:cs typeface="+mn-cs"/>
        </a:defRPr>
      </a:lvl5pPr>
      <a:lvl6pPr marL="1520026" indent="-138184" algn="l" defTabSz="552737" rtl="0" eaLnBrk="1" latinLnBrk="0" hangingPunct="1">
        <a:spcBef>
          <a:spcPct val="20000"/>
        </a:spcBef>
        <a:buFont typeface="Arial" pitchFamily="34" charset="0"/>
        <a:buChar char="•"/>
        <a:defRPr sz="1185" kern="1200">
          <a:solidFill>
            <a:schemeClr val="tx1"/>
          </a:solidFill>
          <a:latin typeface="+mn-lt"/>
          <a:ea typeface="+mn-ea"/>
          <a:cs typeface="+mn-cs"/>
        </a:defRPr>
      </a:lvl6pPr>
      <a:lvl7pPr marL="1796395" indent="-138184" algn="l" defTabSz="552737" rtl="0" eaLnBrk="1" latinLnBrk="0" hangingPunct="1">
        <a:spcBef>
          <a:spcPct val="20000"/>
        </a:spcBef>
        <a:buFont typeface="Arial" pitchFamily="34" charset="0"/>
        <a:buChar char="•"/>
        <a:defRPr sz="1185" kern="1200">
          <a:solidFill>
            <a:schemeClr val="tx1"/>
          </a:solidFill>
          <a:latin typeface="+mn-lt"/>
          <a:ea typeface="+mn-ea"/>
          <a:cs typeface="+mn-cs"/>
        </a:defRPr>
      </a:lvl7pPr>
      <a:lvl8pPr marL="2072763" indent="-138184" algn="l" defTabSz="552737" rtl="0" eaLnBrk="1" latinLnBrk="0" hangingPunct="1">
        <a:spcBef>
          <a:spcPct val="20000"/>
        </a:spcBef>
        <a:buFont typeface="Arial" pitchFamily="34" charset="0"/>
        <a:buChar char="•"/>
        <a:defRPr sz="1185" kern="1200">
          <a:solidFill>
            <a:schemeClr val="tx1"/>
          </a:solidFill>
          <a:latin typeface="+mn-lt"/>
          <a:ea typeface="+mn-ea"/>
          <a:cs typeface="+mn-cs"/>
        </a:defRPr>
      </a:lvl8pPr>
      <a:lvl9pPr marL="2349133" indent="-138184" algn="l" defTabSz="552737" rtl="0" eaLnBrk="1" latinLnBrk="0" hangingPunct="1">
        <a:spcBef>
          <a:spcPct val="20000"/>
        </a:spcBef>
        <a:buFont typeface="Arial" pitchFamily="34" charset="0"/>
        <a:buChar char="•"/>
        <a:defRPr sz="1185" kern="1200">
          <a:solidFill>
            <a:schemeClr val="tx1"/>
          </a:solidFill>
          <a:latin typeface="+mn-lt"/>
          <a:ea typeface="+mn-ea"/>
          <a:cs typeface="+mn-cs"/>
        </a:defRPr>
      </a:lvl9pPr>
    </p:bodyStyle>
    <p:otherStyle>
      <a:defPPr>
        <a:defRPr lang="en-US"/>
      </a:defPPr>
      <a:lvl1pPr marL="0" algn="l" defTabSz="552737" rtl="0" eaLnBrk="1" latinLnBrk="0" hangingPunct="1">
        <a:defRPr sz="1067" kern="1200">
          <a:solidFill>
            <a:schemeClr val="tx1"/>
          </a:solidFill>
          <a:latin typeface="+mn-lt"/>
          <a:ea typeface="+mn-ea"/>
          <a:cs typeface="+mn-cs"/>
        </a:defRPr>
      </a:lvl1pPr>
      <a:lvl2pPr marL="276368" algn="l" defTabSz="552737" rtl="0" eaLnBrk="1" latinLnBrk="0" hangingPunct="1">
        <a:defRPr sz="1067" kern="1200">
          <a:solidFill>
            <a:schemeClr val="tx1"/>
          </a:solidFill>
          <a:latin typeface="+mn-lt"/>
          <a:ea typeface="+mn-ea"/>
          <a:cs typeface="+mn-cs"/>
        </a:defRPr>
      </a:lvl2pPr>
      <a:lvl3pPr marL="552737" algn="l" defTabSz="552737" rtl="0" eaLnBrk="1" latinLnBrk="0" hangingPunct="1">
        <a:defRPr sz="1067" kern="1200">
          <a:solidFill>
            <a:schemeClr val="tx1"/>
          </a:solidFill>
          <a:latin typeface="+mn-lt"/>
          <a:ea typeface="+mn-ea"/>
          <a:cs typeface="+mn-cs"/>
        </a:defRPr>
      </a:lvl3pPr>
      <a:lvl4pPr marL="829105" algn="l" defTabSz="552737" rtl="0" eaLnBrk="1" latinLnBrk="0" hangingPunct="1">
        <a:defRPr sz="1067" kern="1200">
          <a:solidFill>
            <a:schemeClr val="tx1"/>
          </a:solidFill>
          <a:latin typeface="+mn-lt"/>
          <a:ea typeface="+mn-ea"/>
          <a:cs typeface="+mn-cs"/>
        </a:defRPr>
      </a:lvl4pPr>
      <a:lvl5pPr marL="1105474" algn="l" defTabSz="552737" rtl="0" eaLnBrk="1" latinLnBrk="0" hangingPunct="1">
        <a:defRPr sz="1067" kern="1200">
          <a:solidFill>
            <a:schemeClr val="tx1"/>
          </a:solidFill>
          <a:latin typeface="+mn-lt"/>
          <a:ea typeface="+mn-ea"/>
          <a:cs typeface="+mn-cs"/>
        </a:defRPr>
      </a:lvl5pPr>
      <a:lvl6pPr marL="1381843" algn="l" defTabSz="552737" rtl="0" eaLnBrk="1" latinLnBrk="0" hangingPunct="1">
        <a:defRPr sz="1067" kern="1200">
          <a:solidFill>
            <a:schemeClr val="tx1"/>
          </a:solidFill>
          <a:latin typeface="+mn-lt"/>
          <a:ea typeface="+mn-ea"/>
          <a:cs typeface="+mn-cs"/>
        </a:defRPr>
      </a:lvl6pPr>
      <a:lvl7pPr marL="1658210" algn="l" defTabSz="552737" rtl="0" eaLnBrk="1" latinLnBrk="0" hangingPunct="1">
        <a:defRPr sz="1067" kern="1200">
          <a:solidFill>
            <a:schemeClr val="tx1"/>
          </a:solidFill>
          <a:latin typeface="+mn-lt"/>
          <a:ea typeface="+mn-ea"/>
          <a:cs typeface="+mn-cs"/>
        </a:defRPr>
      </a:lvl7pPr>
      <a:lvl8pPr marL="1934579" algn="l" defTabSz="552737" rtl="0" eaLnBrk="1" latinLnBrk="0" hangingPunct="1">
        <a:defRPr sz="1067" kern="1200">
          <a:solidFill>
            <a:schemeClr val="tx1"/>
          </a:solidFill>
          <a:latin typeface="+mn-lt"/>
          <a:ea typeface="+mn-ea"/>
          <a:cs typeface="+mn-cs"/>
        </a:defRPr>
      </a:lvl8pPr>
      <a:lvl9pPr marL="2210948" algn="l" defTabSz="552737" rtl="0" eaLnBrk="1" latinLnBrk="0" hangingPunct="1">
        <a:defRPr sz="1067"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770">
          <p15:clr>
            <a:srgbClr val="C35EA4"/>
          </p15:clr>
        </p15:guide>
        <p15:guide id="17" pos="31104">
          <p15:clr>
            <a:srgbClr val="C35EA4"/>
          </p15:clr>
        </p15:guide>
        <p15:guide id="26" orient="horz" pos="8438">
          <p15:clr>
            <a:srgbClr val="C35EA4"/>
          </p15:clr>
        </p15:guide>
        <p15:guide id="27" orient="horz" pos="375">
          <p15:clr>
            <a:srgbClr val="A4A3A4"/>
          </p15:clr>
        </p15:guide>
        <p15:guide id="29" orient="horz" pos="10178">
          <p15:clr>
            <a:srgbClr val="A4A3A4"/>
          </p15:clr>
        </p15:guide>
        <p15:guide id="30" pos="31680">
          <p15:clr>
            <a:srgbClr val="A4A3A4"/>
          </p15:clr>
        </p15:guide>
        <p15:guide id="31" orient="horz" pos="8825">
          <p15:clr>
            <a:srgbClr val="A4A3A4"/>
          </p15:clr>
        </p15:guide>
        <p15:guide id="33" pos="21216">
          <p15:clr>
            <a:srgbClr val="A4A3A4"/>
          </p15:clr>
        </p15:guide>
        <p15:guide id="34" orient="horz" pos="757">
          <p15:clr>
            <a:srgbClr val="F26B43"/>
          </p15:clr>
        </p15:guide>
        <p15:guide id="37" pos="20821">
          <p15:clr>
            <a:srgbClr val="C35EA4"/>
          </p15:clr>
        </p15:guide>
        <p15:guide id="39" pos="384">
          <p15:clr>
            <a:srgbClr val="A4A3A4"/>
          </p15:clr>
        </p15:guide>
        <p15:guide id="40" orient="horz" pos="667">
          <p15:clr>
            <a:srgbClr val="5ACBF0"/>
          </p15:clr>
        </p15:guide>
        <p15:guide id="42" pos="10800">
          <p15:clr>
            <a:srgbClr val="F26B43"/>
          </p15:clr>
        </p15:guide>
        <p15:guide id="45" pos="2608">
          <p15:clr>
            <a:srgbClr val="F26B43"/>
          </p15:clr>
        </p15:guide>
        <p15:guide id="46" pos="1899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1"/>
            <a:ext cx="11018520" cy="138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403187"/>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36576" rIns="45720" bIns="36576" numCol="1" spcCol="0" rtlCol="0" fromWordArt="0" anchor="t" anchorCtr="0" forceAA="0" compatLnSpc="1">
            <a:prstTxWarp prst="textNoShape">
              <a:avLst/>
            </a:prstTxWarp>
            <a:noAutofit/>
          </a:bodyPr>
          <a:lstStyle/>
          <a:p>
            <a:pPr algn="ctr" defTabSz="233147" fontAlgn="base">
              <a:lnSpc>
                <a:spcPct val="90000"/>
              </a:lnSpc>
              <a:spcBef>
                <a:spcPct val="0"/>
              </a:spcBef>
              <a:spcAft>
                <a:spcPct val="0"/>
              </a:spcAft>
            </a:pPr>
            <a:endParaRPr lang="en-US" sz="6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36576" rIns="45720" bIns="36576" numCol="1" spcCol="0" rtlCol="0" fromWordArt="0" anchor="t" anchorCtr="0" forceAA="0" compatLnSpc="1">
            <a:prstTxWarp prst="textNoShape">
              <a:avLst/>
            </a:prstTxWarp>
            <a:noAutofit/>
          </a:bodyPr>
          <a:lstStyle/>
          <a:p>
            <a:pPr algn="ctr" defTabSz="233147" fontAlgn="base">
              <a:lnSpc>
                <a:spcPct val="90000"/>
              </a:lnSpc>
              <a:spcBef>
                <a:spcPct val="0"/>
              </a:spcBef>
              <a:spcAft>
                <a:spcPct val="0"/>
              </a:spcAft>
            </a:pPr>
            <a:endParaRPr lang="en-US" sz="6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0"/>
          <a:srcRect l="762"/>
          <a:stretch/>
        </p:blipFill>
        <p:spPr>
          <a:xfrm rot="5400000">
            <a:off x="9509760" y="2843776"/>
            <a:ext cx="6858000" cy="1170455"/>
          </a:xfrm>
          <a:prstGeom prst="rect">
            <a:avLst/>
          </a:prstGeom>
        </p:spPr>
      </p:pic>
    </p:spTree>
    <p:extLst>
      <p:ext uri="{BB962C8B-B14F-4D97-AF65-F5344CB8AC3E}">
        <p14:creationId xmlns:p14="http://schemas.microsoft.com/office/powerpoint/2010/main" val="4226823495"/>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 id="2147484096" r:id="rId10"/>
    <p:sldLayoutId id="2147484097" r:id="rId11"/>
    <p:sldLayoutId id="2147484098" r:id="rId12"/>
    <p:sldLayoutId id="2147484099" r:id="rId13"/>
    <p:sldLayoutId id="2147484100" r:id="rId14"/>
    <p:sldLayoutId id="2147484101" r:id="rId15"/>
    <p:sldLayoutId id="2147484102" r:id="rId16"/>
    <p:sldLayoutId id="2147484103" r:id="rId17"/>
    <p:sldLayoutId id="2147484104" r:id="rId18"/>
    <p:sldLayoutId id="2147484105" r:id="rId19"/>
    <p:sldLayoutId id="2147484106" r:id="rId20"/>
    <p:sldLayoutId id="2147484107" r:id="rId21"/>
    <p:sldLayoutId id="2147484108" r:id="rId22"/>
    <p:sldLayoutId id="2147484109" r:id="rId23"/>
    <p:sldLayoutId id="2147484110" r:id="rId24"/>
    <p:sldLayoutId id="2147484111" r:id="rId25"/>
    <p:sldLayoutId id="2147484112" r:id="rId26"/>
    <p:sldLayoutId id="2147484113" r:id="rId27"/>
    <p:sldLayoutId id="2147484114" r:id="rId28"/>
    <p:sldLayoutId id="2147484115" r:id="rId29"/>
    <p:sldLayoutId id="2147484116" r:id="rId30"/>
    <p:sldLayoutId id="2147484117" r:id="rId31"/>
    <p:sldLayoutId id="2147484118" r:id="rId32"/>
    <p:sldLayoutId id="2147484119" r:id="rId33"/>
    <p:sldLayoutId id="2147484120" r:id="rId34"/>
    <p:sldLayoutId id="2147484121" r:id="rId35"/>
    <p:sldLayoutId id="2147484122" r:id="rId36"/>
    <p:sldLayoutId id="2147484123" r:id="rId37"/>
    <p:sldLayoutId id="2147484124" r:id="rId38"/>
    <p:sldLayoutId id="2147484125" r:id="rId39"/>
    <p:sldLayoutId id="2147484126" r:id="rId40"/>
    <p:sldLayoutId id="2147484127" r:id="rId41"/>
    <p:sldLayoutId id="2147484128" r:id="rId42"/>
    <p:sldLayoutId id="2147484129" r:id="rId43"/>
    <p:sldLayoutId id="2147484130" r:id="rId44"/>
    <p:sldLayoutId id="2147484131" r:id="rId45"/>
    <p:sldLayoutId id="2147484132" r:id="rId46"/>
    <p:sldLayoutId id="2147484133" r:id="rId47"/>
    <p:sldLayoutId id="2147484134" r:id="rId48"/>
    <p:sldLayoutId id="2147484135" r:id="rId49"/>
    <p:sldLayoutId id="2147484136" r:id="rId50"/>
    <p:sldLayoutId id="2147484137" r:id="rId51"/>
    <p:sldLayoutId id="2147484138" r:id="rId52"/>
    <p:sldLayoutId id="2147484139" r:id="rId53"/>
    <p:sldLayoutId id="2147484140" r:id="rId54"/>
    <p:sldLayoutId id="2147484141" r:id="rId55"/>
    <p:sldLayoutId id="2147484142" r:id="rId56"/>
    <p:sldLayoutId id="2147484143" r:id="rId57"/>
    <p:sldLayoutId id="2147484144" r:id="rId58"/>
    <p:sldLayoutId id="2147484145" r:id="rId59"/>
    <p:sldLayoutId id="2147484146" r:id="rId60"/>
    <p:sldLayoutId id="2147484147" r:id="rId61"/>
    <p:sldLayoutId id="2147484148" r:id="rId62"/>
    <p:sldLayoutId id="2147484149" r:id="rId63"/>
    <p:sldLayoutId id="2147484150" r:id="rId64"/>
    <p:sldLayoutId id="2147484151" r:id="rId65"/>
    <p:sldLayoutId id="2147484152" r:id="rId66"/>
    <p:sldLayoutId id="2147484153" r:id="rId67"/>
    <p:sldLayoutId id="2147484154" r:id="rId68"/>
  </p:sldLayoutIdLst>
  <p:transition>
    <p:fade/>
  </p:transition>
  <p:hf sldNum="0" hdr="0" ftr="0" dt="0"/>
  <p:txStyles>
    <p:titleStyle>
      <a:lvl1pPr algn="l" defTabSz="233215" rtl="0" eaLnBrk="1" latinLnBrk="0" hangingPunct="1">
        <a:lnSpc>
          <a:spcPct val="100000"/>
        </a:lnSpc>
        <a:spcBef>
          <a:spcPct val="0"/>
        </a:spcBef>
        <a:buNone/>
        <a:defRPr lang="en-US" sz="900" b="0" kern="1200" cap="none" spc="-13" baseline="0" dirty="0" smtClean="0">
          <a:ln w="3175">
            <a:noFill/>
          </a:ln>
          <a:solidFill>
            <a:schemeClr val="tx1"/>
          </a:solidFill>
          <a:effectLst/>
          <a:latin typeface="+mj-lt"/>
          <a:ea typeface="+mn-ea"/>
          <a:cs typeface="Segoe UI" pitchFamily="34" charset="0"/>
        </a:defRPr>
      </a:lvl1pPr>
    </p:titleStyle>
    <p:bodyStyle>
      <a:lvl1pPr marL="57157" marR="0" indent="-57157" algn="l" defTabSz="23321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700" kern="1200" spc="0" baseline="0">
          <a:solidFill>
            <a:schemeClr val="tx1"/>
          </a:solidFill>
          <a:latin typeface="+mn-lt"/>
          <a:ea typeface="+mn-ea"/>
          <a:cs typeface="Segoe UI" panose="020B0502040204020203" pitchFamily="34" charset="0"/>
        </a:defRPr>
      </a:lvl1pPr>
      <a:lvl2pPr marL="114314" marR="0" indent="-57157" algn="l" defTabSz="23321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500" kern="1200" spc="0" baseline="0">
          <a:solidFill>
            <a:schemeClr val="tx1"/>
          </a:solidFill>
          <a:latin typeface="+mn-lt"/>
          <a:ea typeface="+mn-ea"/>
          <a:cs typeface="+mn-cs"/>
        </a:defRPr>
      </a:lvl2pPr>
      <a:lvl3pPr marL="164327" marR="0" indent="-50013" algn="l" defTabSz="23321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400" kern="1200" spc="0" baseline="0">
          <a:solidFill>
            <a:schemeClr val="tx1"/>
          </a:solidFill>
          <a:latin typeface="+mn-lt"/>
          <a:ea typeface="+mn-ea"/>
          <a:cs typeface="+mn-cs"/>
        </a:defRPr>
      </a:lvl3pPr>
      <a:lvl4pPr marL="210767" marR="0" indent="-45249" algn="l" defTabSz="23321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50" kern="1200" spc="0" baseline="0">
          <a:solidFill>
            <a:schemeClr val="tx1"/>
          </a:solidFill>
          <a:latin typeface="+mn-lt"/>
          <a:ea typeface="+mn-ea"/>
          <a:cs typeface="+mn-cs"/>
        </a:defRPr>
      </a:lvl4pPr>
      <a:lvl5pPr marL="256017" marR="0" indent="-42074" algn="l" defTabSz="23321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50" kern="1200" spc="0" baseline="0">
          <a:solidFill>
            <a:schemeClr val="tx1"/>
          </a:solidFill>
          <a:latin typeface="+mn-lt"/>
          <a:ea typeface="+mn-ea"/>
          <a:cs typeface="+mn-cs"/>
        </a:defRPr>
      </a:lvl5pPr>
      <a:lvl6pPr marL="641340" indent="-58304" algn="l" defTabSz="233215" rtl="0" eaLnBrk="1" latinLnBrk="0" hangingPunct="1">
        <a:spcBef>
          <a:spcPct val="20000"/>
        </a:spcBef>
        <a:buFont typeface="Arial" pitchFamily="34" charset="0"/>
        <a:buChar char="•"/>
        <a:defRPr sz="500" kern="1200">
          <a:solidFill>
            <a:schemeClr val="tx1"/>
          </a:solidFill>
          <a:latin typeface="+mn-lt"/>
          <a:ea typeface="+mn-ea"/>
          <a:cs typeface="+mn-cs"/>
        </a:defRPr>
      </a:lvl6pPr>
      <a:lvl7pPr marL="757948" indent="-58304" algn="l" defTabSz="233215" rtl="0" eaLnBrk="1" latinLnBrk="0" hangingPunct="1">
        <a:spcBef>
          <a:spcPct val="20000"/>
        </a:spcBef>
        <a:buFont typeface="Arial" pitchFamily="34" charset="0"/>
        <a:buChar char="•"/>
        <a:defRPr sz="500" kern="1200">
          <a:solidFill>
            <a:schemeClr val="tx1"/>
          </a:solidFill>
          <a:latin typeface="+mn-lt"/>
          <a:ea typeface="+mn-ea"/>
          <a:cs typeface="+mn-cs"/>
        </a:defRPr>
      </a:lvl7pPr>
      <a:lvl8pPr marL="874555" indent="-58304" algn="l" defTabSz="233215" rtl="0" eaLnBrk="1" latinLnBrk="0" hangingPunct="1">
        <a:spcBef>
          <a:spcPct val="20000"/>
        </a:spcBef>
        <a:buFont typeface="Arial" pitchFamily="34" charset="0"/>
        <a:buChar char="•"/>
        <a:defRPr sz="500" kern="1200">
          <a:solidFill>
            <a:schemeClr val="tx1"/>
          </a:solidFill>
          <a:latin typeface="+mn-lt"/>
          <a:ea typeface="+mn-ea"/>
          <a:cs typeface="+mn-cs"/>
        </a:defRPr>
      </a:lvl8pPr>
      <a:lvl9pPr marL="991162" indent="-58304" algn="l" defTabSz="233215" rtl="0" eaLnBrk="1" latinLnBrk="0" hangingPunct="1">
        <a:spcBef>
          <a:spcPct val="20000"/>
        </a:spcBef>
        <a:buFont typeface="Arial" pitchFamily="34" charset="0"/>
        <a:buChar char="•"/>
        <a:defRPr sz="500" kern="1200">
          <a:solidFill>
            <a:schemeClr val="tx1"/>
          </a:solidFill>
          <a:latin typeface="+mn-lt"/>
          <a:ea typeface="+mn-ea"/>
          <a:cs typeface="+mn-cs"/>
        </a:defRPr>
      </a:lvl9pPr>
    </p:bodyStyle>
    <p:otherStyle>
      <a:defPPr>
        <a:defRPr lang="en-US"/>
      </a:defPPr>
      <a:lvl1pPr marL="0" algn="l" defTabSz="233215" rtl="0" eaLnBrk="1" latinLnBrk="0" hangingPunct="1">
        <a:defRPr sz="450" kern="1200">
          <a:solidFill>
            <a:schemeClr val="tx1"/>
          </a:solidFill>
          <a:latin typeface="+mn-lt"/>
          <a:ea typeface="+mn-ea"/>
          <a:cs typeface="+mn-cs"/>
        </a:defRPr>
      </a:lvl1pPr>
      <a:lvl2pPr marL="116607" algn="l" defTabSz="233215" rtl="0" eaLnBrk="1" latinLnBrk="0" hangingPunct="1">
        <a:defRPr sz="450" kern="1200">
          <a:solidFill>
            <a:schemeClr val="tx1"/>
          </a:solidFill>
          <a:latin typeface="+mn-lt"/>
          <a:ea typeface="+mn-ea"/>
          <a:cs typeface="+mn-cs"/>
        </a:defRPr>
      </a:lvl2pPr>
      <a:lvl3pPr marL="233215" algn="l" defTabSz="233215" rtl="0" eaLnBrk="1" latinLnBrk="0" hangingPunct="1">
        <a:defRPr sz="450" kern="1200">
          <a:solidFill>
            <a:schemeClr val="tx1"/>
          </a:solidFill>
          <a:latin typeface="+mn-lt"/>
          <a:ea typeface="+mn-ea"/>
          <a:cs typeface="+mn-cs"/>
        </a:defRPr>
      </a:lvl3pPr>
      <a:lvl4pPr marL="349822" algn="l" defTabSz="233215" rtl="0" eaLnBrk="1" latinLnBrk="0" hangingPunct="1">
        <a:defRPr sz="450" kern="1200">
          <a:solidFill>
            <a:schemeClr val="tx1"/>
          </a:solidFill>
          <a:latin typeface="+mn-lt"/>
          <a:ea typeface="+mn-ea"/>
          <a:cs typeface="+mn-cs"/>
        </a:defRPr>
      </a:lvl4pPr>
      <a:lvl5pPr marL="466429" algn="l" defTabSz="233215" rtl="0" eaLnBrk="1" latinLnBrk="0" hangingPunct="1">
        <a:defRPr sz="450" kern="1200">
          <a:solidFill>
            <a:schemeClr val="tx1"/>
          </a:solidFill>
          <a:latin typeface="+mn-lt"/>
          <a:ea typeface="+mn-ea"/>
          <a:cs typeface="+mn-cs"/>
        </a:defRPr>
      </a:lvl5pPr>
      <a:lvl6pPr marL="583037" algn="l" defTabSz="233215" rtl="0" eaLnBrk="1" latinLnBrk="0" hangingPunct="1">
        <a:defRPr sz="450" kern="1200">
          <a:solidFill>
            <a:schemeClr val="tx1"/>
          </a:solidFill>
          <a:latin typeface="+mn-lt"/>
          <a:ea typeface="+mn-ea"/>
          <a:cs typeface="+mn-cs"/>
        </a:defRPr>
      </a:lvl6pPr>
      <a:lvl7pPr marL="699644" algn="l" defTabSz="233215" rtl="0" eaLnBrk="1" latinLnBrk="0" hangingPunct="1">
        <a:defRPr sz="450" kern="1200">
          <a:solidFill>
            <a:schemeClr val="tx1"/>
          </a:solidFill>
          <a:latin typeface="+mn-lt"/>
          <a:ea typeface="+mn-ea"/>
          <a:cs typeface="+mn-cs"/>
        </a:defRPr>
      </a:lvl7pPr>
      <a:lvl8pPr marL="816251" algn="l" defTabSz="233215" rtl="0" eaLnBrk="1" latinLnBrk="0" hangingPunct="1">
        <a:defRPr sz="450" kern="1200">
          <a:solidFill>
            <a:schemeClr val="tx1"/>
          </a:solidFill>
          <a:latin typeface="+mn-lt"/>
          <a:ea typeface="+mn-ea"/>
          <a:cs typeface="+mn-cs"/>
        </a:defRPr>
      </a:lvl8pPr>
      <a:lvl9pPr marL="932859" algn="l" defTabSz="233215" rtl="0" eaLnBrk="1" latinLnBrk="0" hangingPunct="1">
        <a:defRPr sz="4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1104">
          <p15:clr>
            <a:srgbClr val="C35EA4"/>
          </p15:clr>
        </p15:guide>
        <p15:guide id="17" pos="21939">
          <p15:clr>
            <a:srgbClr val="C35EA4"/>
          </p15:clr>
        </p15:guide>
        <p15:guide id="25" orient="horz" pos="492">
          <p15:clr>
            <a:srgbClr val="C35EA4"/>
          </p15:clr>
        </p15:guide>
        <p15:guide id="26" orient="horz" pos="5266">
          <p15:clr>
            <a:srgbClr val="C35EA4"/>
          </p15:clr>
        </p15:guide>
        <p15:guide id="27" orient="horz" pos="245">
          <p15:clr>
            <a:srgbClr val="A4A3A4"/>
          </p15:clr>
        </p15:guide>
        <p15:guide id="28" pos="555">
          <p15:clr>
            <a:srgbClr val="A4A3A4"/>
          </p15:clr>
        </p15:guide>
        <p15:guide id="29" orient="horz" pos="5514">
          <p15:clr>
            <a:srgbClr val="A4A3A4"/>
          </p15:clr>
        </p15:guide>
        <p15:guide id="30" pos="2248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76.jpeg"/><Relationship Id="rId4" Type="http://schemas.openxmlformats.org/officeDocument/2006/relationships/image" Target="../media/image75.png"/></Relationships>
</file>

<file path=ppt/slides/_rels/slide13.xml.rels><?xml version="1.0" encoding="UTF-8" standalone="yes"?>
<Relationships xmlns="http://schemas.openxmlformats.org/package/2006/relationships"><Relationship Id="rId3" Type="http://schemas.openxmlformats.org/officeDocument/2006/relationships/hyperlink" Target="https://adoption.microsoft.com/copilot"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hyperlink" Target="https://aka.ms/M365CopilotCommunity"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aka.ms/WTI"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hyperlink" Target="https://blogs.microsoft.com/blog/2023/11/02/new-study-validates-the-business-value-and-opportunity-of-ai/" TargetMode="External"/><Relationship Id="rId4" Type="http://schemas.openxmlformats.org/officeDocument/2006/relationships/hyperlink" Target="https://www.mckinsey.com/capabilities/quantumblack/our-insights/the-state-of-ai#/"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8.xml"/><Relationship Id="rId1" Type="http://schemas.openxmlformats.org/officeDocument/2006/relationships/slideLayout" Target="../slideLayouts/slideLayout16.xml"/><Relationship Id="rId4" Type="http://schemas.openxmlformats.org/officeDocument/2006/relationships/image" Target="../media/image84.png"/></Relationships>
</file>

<file path=ppt/slides/_rels/slide2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86.png"/><Relationship Id="rId5" Type="http://schemas.microsoft.com/office/2017/04/relationships/track" Target="../media/track1.vtt"/><Relationship Id="rId4" Type="http://schemas.openxmlformats.org/officeDocument/2006/relationships/notesSlide" Target="../notesSlides/notesSlide20.xml"/></Relationships>
</file>

<file path=ppt/slides/_rels/slide2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2.xml"/><Relationship Id="rId1" Type="http://schemas.openxmlformats.org/officeDocument/2006/relationships/slideLayout" Target="../slideLayouts/slideLayout16.xml"/><Relationship Id="rId4" Type="http://schemas.openxmlformats.org/officeDocument/2006/relationships/image" Target="../media/image88.png"/></Relationships>
</file>

<file path=ppt/slides/_rels/slide25.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notesSlide" Target="../notesSlides/notesSlide23.xml"/><Relationship Id="rId1" Type="http://schemas.openxmlformats.org/officeDocument/2006/relationships/slideLayout" Target="../slideLayouts/slideLayout16.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2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6.xml"/><Relationship Id="rId1" Type="http://schemas.openxmlformats.org/officeDocument/2006/relationships/slideLayout" Target="../slideLayouts/slideLayout11.xml"/><Relationship Id="rId4" Type="http://schemas.openxmlformats.org/officeDocument/2006/relationships/image" Target="../media/image95.png"/></Relationships>
</file>

<file path=ppt/slides/_rels/slide2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9.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100.png"/><Relationship Id="rId5" Type="http://schemas.microsoft.com/office/2007/relationships/hdphoto" Target="../media/hdphoto1.wdp"/><Relationship Id="rId4" Type="http://schemas.openxmlformats.org/officeDocument/2006/relationships/image" Target="../media/image99.png"/></Relationships>
</file>

<file path=ppt/slides/_rels/slide3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4.png"/><Relationship Id="rId3" Type="http://schemas.openxmlformats.org/officeDocument/2006/relationships/slide" Target="slide38.xml"/><Relationship Id="rId7" Type="http://schemas.openxmlformats.org/officeDocument/2006/relationships/image" Target="../media/image102.png"/><Relationship Id="rId12" Type="http://schemas.openxmlformats.org/officeDocument/2006/relationships/slide" Target="slide54.xml"/><Relationship Id="rId2" Type="http://schemas.openxmlformats.org/officeDocument/2006/relationships/image" Target="../media/image101.png"/><Relationship Id="rId1" Type="http://schemas.openxmlformats.org/officeDocument/2006/relationships/slideLayout" Target="../slideLayouts/slideLayout16.xml"/><Relationship Id="rId6" Type="http://schemas.openxmlformats.org/officeDocument/2006/relationships/slide" Target="slide42.xml"/><Relationship Id="rId11" Type="http://schemas.openxmlformats.org/officeDocument/2006/relationships/image" Target="../media/image104.png"/><Relationship Id="rId5" Type="http://schemas.openxmlformats.org/officeDocument/2006/relationships/image" Target="../media/image102.png"/><Relationship Id="rId10" Type="http://schemas.openxmlformats.org/officeDocument/2006/relationships/image" Target="../media/image103.png"/><Relationship Id="rId4" Type="http://schemas.openxmlformats.org/officeDocument/2006/relationships/image" Target="../media/image101.png"/><Relationship Id="rId9" Type="http://schemas.openxmlformats.org/officeDocument/2006/relationships/slide" Target="slide4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5.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1.xml"/><Relationship Id="rId5" Type="http://schemas.openxmlformats.org/officeDocument/2006/relationships/image" Target="../media/image56.svg"/><Relationship Id="rId4" Type="http://schemas.openxmlformats.org/officeDocument/2006/relationships/image" Target="../media/image55.png"/></Relationships>
</file>

<file path=ppt/slides/_rels/slide4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6.xml"/><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9.xml"/><Relationship Id="rId1" Type="http://schemas.openxmlformats.org/officeDocument/2006/relationships/slideLayout" Target="../slideLayouts/slideLayout22.xml"/><Relationship Id="rId4" Type="http://schemas.openxmlformats.org/officeDocument/2006/relationships/image" Target="../media/image109.png"/></Relationships>
</file>

<file path=ppt/slides/_rels/slide4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0.xml"/><Relationship Id="rId1" Type="http://schemas.openxmlformats.org/officeDocument/2006/relationships/slideLayout" Target="../slideLayouts/slideLayout22.xml"/><Relationship Id="rId5" Type="http://schemas.openxmlformats.org/officeDocument/2006/relationships/image" Target="../media/image109.png"/><Relationship Id="rId4" Type="http://schemas.openxmlformats.org/officeDocument/2006/relationships/image" Target="../media/image111.png"/></Relationships>
</file>

<file path=ppt/slides/_rels/slide4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1.xml"/><Relationship Id="rId1" Type="http://schemas.openxmlformats.org/officeDocument/2006/relationships/slideLayout" Target="../slideLayouts/slideLayout22.xml"/><Relationship Id="rId4" Type="http://schemas.openxmlformats.org/officeDocument/2006/relationships/image" Target="../media/image112.png"/></Relationships>
</file>

<file path=ppt/slides/_rels/slide4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2.xml"/><Relationship Id="rId1" Type="http://schemas.openxmlformats.org/officeDocument/2006/relationships/slideLayout" Target="../slideLayouts/slideLayout22.xml"/><Relationship Id="rId4" Type="http://schemas.openxmlformats.org/officeDocument/2006/relationships/image" Target="../media/image113.png"/></Relationships>
</file>

<file path=ppt/slides/_rels/slide4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3.xml"/><Relationship Id="rId1" Type="http://schemas.openxmlformats.org/officeDocument/2006/relationships/slideLayout" Target="../slideLayouts/slideLayout22.xml"/><Relationship Id="rId4" Type="http://schemas.openxmlformats.org/officeDocument/2006/relationships/image" Target="../media/image114.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5.xml"/><Relationship Id="rId1" Type="http://schemas.openxmlformats.org/officeDocument/2006/relationships/slideLayout" Target="../slideLayouts/slideLayout22.xml"/><Relationship Id="rId4" Type="http://schemas.openxmlformats.org/officeDocument/2006/relationships/image" Target="../media/image11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46.xml"/><Relationship Id="rId1" Type="http://schemas.openxmlformats.org/officeDocument/2006/relationships/slideLayout" Target="../slideLayouts/slideLayout23.xml"/><Relationship Id="rId5" Type="http://schemas.openxmlformats.org/officeDocument/2006/relationships/image" Target="../media/image117.png"/><Relationship Id="rId4" Type="http://schemas.openxmlformats.org/officeDocument/2006/relationships/image" Target="../media/image115.png"/></Relationships>
</file>

<file path=ppt/slides/_rels/slide51.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117.png"/><Relationship Id="rId2" Type="http://schemas.openxmlformats.org/officeDocument/2006/relationships/notesSlide" Target="../notesSlides/notesSlide47.xml"/><Relationship Id="rId1" Type="http://schemas.openxmlformats.org/officeDocument/2006/relationships/slideLayout" Target="../slideLayouts/slideLayout22.xml"/><Relationship Id="rId6" Type="http://schemas.openxmlformats.org/officeDocument/2006/relationships/image" Target="../media/image120.svg"/><Relationship Id="rId5" Type="http://schemas.openxmlformats.org/officeDocument/2006/relationships/image" Target="../media/image119.png"/><Relationship Id="rId4" Type="http://schemas.openxmlformats.org/officeDocument/2006/relationships/image" Target="../media/image115.png"/></Relationships>
</file>

<file path=ppt/slides/_rels/slide5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48.xml"/><Relationship Id="rId1" Type="http://schemas.openxmlformats.org/officeDocument/2006/relationships/slideLayout" Target="../slideLayouts/slideLayout22.xml"/><Relationship Id="rId4" Type="http://schemas.openxmlformats.org/officeDocument/2006/relationships/image" Target="../media/image115.png"/></Relationships>
</file>

<file path=ppt/slides/_rels/slide53.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125.png"/><Relationship Id="rId2" Type="http://schemas.openxmlformats.org/officeDocument/2006/relationships/notesSlide" Target="../notesSlides/notesSlide49.xml"/><Relationship Id="rId1" Type="http://schemas.openxmlformats.org/officeDocument/2006/relationships/slideLayout" Target="../slideLayouts/slideLayout22.xml"/><Relationship Id="rId6" Type="http://schemas.openxmlformats.org/officeDocument/2006/relationships/image" Target="../media/image109.png"/><Relationship Id="rId5" Type="http://schemas.openxmlformats.org/officeDocument/2006/relationships/image" Target="../media/image124.png"/><Relationship Id="rId4" Type="http://schemas.openxmlformats.org/officeDocument/2006/relationships/image" Target="../media/image123.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0.xml"/><Relationship Id="rId1" Type="http://schemas.openxmlformats.org/officeDocument/2006/relationships/slideLayout" Target="../slideLayouts/slideLayout22.xml"/><Relationship Id="rId4" Type="http://schemas.openxmlformats.org/officeDocument/2006/relationships/image" Target="../media/image115.png"/></Relationships>
</file>

<file path=ppt/slides/_rels/slide5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51.xml"/><Relationship Id="rId1" Type="http://schemas.openxmlformats.org/officeDocument/2006/relationships/slideLayout" Target="../slideLayouts/slideLayout22.xml"/><Relationship Id="rId4" Type="http://schemas.openxmlformats.org/officeDocument/2006/relationships/image" Target="../media/image115.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3" Type="http://schemas.openxmlformats.org/officeDocument/2006/relationships/hyperlink" Target="https://aka.ms/joinccp" TargetMode="External"/><Relationship Id="rId2" Type="http://schemas.openxmlformats.org/officeDocument/2006/relationships/notesSlide" Target="../notesSlides/notesSlide54.xml"/><Relationship Id="rId1" Type="http://schemas.openxmlformats.org/officeDocument/2006/relationships/slideLayout" Target="../slideLayouts/slideLayout7.xml"/><Relationship Id="rId4" Type="http://schemas.openxmlformats.org/officeDocument/2006/relationships/image" Target="../media/image128.png"/></Relationships>
</file>

<file path=ppt/slides/_rels/slide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59.jpeg"/><Relationship Id="rId4" Type="http://schemas.openxmlformats.org/officeDocument/2006/relationships/image" Target="../media/image58.jpe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8" Type="http://schemas.openxmlformats.org/officeDocument/2006/relationships/image" Target="../media/image134.emf"/><Relationship Id="rId3" Type="http://schemas.openxmlformats.org/officeDocument/2006/relationships/image" Target="../media/image129.emf"/><Relationship Id="rId7" Type="http://schemas.openxmlformats.org/officeDocument/2006/relationships/image" Target="../media/image133.emf"/><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image" Target="../media/image132.emf"/><Relationship Id="rId5" Type="http://schemas.openxmlformats.org/officeDocument/2006/relationships/image" Target="../media/image131.emf"/><Relationship Id="rId10" Type="http://schemas.openxmlformats.org/officeDocument/2006/relationships/hyperlink" Target="https://aka.ms/aigovernance" TargetMode="External"/><Relationship Id="rId4" Type="http://schemas.openxmlformats.org/officeDocument/2006/relationships/image" Target="../media/image130.emf"/><Relationship Id="rId9" Type="http://schemas.openxmlformats.org/officeDocument/2006/relationships/image" Target="../media/image135.emf"/></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notesSlide" Target="../notesSlides/notesSlide61.xml"/><Relationship Id="rId7" Type="http://schemas.openxmlformats.org/officeDocument/2006/relationships/image" Target="../media/image140.png"/><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image" Target="../media/image139.emf"/><Relationship Id="rId5" Type="http://schemas.openxmlformats.org/officeDocument/2006/relationships/image" Target="../media/image138.emf"/><Relationship Id="rId10" Type="http://schemas.openxmlformats.org/officeDocument/2006/relationships/image" Target="../media/image143.png"/><Relationship Id="rId4" Type="http://schemas.openxmlformats.org/officeDocument/2006/relationships/oleObject" Target="../embeddings/oleObject1.bin"/><Relationship Id="rId9" Type="http://schemas.openxmlformats.org/officeDocument/2006/relationships/image" Target="../media/image142.png"/></Relationships>
</file>

<file path=ppt/slides/_rels/slide67.xml.rels><?xml version="1.0" encoding="UTF-8" standalone="yes"?>
<Relationships xmlns="http://schemas.openxmlformats.org/package/2006/relationships"><Relationship Id="rId3" Type="http://schemas.openxmlformats.org/officeDocument/2006/relationships/hyperlink" Target="http://aka.ms/copilot/oversharing" TargetMode="External"/><Relationship Id="rId2" Type="http://schemas.openxmlformats.org/officeDocument/2006/relationships/notesSlide" Target="../notesSlides/notesSlide62.xml"/><Relationship Id="rId1" Type="http://schemas.openxmlformats.org/officeDocument/2006/relationships/slideLayout" Target="../slideLayouts/slideLayout7.xml"/><Relationship Id="rId5" Type="http://schemas.openxmlformats.org/officeDocument/2006/relationships/hyperlink" Target="https://aka.ms/joinccp" TargetMode="External"/><Relationship Id="rId4" Type="http://schemas.openxmlformats.org/officeDocument/2006/relationships/hyperlink" Target="https://aka.ms/PurviewDeploymentModels" TargetMode="External"/></Relationships>
</file>

<file path=ppt/slides/_rels/slide68.xml.rels><?xml version="1.0" encoding="UTF-8" standalone="yes"?>
<Relationships xmlns="http://schemas.openxmlformats.org/package/2006/relationships"><Relationship Id="rId3" Type="http://schemas.openxmlformats.org/officeDocument/2006/relationships/hyperlink" Target="https://learn.microsoft.com/en-us/purview/ai-microsoft-purview" TargetMode="External"/><Relationship Id="rId2" Type="http://schemas.openxmlformats.org/officeDocument/2006/relationships/notesSlide" Target="../notesSlides/notesSlide63.xml"/><Relationship Id="rId1" Type="http://schemas.openxmlformats.org/officeDocument/2006/relationships/slideLayout" Target="../slideLayouts/slideLayout7.xml"/><Relationship Id="rId5" Type="http://schemas.openxmlformats.org/officeDocument/2006/relationships/hyperlink" Target="https://aka.ms/DSPMforAI/oversharing" TargetMode="External"/><Relationship Id="rId4" Type="http://schemas.openxmlformats.org/officeDocument/2006/relationships/hyperlink" Target="https://aka.ms/DSPMforAI/deploy"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hyperlink" Target="https://aka.ms/M365CopilotCommunity" TargetMode="External"/><Relationship Id="rId4" Type="http://schemas.openxmlformats.org/officeDocument/2006/relationships/image" Target="../media/image7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2" Type="http://schemas.openxmlformats.org/officeDocument/2006/relationships/image" Target="../media/image145.jpe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51.xml"/><Relationship Id="rId6" Type="http://schemas.openxmlformats.org/officeDocument/2006/relationships/image" Target="../media/image63.svg"/><Relationship Id="rId5" Type="http://schemas.openxmlformats.org/officeDocument/2006/relationships/image" Target="../media/image62.png"/><Relationship Id="rId4" Type="http://schemas.openxmlformats.org/officeDocument/2006/relationships/image" Target="../media/image61.svg"/></Relationships>
</file>

<file path=ppt/slides/_rels/slide9.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png"/><Relationship Id="rId7" Type="http://schemas.openxmlformats.org/officeDocument/2006/relationships/image" Target="../media/image68.svg"/><Relationship Id="rId2" Type="http://schemas.openxmlformats.org/officeDocument/2006/relationships/notesSlide" Target="../notesSlides/notesSlide7.xml"/><Relationship Id="rId1" Type="http://schemas.openxmlformats.org/officeDocument/2006/relationships/slideLayout" Target="../slideLayouts/slideLayout34.xml"/><Relationship Id="rId6" Type="http://schemas.openxmlformats.org/officeDocument/2006/relationships/image" Target="../media/image67.png"/><Relationship Id="rId11" Type="http://schemas.openxmlformats.org/officeDocument/2006/relationships/image" Target="../media/image72.png"/><Relationship Id="rId5" Type="http://schemas.openxmlformats.org/officeDocument/2006/relationships/image" Target="../media/image66.svg"/><Relationship Id="rId10" Type="http://schemas.openxmlformats.org/officeDocument/2006/relationships/image" Target="../media/image71.png"/><Relationship Id="rId4" Type="http://schemas.openxmlformats.org/officeDocument/2006/relationships/image" Target="../media/image65.png"/><Relationship Id="rId9" Type="http://schemas.openxmlformats.org/officeDocument/2006/relationships/image" Target="../media/image7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0F7533-89D0-7116-D2B4-FC3D44483FA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0F650AA-F3F8-EDC5-E7B0-548E6E7B4791}"/>
              </a:ext>
            </a:extLst>
          </p:cNvPr>
          <p:cNvSpPr>
            <a:spLocks noGrp="1"/>
          </p:cNvSpPr>
          <p:nvPr>
            <p:ph type="title"/>
          </p:nvPr>
        </p:nvSpPr>
        <p:spPr>
          <a:xfrm>
            <a:off x="758597" y="2548242"/>
            <a:ext cx="10049816" cy="1495794"/>
          </a:xfrm>
        </p:spPr>
        <p:txBody>
          <a:bodyPr anchor="ctr"/>
          <a:lstStyle/>
          <a:p>
            <a:r>
              <a:rPr lang="en-US"/>
              <a:t>Securing AI Apps and Agents with Microsoft Purview</a:t>
            </a:r>
          </a:p>
        </p:txBody>
      </p:sp>
      <p:sp>
        <p:nvSpPr>
          <p:cNvPr id="6" name="Text Placeholder 5">
            <a:extLst>
              <a:ext uri="{FF2B5EF4-FFF2-40B4-BE49-F238E27FC236}">
                <a16:creationId xmlns:a16="http://schemas.microsoft.com/office/drawing/2014/main" id="{540F9791-D3D0-3951-5BB0-A0ECC314603B}"/>
              </a:ext>
            </a:extLst>
          </p:cNvPr>
          <p:cNvSpPr>
            <a:spLocks noGrp="1"/>
          </p:cNvSpPr>
          <p:nvPr>
            <p:ph type="body" sz="quarter" idx="13"/>
          </p:nvPr>
        </p:nvSpPr>
        <p:spPr/>
        <p:txBody>
          <a:bodyPr/>
          <a:lstStyle/>
          <a:p>
            <a:r>
              <a:rPr lang="en-US"/>
              <a:t>May 7, 2025</a:t>
            </a:r>
          </a:p>
        </p:txBody>
      </p:sp>
    </p:spTree>
    <p:extLst>
      <p:ext uri="{BB962C8B-B14F-4D97-AF65-F5344CB8AC3E}">
        <p14:creationId xmlns:p14="http://schemas.microsoft.com/office/powerpoint/2010/main" val="885042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F6C0D86F-AB28-8EE7-0DDF-18444125BF4C}"/>
              </a:ext>
              <a:ext uri="{C183D7F6-B498-43B3-948B-1728B52AA6E4}">
                <adec:decorative xmlns:adec="http://schemas.microsoft.com/office/drawing/2017/decorative" val="1"/>
              </a:ext>
            </a:extLst>
          </p:cNvPr>
          <p:cNvSpPr>
            <a:spLocks/>
          </p:cNvSpPr>
          <p:nvPr/>
        </p:nvSpPr>
        <p:spPr bwMode="auto">
          <a:xfrm>
            <a:off x="584201" y="1762613"/>
            <a:ext cx="11025188" cy="4628662"/>
          </a:xfrm>
          <a:prstGeom prst="roundRect">
            <a:avLst>
              <a:gd name="adj" fmla="val 2701"/>
            </a:avLst>
          </a:prstGeom>
          <a:solidFill>
            <a:schemeClr val="bg1"/>
          </a:solidFill>
          <a:ln w="12700" cap="rnd">
            <a:solidFill>
              <a:schemeClr val="bg1">
                <a:lumMod val="7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err="1">
              <a:ln>
                <a:noFill/>
              </a:ln>
              <a:noFill/>
              <a:effectLst/>
              <a:uLnTx/>
              <a:uFillTx/>
              <a:latin typeface="Segoe UI Variable Small Semibol" pitchFamily="2" charset="0"/>
              <a:ea typeface="+mn-ea"/>
              <a:cs typeface="+mn-cs"/>
            </a:endParaRPr>
          </a:p>
        </p:txBody>
      </p:sp>
      <p:sp>
        <p:nvSpPr>
          <p:cNvPr id="66" name="Rectangle: Rounded Corners 65">
            <a:extLst>
              <a:ext uri="{FF2B5EF4-FFF2-40B4-BE49-F238E27FC236}">
                <a16:creationId xmlns:a16="http://schemas.microsoft.com/office/drawing/2014/main" id="{782BB402-588F-0694-9253-218DDD9FF587}"/>
              </a:ext>
              <a:ext uri="{C183D7F6-B498-43B3-948B-1728B52AA6E4}">
                <adec:decorative xmlns:adec="http://schemas.microsoft.com/office/drawing/2017/decorative" val="1"/>
              </a:ext>
            </a:extLst>
          </p:cNvPr>
          <p:cNvSpPr>
            <a:spLocks/>
          </p:cNvSpPr>
          <p:nvPr/>
        </p:nvSpPr>
        <p:spPr bwMode="auto">
          <a:xfrm>
            <a:off x="767081" y="2308039"/>
            <a:ext cx="3431222" cy="1564165"/>
          </a:xfrm>
          <a:prstGeom prst="roundRect">
            <a:avLst>
              <a:gd name="adj" fmla="val 4779"/>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Rectangle: Rounded Corners 66">
            <a:extLst>
              <a:ext uri="{FF2B5EF4-FFF2-40B4-BE49-F238E27FC236}">
                <a16:creationId xmlns:a16="http://schemas.microsoft.com/office/drawing/2014/main" id="{D2B62709-6FAB-C445-1375-436E5E9F0A73}"/>
              </a:ext>
              <a:ext uri="{C183D7F6-B498-43B3-948B-1728B52AA6E4}">
                <adec:decorative xmlns:adec="http://schemas.microsoft.com/office/drawing/2017/decorative" val="1"/>
              </a:ext>
            </a:extLst>
          </p:cNvPr>
          <p:cNvSpPr>
            <a:spLocks/>
          </p:cNvSpPr>
          <p:nvPr/>
        </p:nvSpPr>
        <p:spPr bwMode="auto">
          <a:xfrm>
            <a:off x="4381183" y="2308039"/>
            <a:ext cx="3431222" cy="1564165"/>
          </a:xfrm>
          <a:prstGeom prst="roundRect">
            <a:avLst>
              <a:gd name="adj" fmla="val 4779"/>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Rectangle: Rounded Corners 67">
            <a:extLst>
              <a:ext uri="{FF2B5EF4-FFF2-40B4-BE49-F238E27FC236}">
                <a16:creationId xmlns:a16="http://schemas.microsoft.com/office/drawing/2014/main" id="{4437DE1D-DCF6-1946-AB30-E348F2819271}"/>
              </a:ext>
              <a:ext uri="{C183D7F6-B498-43B3-948B-1728B52AA6E4}">
                <adec:decorative xmlns:adec="http://schemas.microsoft.com/office/drawing/2017/decorative" val="1"/>
              </a:ext>
            </a:extLst>
          </p:cNvPr>
          <p:cNvSpPr>
            <a:spLocks/>
          </p:cNvSpPr>
          <p:nvPr/>
        </p:nvSpPr>
        <p:spPr bwMode="auto">
          <a:xfrm>
            <a:off x="7995285" y="2308039"/>
            <a:ext cx="3431222" cy="1564165"/>
          </a:xfrm>
          <a:prstGeom prst="roundRect">
            <a:avLst>
              <a:gd name="adj" fmla="val 4779"/>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Rounded Rectangle 11">
            <a:extLst>
              <a:ext uri="{FF2B5EF4-FFF2-40B4-BE49-F238E27FC236}">
                <a16:creationId xmlns:a16="http://schemas.microsoft.com/office/drawing/2014/main" id="{F09A8AED-034D-DA05-577B-37B15F0F662D}"/>
              </a:ext>
              <a:ext uri="{C183D7F6-B498-43B3-948B-1728B52AA6E4}">
                <adec:decorative xmlns:adec="http://schemas.microsoft.com/office/drawing/2017/decorative" val="1"/>
              </a:ext>
            </a:extLst>
          </p:cNvPr>
          <p:cNvSpPr/>
          <p:nvPr/>
        </p:nvSpPr>
        <p:spPr bwMode="auto">
          <a:xfrm>
            <a:off x="2119326" y="1944936"/>
            <a:ext cx="726732" cy="726732"/>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32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9" name="Rounded Rectangle 11">
            <a:extLst>
              <a:ext uri="{FF2B5EF4-FFF2-40B4-BE49-F238E27FC236}">
                <a16:creationId xmlns:a16="http://schemas.microsoft.com/office/drawing/2014/main" id="{65EC9CB0-7918-2231-6E08-FE2B38E69DF2}"/>
              </a:ext>
              <a:ext uri="{C183D7F6-B498-43B3-948B-1728B52AA6E4}">
                <adec:decorative xmlns:adec="http://schemas.microsoft.com/office/drawing/2017/decorative" val="1"/>
              </a:ext>
            </a:extLst>
          </p:cNvPr>
          <p:cNvSpPr/>
          <p:nvPr/>
        </p:nvSpPr>
        <p:spPr bwMode="auto">
          <a:xfrm>
            <a:off x="5733428" y="1944936"/>
            <a:ext cx="726732" cy="726732"/>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32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40" name="Rounded Rectangle 11">
            <a:extLst>
              <a:ext uri="{FF2B5EF4-FFF2-40B4-BE49-F238E27FC236}">
                <a16:creationId xmlns:a16="http://schemas.microsoft.com/office/drawing/2014/main" id="{316806F3-8E20-0563-F4B4-2995A55B5BD9}"/>
              </a:ext>
              <a:ext uri="{C183D7F6-B498-43B3-948B-1728B52AA6E4}">
                <adec:decorative xmlns:adec="http://schemas.microsoft.com/office/drawing/2017/decorative" val="1"/>
              </a:ext>
            </a:extLst>
          </p:cNvPr>
          <p:cNvSpPr/>
          <p:nvPr/>
        </p:nvSpPr>
        <p:spPr bwMode="auto">
          <a:xfrm>
            <a:off x="9347530" y="1944936"/>
            <a:ext cx="726732" cy="726732"/>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32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8" name="Title 1">
            <a:extLst>
              <a:ext uri="{FF2B5EF4-FFF2-40B4-BE49-F238E27FC236}">
                <a16:creationId xmlns:a16="http://schemas.microsoft.com/office/drawing/2014/main" id="{25A6359E-8AF7-60B2-BA39-7B162C85F0C4}"/>
              </a:ext>
              <a:ext uri="{C183D7F6-B498-43B3-948B-1728B52AA6E4}">
                <adec:decorative xmlns:adec="http://schemas.microsoft.com/office/drawing/2017/decorative" val="0"/>
              </a:ext>
            </a:extLst>
          </p:cNvPr>
          <p:cNvSpPr>
            <a:spLocks noGrp="1"/>
          </p:cNvSpPr>
          <p:nvPr>
            <p:ph type="title"/>
          </p:nvPr>
        </p:nvSpPr>
        <p:spPr/>
        <p:txBody>
          <a:bodyPr>
            <a:noAutofit/>
          </a:bodyPr>
          <a:lstStyle/>
          <a:p>
            <a:r>
              <a:rPr lang="en-US" sz="3200">
                <a:solidFill>
                  <a:schemeClr val="tx1"/>
                </a:solidFill>
                <a:ea typeface="+mj-ea"/>
                <a:cs typeface="+mj-cs"/>
              </a:rPr>
              <a:t>Microsoft Purview</a:t>
            </a:r>
          </a:p>
        </p:txBody>
      </p:sp>
      <p:sp>
        <p:nvSpPr>
          <p:cNvPr id="75" name="Graphic 168" descr="Icon of a person with a magnifying glass">
            <a:extLst>
              <a:ext uri="{FF2B5EF4-FFF2-40B4-BE49-F238E27FC236}">
                <a16:creationId xmlns:a16="http://schemas.microsoft.com/office/drawing/2014/main" id="{78F5CD5B-CA41-4E39-1A7B-A2E9F7A2CC3E}"/>
              </a:ext>
            </a:extLst>
          </p:cNvPr>
          <p:cNvSpPr/>
          <p:nvPr/>
        </p:nvSpPr>
        <p:spPr>
          <a:xfrm>
            <a:off x="2322197" y="2147866"/>
            <a:ext cx="320992" cy="320874"/>
          </a:xfrm>
          <a:custGeom>
            <a:avLst/>
            <a:gdLst>
              <a:gd name="connsiteX0" fmla="*/ 125862 w 254043"/>
              <a:gd name="connsiteY0" fmla="*/ 152349 h 253949"/>
              <a:gd name="connsiteX1" fmla="*/ 225469 w 254043"/>
              <a:gd name="connsiteY1" fmla="*/ 152349 h 253949"/>
              <a:gd name="connsiteX2" fmla="*/ 254044 w 254043"/>
              <a:gd name="connsiteY2" fmla="*/ 180924 h 253949"/>
              <a:gd name="connsiteX3" fmla="*/ 254044 w 254043"/>
              <a:gd name="connsiteY3" fmla="*/ 192418 h 253949"/>
              <a:gd name="connsiteX4" fmla="*/ 237445 w 254043"/>
              <a:gd name="connsiteY4" fmla="*/ 228549 h 253949"/>
              <a:gd name="connsiteX5" fmla="*/ 152405 w 254043"/>
              <a:gd name="connsiteY5" fmla="*/ 253949 h 253949"/>
              <a:gd name="connsiteX6" fmla="*/ 150132 w 254043"/>
              <a:gd name="connsiteY6" fmla="*/ 253949 h 253949"/>
              <a:gd name="connsiteX7" fmla="*/ 147325 w 254043"/>
              <a:gd name="connsiteY7" fmla="*/ 229857 h 253949"/>
              <a:gd name="connsiteX8" fmla="*/ 145916 w 254043"/>
              <a:gd name="connsiteY8" fmla="*/ 228333 h 253949"/>
              <a:gd name="connsiteX9" fmla="*/ 117595 w 254043"/>
              <a:gd name="connsiteY9" fmla="*/ 200089 h 253949"/>
              <a:gd name="connsiteX10" fmla="*/ 125850 w 254043"/>
              <a:gd name="connsiteY10" fmla="*/ 152337 h 253949"/>
              <a:gd name="connsiteX11" fmla="*/ 57155 w 254043"/>
              <a:gd name="connsiteY11" fmla="*/ 107899 h 253949"/>
              <a:gd name="connsiteX12" fmla="*/ 114293 w 254043"/>
              <a:gd name="connsiteY12" fmla="*/ 165062 h 253949"/>
              <a:gd name="connsiteX13" fmla="*/ 101097 w 254043"/>
              <a:gd name="connsiteY13" fmla="*/ 201574 h 253949"/>
              <a:gd name="connsiteX14" fmla="*/ 136950 w 254043"/>
              <a:gd name="connsiteY14" fmla="*/ 237312 h 253949"/>
              <a:gd name="connsiteX15" fmla="*/ 137020 w 254043"/>
              <a:gd name="connsiteY15" fmla="*/ 250782 h 253949"/>
              <a:gd name="connsiteX16" fmla="*/ 124567 w 254043"/>
              <a:gd name="connsiteY16" fmla="*/ 251727 h 253949"/>
              <a:gd name="connsiteX17" fmla="*/ 123488 w 254043"/>
              <a:gd name="connsiteY17" fmla="*/ 250800 h 253949"/>
              <a:gd name="connsiteX18" fmla="*/ 86619 w 254043"/>
              <a:gd name="connsiteY18" fmla="*/ 214020 h 253949"/>
              <a:gd name="connsiteX19" fmla="*/ 8187 w 254043"/>
              <a:gd name="connsiteY19" fmla="*/ 194510 h 253949"/>
              <a:gd name="connsiteX20" fmla="*/ 27698 w 254043"/>
              <a:gd name="connsiteY20" fmla="*/ 116078 h 253949"/>
              <a:gd name="connsiteX21" fmla="*/ 57155 w 254043"/>
              <a:gd name="connsiteY21" fmla="*/ 107899 h 253949"/>
              <a:gd name="connsiteX22" fmla="*/ 57155 w 254043"/>
              <a:gd name="connsiteY22" fmla="*/ 126949 h 253949"/>
              <a:gd name="connsiteX23" fmla="*/ 19055 w 254043"/>
              <a:gd name="connsiteY23" fmla="*/ 165049 h 253949"/>
              <a:gd name="connsiteX24" fmla="*/ 57155 w 254043"/>
              <a:gd name="connsiteY24" fmla="*/ 203149 h 253949"/>
              <a:gd name="connsiteX25" fmla="*/ 95255 w 254043"/>
              <a:gd name="connsiteY25" fmla="*/ 165049 h 253949"/>
              <a:gd name="connsiteX26" fmla="*/ 57155 w 254043"/>
              <a:gd name="connsiteY26" fmla="*/ 126949 h 253949"/>
              <a:gd name="connsiteX27" fmla="*/ 152405 w 254043"/>
              <a:gd name="connsiteY27" fmla="*/ 0 h 253949"/>
              <a:gd name="connsiteX28" fmla="*/ 215905 w 254043"/>
              <a:gd name="connsiteY28" fmla="*/ 63500 h 253949"/>
              <a:gd name="connsiteX29" fmla="*/ 152405 w 254043"/>
              <a:gd name="connsiteY29" fmla="*/ 127000 h 253949"/>
              <a:gd name="connsiteX30" fmla="*/ 88905 w 254043"/>
              <a:gd name="connsiteY30" fmla="*/ 63500 h 253949"/>
              <a:gd name="connsiteX31" fmla="*/ 152405 w 254043"/>
              <a:gd name="connsiteY31" fmla="*/ 0 h 253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4043" h="253949">
                <a:moveTo>
                  <a:pt x="125862" y="152349"/>
                </a:moveTo>
                <a:lnTo>
                  <a:pt x="225469" y="152349"/>
                </a:lnTo>
                <a:cubicBezTo>
                  <a:pt x="241250" y="152349"/>
                  <a:pt x="254044" y="165143"/>
                  <a:pt x="254044" y="180924"/>
                </a:cubicBezTo>
                <a:lnTo>
                  <a:pt x="254044" y="192418"/>
                </a:lnTo>
                <a:cubicBezTo>
                  <a:pt x="254043" y="206306"/>
                  <a:pt x="247981" y="219502"/>
                  <a:pt x="237445" y="228549"/>
                </a:cubicBezTo>
                <a:cubicBezTo>
                  <a:pt x="217556" y="245618"/>
                  <a:pt x="189108" y="253949"/>
                  <a:pt x="152405" y="253949"/>
                </a:cubicBezTo>
                <a:lnTo>
                  <a:pt x="150132" y="253949"/>
                </a:lnTo>
                <a:cubicBezTo>
                  <a:pt x="154041" y="246070"/>
                  <a:pt x="152941" y="236627"/>
                  <a:pt x="147325" y="229857"/>
                </a:cubicBezTo>
                <a:lnTo>
                  <a:pt x="145916" y="228333"/>
                </a:lnTo>
                <a:lnTo>
                  <a:pt x="117595" y="200089"/>
                </a:lnTo>
                <a:cubicBezTo>
                  <a:pt x="125976" y="185673"/>
                  <a:pt x="128905" y="168729"/>
                  <a:pt x="125850" y="152337"/>
                </a:cubicBezTo>
                <a:close/>
                <a:moveTo>
                  <a:pt x="57155" y="107899"/>
                </a:moveTo>
                <a:cubicBezTo>
                  <a:pt x="88719" y="107906"/>
                  <a:pt x="114300" y="133499"/>
                  <a:pt x="114293" y="165062"/>
                </a:cubicBezTo>
                <a:cubicBezTo>
                  <a:pt x="114290" y="178400"/>
                  <a:pt x="109622" y="191316"/>
                  <a:pt x="101097" y="201574"/>
                </a:cubicBezTo>
                <a:lnTo>
                  <a:pt x="136950" y="237312"/>
                </a:lnTo>
                <a:cubicBezTo>
                  <a:pt x="140689" y="241012"/>
                  <a:pt x="140720" y="247043"/>
                  <a:pt x="137020" y="250782"/>
                </a:cubicBezTo>
                <a:cubicBezTo>
                  <a:pt x="133683" y="254154"/>
                  <a:pt x="128374" y="254557"/>
                  <a:pt x="124567" y="251727"/>
                </a:cubicBezTo>
                <a:lnTo>
                  <a:pt x="123488" y="250800"/>
                </a:lnTo>
                <a:lnTo>
                  <a:pt x="86619" y="214020"/>
                </a:lnTo>
                <a:cubicBezTo>
                  <a:pt x="59573" y="230291"/>
                  <a:pt x="24458" y="221556"/>
                  <a:pt x="8187" y="194510"/>
                </a:cubicBezTo>
                <a:cubicBezTo>
                  <a:pt x="-8083" y="167464"/>
                  <a:pt x="652" y="132349"/>
                  <a:pt x="27698" y="116078"/>
                </a:cubicBezTo>
                <a:cubicBezTo>
                  <a:pt x="36592" y="110727"/>
                  <a:pt x="46776" y="107900"/>
                  <a:pt x="57155" y="107899"/>
                </a:cubicBezTo>
                <a:close/>
                <a:moveTo>
                  <a:pt x="57155" y="126949"/>
                </a:moveTo>
                <a:cubicBezTo>
                  <a:pt x="36113" y="126949"/>
                  <a:pt x="19055" y="144007"/>
                  <a:pt x="19055" y="165049"/>
                </a:cubicBezTo>
                <a:cubicBezTo>
                  <a:pt x="19055" y="186091"/>
                  <a:pt x="36113" y="203149"/>
                  <a:pt x="57155" y="203149"/>
                </a:cubicBezTo>
                <a:cubicBezTo>
                  <a:pt x="78198" y="203149"/>
                  <a:pt x="95255" y="186091"/>
                  <a:pt x="95255" y="165049"/>
                </a:cubicBezTo>
                <a:cubicBezTo>
                  <a:pt x="95255" y="144007"/>
                  <a:pt x="78198" y="126949"/>
                  <a:pt x="57155" y="126949"/>
                </a:cubicBezTo>
                <a:close/>
                <a:moveTo>
                  <a:pt x="152405" y="0"/>
                </a:moveTo>
                <a:cubicBezTo>
                  <a:pt x="187476" y="0"/>
                  <a:pt x="215905" y="28430"/>
                  <a:pt x="215905" y="63500"/>
                </a:cubicBezTo>
                <a:cubicBezTo>
                  <a:pt x="215905" y="98570"/>
                  <a:pt x="187476" y="127000"/>
                  <a:pt x="152405" y="127000"/>
                </a:cubicBezTo>
                <a:cubicBezTo>
                  <a:pt x="117335" y="127000"/>
                  <a:pt x="88905" y="98570"/>
                  <a:pt x="88905" y="63500"/>
                </a:cubicBezTo>
                <a:cubicBezTo>
                  <a:pt x="88905" y="28430"/>
                  <a:pt x="117335" y="0"/>
                  <a:pt x="152405" y="0"/>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TextBox 32">
            <a:extLst>
              <a:ext uri="{FF2B5EF4-FFF2-40B4-BE49-F238E27FC236}">
                <a16:creationId xmlns:a16="http://schemas.microsoft.com/office/drawing/2014/main" id="{35C2A676-B849-6AF0-6EB6-2DFA92CB15BC}"/>
              </a:ext>
              <a:ext uri="{C183D7F6-B498-43B3-948B-1728B52AA6E4}">
                <adec:decorative xmlns:adec="http://schemas.microsoft.com/office/drawing/2017/decorative" val="0"/>
              </a:ext>
            </a:extLst>
          </p:cNvPr>
          <p:cNvSpPr txBox="1"/>
          <p:nvPr/>
        </p:nvSpPr>
        <p:spPr>
          <a:xfrm>
            <a:off x="978459" y="2916039"/>
            <a:ext cx="3008466" cy="692497"/>
          </a:xfrm>
          <a:prstGeom prst="rect">
            <a:avLst/>
          </a:prstGeom>
          <a:noFill/>
        </p:spPr>
        <p:txBody>
          <a:bodyPr wrap="square" lIns="0" tIns="0" rIns="0" bIns="0" anchor="t">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w="3175">
                  <a:noFill/>
                </a:ln>
                <a:gradFill flip="none" rotWithShape="1">
                  <a:gsLst>
                    <a:gs pos="50000">
                      <a:srgbClr val="8661C5"/>
                    </a:gs>
                    <a:gs pos="0">
                      <a:srgbClr val="3E76D4"/>
                    </a:gs>
                    <a:gs pos="100000">
                      <a:srgbClr val="C73ECC"/>
                    </a:gs>
                  </a:gsLst>
                  <a:lin ang="2700000" scaled="1"/>
                  <a:tileRect/>
                </a:gradFill>
                <a:effectLst/>
                <a:uLnTx/>
                <a:uFillTx/>
                <a:latin typeface="Segoe UI Semibold"/>
                <a:ea typeface="+mn-ea"/>
                <a:cs typeface="+mn-cs"/>
              </a:rPr>
              <a:t>Discover</a:t>
            </a:r>
          </a:p>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Data risks</a:t>
            </a:r>
          </a:p>
        </p:txBody>
      </p:sp>
      <p:sp>
        <p:nvSpPr>
          <p:cNvPr id="73" name="Graphic 33" descr="Icon of a shield with a keyhole">
            <a:extLst>
              <a:ext uri="{FF2B5EF4-FFF2-40B4-BE49-F238E27FC236}">
                <a16:creationId xmlns:a16="http://schemas.microsoft.com/office/drawing/2014/main" id="{1F8C2D2A-1A53-EBC6-2AE7-813AA17C4B17}"/>
              </a:ext>
            </a:extLst>
          </p:cNvPr>
          <p:cNvSpPr>
            <a:spLocks/>
          </p:cNvSpPr>
          <p:nvPr/>
        </p:nvSpPr>
        <p:spPr>
          <a:xfrm>
            <a:off x="5921108" y="2113095"/>
            <a:ext cx="351372" cy="390414"/>
          </a:xfrm>
          <a:custGeom>
            <a:avLst/>
            <a:gdLst>
              <a:gd name="connsiteX0" fmla="*/ 0 w 171450"/>
              <a:gd name="connsiteY0" fmla="*/ 35719 h 190501"/>
              <a:gd name="connsiteX1" fmla="*/ 0 w 171450"/>
              <a:gd name="connsiteY1" fmla="*/ 85725 h 190501"/>
              <a:gd name="connsiteX2" fmla="*/ 83106 w 171450"/>
              <a:gd name="connsiteY2" fmla="*/ 190005 h 190501"/>
              <a:gd name="connsiteX3" fmla="*/ 88344 w 171450"/>
              <a:gd name="connsiteY3" fmla="*/ 190005 h 190501"/>
              <a:gd name="connsiteX4" fmla="*/ 171450 w 171450"/>
              <a:gd name="connsiteY4" fmla="*/ 85725 h 190501"/>
              <a:gd name="connsiteX5" fmla="*/ 171450 w 171450"/>
              <a:gd name="connsiteY5" fmla="*/ 35719 h 190501"/>
              <a:gd name="connsiteX6" fmla="*/ 164306 w 171450"/>
              <a:gd name="connsiteY6" fmla="*/ 28575 h 190501"/>
              <a:gd name="connsiteX7" fmla="*/ 90011 w 171450"/>
              <a:gd name="connsiteY7" fmla="*/ 1429 h 190501"/>
              <a:gd name="connsiteX8" fmla="*/ 81439 w 171450"/>
              <a:gd name="connsiteY8" fmla="*/ 1429 h 190501"/>
              <a:gd name="connsiteX9" fmla="*/ 7144 w 171450"/>
              <a:gd name="connsiteY9" fmla="*/ 28575 h 190501"/>
              <a:gd name="connsiteX10" fmla="*/ 0 w 171450"/>
              <a:gd name="connsiteY10" fmla="*/ 35719 h 190501"/>
              <a:gd name="connsiteX11" fmla="*/ 104727 w 171450"/>
              <a:gd name="connsiteY11" fmla="*/ 85725 h 190501"/>
              <a:gd name="connsiteX12" fmla="*/ 92869 w 171450"/>
              <a:gd name="connsiteY12" fmla="*/ 103365 h 190501"/>
              <a:gd name="connsiteX13" fmla="*/ 92869 w 171450"/>
              <a:gd name="connsiteY13" fmla="*/ 126206 h 190501"/>
              <a:gd name="connsiteX14" fmla="*/ 85725 w 171450"/>
              <a:gd name="connsiteY14" fmla="*/ 133350 h 190501"/>
              <a:gd name="connsiteX15" fmla="*/ 78581 w 171450"/>
              <a:gd name="connsiteY15" fmla="*/ 126206 h 190501"/>
              <a:gd name="connsiteX16" fmla="*/ 78581 w 171450"/>
              <a:gd name="connsiteY16" fmla="*/ 103403 h 190501"/>
              <a:gd name="connsiteX17" fmla="*/ 67998 w 171450"/>
              <a:gd name="connsiteY17" fmla="*/ 78628 h 190501"/>
              <a:gd name="connsiteX18" fmla="*/ 92774 w 171450"/>
              <a:gd name="connsiteY18" fmla="*/ 68045 h 190501"/>
              <a:gd name="connsiteX19" fmla="*/ 104727 w 171450"/>
              <a:gd name="connsiteY19" fmla="*/ 85725 h 19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1450" h="190501">
                <a:moveTo>
                  <a:pt x="0" y="35719"/>
                </a:moveTo>
                <a:lnTo>
                  <a:pt x="0" y="85725"/>
                </a:lnTo>
                <a:cubicBezTo>
                  <a:pt x="0" y="133360"/>
                  <a:pt x="28175" y="168364"/>
                  <a:pt x="83106" y="190005"/>
                </a:cubicBezTo>
                <a:cubicBezTo>
                  <a:pt x="84789" y="190668"/>
                  <a:pt x="86661" y="190668"/>
                  <a:pt x="88344" y="190005"/>
                </a:cubicBezTo>
                <a:cubicBezTo>
                  <a:pt x="143275" y="168364"/>
                  <a:pt x="171450" y="133350"/>
                  <a:pt x="171450" y="85725"/>
                </a:cubicBezTo>
                <a:lnTo>
                  <a:pt x="171450" y="35719"/>
                </a:lnTo>
                <a:cubicBezTo>
                  <a:pt x="171450" y="31773"/>
                  <a:pt x="168252" y="28575"/>
                  <a:pt x="164306" y="28575"/>
                </a:cubicBezTo>
                <a:cubicBezTo>
                  <a:pt x="138941" y="28575"/>
                  <a:pt x="114224" y="19593"/>
                  <a:pt x="90011" y="1429"/>
                </a:cubicBezTo>
                <a:cubicBezTo>
                  <a:pt x="87471" y="-476"/>
                  <a:pt x="83979" y="-476"/>
                  <a:pt x="81439" y="1429"/>
                </a:cubicBezTo>
                <a:cubicBezTo>
                  <a:pt x="57226" y="19593"/>
                  <a:pt x="32509" y="28575"/>
                  <a:pt x="7144" y="28575"/>
                </a:cubicBezTo>
                <a:cubicBezTo>
                  <a:pt x="3198" y="28575"/>
                  <a:pt x="0" y="31773"/>
                  <a:pt x="0" y="35719"/>
                </a:cubicBezTo>
                <a:close/>
                <a:moveTo>
                  <a:pt x="104727" y="85725"/>
                </a:moveTo>
                <a:cubicBezTo>
                  <a:pt x="104727" y="93469"/>
                  <a:pt x="100039" y="100442"/>
                  <a:pt x="92869" y="103365"/>
                </a:cubicBezTo>
                <a:lnTo>
                  <a:pt x="92869" y="126206"/>
                </a:lnTo>
                <a:cubicBezTo>
                  <a:pt x="92869" y="130152"/>
                  <a:pt x="89670" y="133350"/>
                  <a:pt x="85725" y="133350"/>
                </a:cubicBezTo>
                <a:cubicBezTo>
                  <a:pt x="81780" y="133350"/>
                  <a:pt x="78581" y="130152"/>
                  <a:pt x="78581" y="126206"/>
                </a:cubicBezTo>
                <a:lnTo>
                  <a:pt x="78581" y="103403"/>
                </a:lnTo>
                <a:cubicBezTo>
                  <a:pt x="68817" y="99484"/>
                  <a:pt x="64079" y="88392"/>
                  <a:pt x="67998" y="78628"/>
                </a:cubicBezTo>
                <a:cubicBezTo>
                  <a:pt x="71918" y="68864"/>
                  <a:pt x="83009" y="64126"/>
                  <a:pt x="92774" y="68045"/>
                </a:cubicBezTo>
                <a:cubicBezTo>
                  <a:pt x="99995" y="70944"/>
                  <a:pt x="104727" y="77943"/>
                  <a:pt x="104727" y="85725"/>
                </a:cubicBezTo>
                <a:close/>
              </a:path>
            </a:pathLst>
          </a:custGeom>
          <a:solidFill>
            <a:schemeClr val="bg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8" name="TextBox 107">
            <a:extLst>
              <a:ext uri="{FF2B5EF4-FFF2-40B4-BE49-F238E27FC236}">
                <a16:creationId xmlns:a16="http://schemas.microsoft.com/office/drawing/2014/main" id="{10EA43B0-2080-4AB3-4048-5EB799E8E4EB}"/>
              </a:ext>
              <a:ext uri="{C183D7F6-B498-43B3-948B-1728B52AA6E4}">
                <adec:decorative xmlns:adec="http://schemas.microsoft.com/office/drawing/2017/decorative" val="0"/>
              </a:ext>
            </a:extLst>
          </p:cNvPr>
          <p:cNvSpPr txBox="1"/>
          <p:nvPr/>
        </p:nvSpPr>
        <p:spPr>
          <a:xfrm>
            <a:off x="4592561" y="2916039"/>
            <a:ext cx="3008466" cy="692497"/>
          </a:xfrm>
          <a:prstGeom prst="rect">
            <a:avLst/>
          </a:prstGeom>
          <a:noFill/>
        </p:spPr>
        <p:txBody>
          <a:bodyPr wrap="square" lIns="0" tIns="0" rIns="0" bIns="0" anchor="t">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w="3175">
                  <a:noFill/>
                </a:ln>
                <a:gradFill flip="none" rotWithShape="1">
                  <a:gsLst>
                    <a:gs pos="50000">
                      <a:srgbClr val="8661C5"/>
                    </a:gs>
                    <a:gs pos="0">
                      <a:srgbClr val="3E76D4"/>
                    </a:gs>
                    <a:gs pos="100000">
                      <a:srgbClr val="C73ECC"/>
                    </a:gs>
                  </a:gsLst>
                  <a:lin ang="2700000" scaled="1"/>
                  <a:tileRect/>
                </a:gradFill>
                <a:effectLst/>
                <a:uLnTx/>
                <a:uFillTx/>
                <a:latin typeface="Segoe UI Semibold"/>
                <a:ea typeface="+mn-ea"/>
                <a:cs typeface="+mn-cs"/>
              </a:rPr>
              <a:t>Protect</a:t>
            </a:r>
          </a:p>
          <a:p>
            <a:pPr marL="0" marR="0" lvl="0" indent="0" algn="ctr" defTabSz="914367" rtl="0" eaLnBrk="1" fontAlgn="auto" latinLnBrk="0" hangingPunct="1">
              <a:lnSpc>
                <a:spcPct val="100000"/>
              </a:lnSpc>
              <a:spcBef>
                <a:spcPts val="0"/>
              </a:spcBef>
              <a:spcAft>
                <a:spcPts val="600"/>
              </a:spcAft>
              <a:buClrTx/>
              <a:buSzTx/>
              <a:buFontTx/>
              <a:buNone/>
              <a:tabLst/>
              <a:defRPr/>
            </a:pPr>
            <a:r>
              <a:rPr lang="en-US" sz="2000">
                <a:solidFill>
                  <a:srgbClr val="000000"/>
                </a:solidFill>
                <a:latin typeface="Segoe UI Semibold"/>
              </a:rPr>
              <a:t>Sensitive</a:t>
            </a:r>
            <a:r>
              <a:rPr kumimoji="0" lang="en-US" sz="2000" b="0" i="0" u="none" strike="noStrike" kern="1200" cap="none" spc="0" normalizeH="0" baseline="0" noProof="0">
                <a:ln>
                  <a:noFill/>
                </a:ln>
                <a:solidFill>
                  <a:srgbClr val="000000"/>
                </a:solidFill>
                <a:effectLst/>
                <a:uLnTx/>
                <a:uFillTx/>
                <a:latin typeface="Segoe UI Semibold"/>
                <a:ea typeface="+mn-ea"/>
                <a:cs typeface="+mn-cs"/>
              </a:rPr>
              <a:t> data</a:t>
            </a:r>
          </a:p>
        </p:txBody>
      </p:sp>
      <p:sp>
        <p:nvSpPr>
          <p:cNvPr id="72" name="Graphic 35" descr="Icon of a government building">
            <a:extLst>
              <a:ext uri="{FF2B5EF4-FFF2-40B4-BE49-F238E27FC236}">
                <a16:creationId xmlns:a16="http://schemas.microsoft.com/office/drawing/2014/main" id="{A3733025-98EB-D448-633D-BC85A277CA57}"/>
              </a:ext>
            </a:extLst>
          </p:cNvPr>
          <p:cNvSpPr>
            <a:spLocks/>
          </p:cNvSpPr>
          <p:nvPr/>
        </p:nvSpPr>
        <p:spPr>
          <a:xfrm>
            <a:off x="9520556" y="2117969"/>
            <a:ext cx="380682" cy="380666"/>
          </a:xfrm>
          <a:custGeom>
            <a:avLst/>
            <a:gdLst>
              <a:gd name="connsiteX0" fmla="*/ 1114704 w 1651412"/>
              <a:gd name="connsiteY0" fmla="*/ 0 h 1651412"/>
              <a:gd name="connsiteX1" fmla="*/ 805064 w 1651412"/>
              <a:gd name="connsiteY1" fmla="*/ 0 h 1651412"/>
              <a:gd name="connsiteX2" fmla="*/ 743136 w 1651412"/>
              <a:gd name="connsiteY2" fmla="*/ 61928 h 1651412"/>
              <a:gd name="connsiteX3" fmla="*/ 743136 w 1651412"/>
              <a:gd name="connsiteY3" fmla="*/ 336062 h 1651412"/>
              <a:gd name="connsiteX4" fmla="*/ 247712 w 1651412"/>
              <a:gd name="connsiteY4" fmla="*/ 908277 h 1651412"/>
              <a:gd name="connsiteX5" fmla="*/ 185784 w 1651412"/>
              <a:gd name="connsiteY5" fmla="*/ 908277 h 1651412"/>
              <a:gd name="connsiteX6" fmla="*/ 0 w 1651412"/>
              <a:gd name="connsiteY6" fmla="*/ 1094061 h 1651412"/>
              <a:gd name="connsiteX7" fmla="*/ 0 w 1651412"/>
              <a:gd name="connsiteY7" fmla="*/ 1589485 h 1651412"/>
              <a:gd name="connsiteX8" fmla="*/ 61928 w 1651412"/>
              <a:gd name="connsiteY8" fmla="*/ 1651413 h 1651412"/>
              <a:gd name="connsiteX9" fmla="*/ 660565 w 1651412"/>
              <a:gd name="connsiteY9" fmla="*/ 1651413 h 1651412"/>
              <a:gd name="connsiteX10" fmla="*/ 681208 w 1651412"/>
              <a:gd name="connsiteY10" fmla="*/ 1630770 h 1651412"/>
              <a:gd name="connsiteX11" fmla="*/ 681208 w 1651412"/>
              <a:gd name="connsiteY11" fmla="*/ 1383058 h 1651412"/>
              <a:gd name="connsiteX12" fmla="*/ 722493 w 1651412"/>
              <a:gd name="connsiteY12" fmla="*/ 1341773 h 1651412"/>
              <a:gd name="connsiteX13" fmla="*/ 928920 w 1651412"/>
              <a:gd name="connsiteY13" fmla="*/ 1341773 h 1651412"/>
              <a:gd name="connsiteX14" fmla="*/ 970205 w 1651412"/>
              <a:gd name="connsiteY14" fmla="*/ 1383058 h 1651412"/>
              <a:gd name="connsiteX15" fmla="*/ 970205 w 1651412"/>
              <a:gd name="connsiteY15" fmla="*/ 1630770 h 1651412"/>
              <a:gd name="connsiteX16" fmla="*/ 990848 w 1651412"/>
              <a:gd name="connsiteY16" fmla="*/ 1651413 h 1651412"/>
              <a:gd name="connsiteX17" fmla="*/ 1589485 w 1651412"/>
              <a:gd name="connsiteY17" fmla="*/ 1651413 h 1651412"/>
              <a:gd name="connsiteX18" fmla="*/ 1651413 w 1651412"/>
              <a:gd name="connsiteY18" fmla="*/ 1589485 h 1651412"/>
              <a:gd name="connsiteX19" fmla="*/ 1651413 w 1651412"/>
              <a:gd name="connsiteY19" fmla="*/ 1094061 h 1651412"/>
              <a:gd name="connsiteX20" fmla="*/ 1465629 w 1651412"/>
              <a:gd name="connsiteY20" fmla="*/ 908277 h 1651412"/>
              <a:gd name="connsiteX21" fmla="*/ 1403701 w 1651412"/>
              <a:gd name="connsiteY21" fmla="*/ 908277 h 1651412"/>
              <a:gd name="connsiteX22" fmla="*/ 866992 w 1651412"/>
              <a:gd name="connsiteY22" fmla="*/ 331769 h 1651412"/>
              <a:gd name="connsiteX23" fmla="*/ 866992 w 1651412"/>
              <a:gd name="connsiteY23" fmla="*/ 247712 h 1651412"/>
              <a:gd name="connsiteX24" fmla="*/ 1114704 w 1651412"/>
              <a:gd name="connsiteY24" fmla="*/ 247712 h 1651412"/>
              <a:gd name="connsiteX25" fmla="*/ 1155989 w 1651412"/>
              <a:gd name="connsiteY25" fmla="*/ 206427 h 1651412"/>
              <a:gd name="connsiteX26" fmla="*/ 1155989 w 1651412"/>
              <a:gd name="connsiteY26" fmla="*/ 41285 h 1651412"/>
              <a:gd name="connsiteX27" fmla="*/ 1114704 w 1651412"/>
              <a:gd name="connsiteY27" fmla="*/ 0 h 1651412"/>
              <a:gd name="connsiteX28" fmla="*/ 1114704 w 1651412"/>
              <a:gd name="connsiteY28" fmla="*/ 805064 h 1651412"/>
              <a:gd name="connsiteX29" fmla="*/ 1114704 w 1651412"/>
              <a:gd name="connsiteY29" fmla="*/ 970205 h 1651412"/>
              <a:gd name="connsiteX30" fmla="*/ 1052776 w 1651412"/>
              <a:gd name="connsiteY30" fmla="*/ 1032133 h 1651412"/>
              <a:gd name="connsiteX31" fmla="*/ 990848 w 1651412"/>
              <a:gd name="connsiteY31" fmla="*/ 970205 h 1651412"/>
              <a:gd name="connsiteX32" fmla="*/ 990848 w 1651412"/>
              <a:gd name="connsiteY32" fmla="*/ 805064 h 1651412"/>
              <a:gd name="connsiteX33" fmla="*/ 1052776 w 1651412"/>
              <a:gd name="connsiteY33" fmla="*/ 743136 h 1651412"/>
              <a:gd name="connsiteX34" fmla="*/ 1114704 w 1651412"/>
              <a:gd name="connsiteY34" fmla="*/ 805064 h 1651412"/>
              <a:gd name="connsiteX35" fmla="*/ 805064 w 1651412"/>
              <a:gd name="connsiteY35" fmla="*/ 743136 h 1651412"/>
              <a:gd name="connsiteX36" fmla="*/ 866992 w 1651412"/>
              <a:gd name="connsiteY36" fmla="*/ 805064 h 1651412"/>
              <a:gd name="connsiteX37" fmla="*/ 866992 w 1651412"/>
              <a:gd name="connsiteY37" fmla="*/ 970205 h 1651412"/>
              <a:gd name="connsiteX38" fmla="*/ 805064 w 1651412"/>
              <a:gd name="connsiteY38" fmla="*/ 1032133 h 1651412"/>
              <a:gd name="connsiteX39" fmla="*/ 743136 w 1651412"/>
              <a:gd name="connsiteY39" fmla="*/ 970205 h 1651412"/>
              <a:gd name="connsiteX40" fmla="*/ 743136 w 1651412"/>
              <a:gd name="connsiteY40" fmla="*/ 805064 h 1651412"/>
              <a:gd name="connsiteX41" fmla="*/ 805064 w 1651412"/>
              <a:gd name="connsiteY41" fmla="*/ 743136 h 1651412"/>
              <a:gd name="connsiteX42" fmla="*/ 619280 w 1651412"/>
              <a:gd name="connsiteY42" fmla="*/ 805064 h 1651412"/>
              <a:gd name="connsiteX43" fmla="*/ 619280 w 1651412"/>
              <a:gd name="connsiteY43" fmla="*/ 970205 h 1651412"/>
              <a:gd name="connsiteX44" fmla="*/ 557352 w 1651412"/>
              <a:gd name="connsiteY44" fmla="*/ 1032133 h 1651412"/>
              <a:gd name="connsiteX45" fmla="*/ 495424 w 1651412"/>
              <a:gd name="connsiteY45" fmla="*/ 970205 h 1651412"/>
              <a:gd name="connsiteX46" fmla="*/ 495424 w 1651412"/>
              <a:gd name="connsiteY46" fmla="*/ 805064 h 1651412"/>
              <a:gd name="connsiteX47" fmla="*/ 557352 w 1651412"/>
              <a:gd name="connsiteY47" fmla="*/ 743136 h 1651412"/>
              <a:gd name="connsiteX48" fmla="*/ 619280 w 1651412"/>
              <a:gd name="connsiteY48" fmla="*/ 805064 h 1651412"/>
              <a:gd name="connsiteX49" fmla="*/ 309640 w 1651412"/>
              <a:gd name="connsiteY49" fmla="*/ 1114704 h 1651412"/>
              <a:gd name="connsiteX50" fmla="*/ 371568 w 1651412"/>
              <a:gd name="connsiteY50" fmla="*/ 1176631 h 1651412"/>
              <a:gd name="connsiteX51" fmla="*/ 371568 w 1651412"/>
              <a:gd name="connsiteY51" fmla="*/ 1383058 h 1651412"/>
              <a:gd name="connsiteX52" fmla="*/ 309640 w 1651412"/>
              <a:gd name="connsiteY52" fmla="*/ 1444986 h 1651412"/>
              <a:gd name="connsiteX53" fmla="*/ 247712 w 1651412"/>
              <a:gd name="connsiteY53" fmla="*/ 1383058 h 1651412"/>
              <a:gd name="connsiteX54" fmla="*/ 247712 w 1651412"/>
              <a:gd name="connsiteY54" fmla="*/ 1176631 h 1651412"/>
              <a:gd name="connsiteX55" fmla="*/ 309640 w 1651412"/>
              <a:gd name="connsiteY55" fmla="*/ 1114704 h 1651412"/>
              <a:gd name="connsiteX56" fmla="*/ 1403701 w 1651412"/>
              <a:gd name="connsiteY56" fmla="*/ 1176631 h 1651412"/>
              <a:gd name="connsiteX57" fmla="*/ 1403701 w 1651412"/>
              <a:gd name="connsiteY57" fmla="*/ 1383058 h 1651412"/>
              <a:gd name="connsiteX58" fmla="*/ 1341773 w 1651412"/>
              <a:gd name="connsiteY58" fmla="*/ 1444986 h 1651412"/>
              <a:gd name="connsiteX59" fmla="*/ 1279845 w 1651412"/>
              <a:gd name="connsiteY59" fmla="*/ 1383058 h 1651412"/>
              <a:gd name="connsiteX60" fmla="*/ 1279845 w 1651412"/>
              <a:gd name="connsiteY60" fmla="*/ 1176631 h 1651412"/>
              <a:gd name="connsiteX61" fmla="*/ 1341773 w 1651412"/>
              <a:gd name="connsiteY61" fmla="*/ 1114704 h 1651412"/>
              <a:gd name="connsiteX62" fmla="*/ 1403701 w 1651412"/>
              <a:gd name="connsiteY62" fmla="*/ 1176631 h 165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651412" h="1651412">
                <a:moveTo>
                  <a:pt x="1114704" y="0"/>
                </a:moveTo>
                <a:lnTo>
                  <a:pt x="805064" y="0"/>
                </a:lnTo>
                <a:cubicBezTo>
                  <a:pt x="770863" y="0"/>
                  <a:pt x="743136" y="27726"/>
                  <a:pt x="743136" y="61928"/>
                </a:cubicBezTo>
                <a:lnTo>
                  <a:pt x="743136" y="336062"/>
                </a:lnTo>
                <a:cubicBezTo>
                  <a:pt x="458743" y="377183"/>
                  <a:pt x="247709" y="620926"/>
                  <a:pt x="247712" y="908277"/>
                </a:cubicBezTo>
                <a:lnTo>
                  <a:pt x="185784" y="908277"/>
                </a:lnTo>
                <a:cubicBezTo>
                  <a:pt x="83178" y="908277"/>
                  <a:pt x="0" y="991459"/>
                  <a:pt x="0" y="1094061"/>
                </a:cubicBezTo>
                <a:lnTo>
                  <a:pt x="0" y="1589485"/>
                </a:lnTo>
                <a:cubicBezTo>
                  <a:pt x="0" y="1623669"/>
                  <a:pt x="27744" y="1651413"/>
                  <a:pt x="61928" y="1651413"/>
                </a:cubicBezTo>
                <a:lnTo>
                  <a:pt x="660565" y="1651413"/>
                </a:lnTo>
                <a:cubicBezTo>
                  <a:pt x="671968" y="1651413"/>
                  <a:pt x="681208" y="1642173"/>
                  <a:pt x="681208" y="1630770"/>
                </a:cubicBezTo>
                <a:lnTo>
                  <a:pt x="681208" y="1383058"/>
                </a:lnTo>
                <a:cubicBezTo>
                  <a:pt x="681208" y="1360260"/>
                  <a:pt x="699695" y="1341773"/>
                  <a:pt x="722493" y="1341773"/>
                </a:cubicBezTo>
                <a:lnTo>
                  <a:pt x="928920" y="1341773"/>
                </a:lnTo>
                <a:cubicBezTo>
                  <a:pt x="951717" y="1341773"/>
                  <a:pt x="970205" y="1360260"/>
                  <a:pt x="970205" y="1383058"/>
                </a:cubicBezTo>
                <a:lnTo>
                  <a:pt x="970205" y="1630770"/>
                </a:lnTo>
                <a:cubicBezTo>
                  <a:pt x="970205" y="1642165"/>
                  <a:pt x="979453" y="1651413"/>
                  <a:pt x="990848" y="1651413"/>
                </a:cubicBezTo>
                <a:lnTo>
                  <a:pt x="1589485" y="1651413"/>
                </a:lnTo>
                <a:cubicBezTo>
                  <a:pt x="1623685" y="1651413"/>
                  <a:pt x="1651413" y="1623685"/>
                  <a:pt x="1651413" y="1589485"/>
                </a:cubicBezTo>
                <a:lnTo>
                  <a:pt x="1651413" y="1094061"/>
                </a:lnTo>
                <a:cubicBezTo>
                  <a:pt x="1651413" y="991459"/>
                  <a:pt x="1568231" y="908277"/>
                  <a:pt x="1465629" y="908277"/>
                </a:cubicBezTo>
                <a:lnTo>
                  <a:pt x="1403701" y="908277"/>
                </a:lnTo>
                <a:cubicBezTo>
                  <a:pt x="1403692" y="605083"/>
                  <a:pt x="1169415" y="353425"/>
                  <a:pt x="866992" y="331769"/>
                </a:cubicBezTo>
                <a:lnTo>
                  <a:pt x="866992" y="247712"/>
                </a:lnTo>
                <a:lnTo>
                  <a:pt x="1114704" y="247712"/>
                </a:lnTo>
                <a:cubicBezTo>
                  <a:pt x="1137501" y="247712"/>
                  <a:pt x="1155989" y="229228"/>
                  <a:pt x="1155989" y="206427"/>
                </a:cubicBezTo>
                <a:lnTo>
                  <a:pt x="1155989" y="41285"/>
                </a:lnTo>
                <a:cubicBezTo>
                  <a:pt x="1155989" y="18484"/>
                  <a:pt x="1137501" y="0"/>
                  <a:pt x="1114704" y="0"/>
                </a:cubicBezTo>
                <a:close/>
                <a:moveTo>
                  <a:pt x="1114704" y="805064"/>
                </a:moveTo>
                <a:lnTo>
                  <a:pt x="1114704" y="970205"/>
                </a:lnTo>
                <a:cubicBezTo>
                  <a:pt x="1114704" y="1004406"/>
                  <a:pt x="1086976" y="1032133"/>
                  <a:pt x="1052776" y="1032133"/>
                </a:cubicBezTo>
                <a:cubicBezTo>
                  <a:pt x="1018575" y="1032133"/>
                  <a:pt x="990848" y="1004406"/>
                  <a:pt x="990848" y="970205"/>
                </a:cubicBezTo>
                <a:lnTo>
                  <a:pt x="990848" y="805064"/>
                </a:lnTo>
                <a:cubicBezTo>
                  <a:pt x="990848" y="770863"/>
                  <a:pt x="1018575" y="743136"/>
                  <a:pt x="1052776" y="743136"/>
                </a:cubicBezTo>
                <a:cubicBezTo>
                  <a:pt x="1086976" y="743136"/>
                  <a:pt x="1114704" y="770863"/>
                  <a:pt x="1114704" y="805064"/>
                </a:cubicBezTo>
                <a:close/>
                <a:moveTo>
                  <a:pt x="805064" y="743136"/>
                </a:moveTo>
                <a:cubicBezTo>
                  <a:pt x="839264" y="743136"/>
                  <a:pt x="866992" y="770863"/>
                  <a:pt x="866992" y="805064"/>
                </a:cubicBezTo>
                <a:lnTo>
                  <a:pt x="866992" y="970205"/>
                </a:lnTo>
                <a:cubicBezTo>
                  <a:pt x="866992" y="1004406"/>
                  <a:pt x="839264" y="1032133"/>
                  <a:pt x="805064" y="1032133"/>
                </a:cubicBezTo>
                <a:cubicBezTo>
                  <a:pt x="770863" y="1032133"/>
                  <a:pt x="743136" y="1004406"/>
                  <a:pt x="743136" y="970205"/>
                </a:cubicBezTo>
                <a:lnTo>
                  <a:pt x="743136" y="805064"/>
                </a:lnTo>
                <a:cubicBezTo>
                  <a:pt x="743136" y="770863"/>
                  <a:pt x="770863" y="743136"/>
                  <a:pt x="805064" y="743136"/>
                </a:cubicBezTo>
                <a:close/>
                <a:moveTo>
                  <a:pt x="619280" y="805064"/>
                </a:moveTo>
                <a:lnTo>
                  <a:pt x="619280" y="970205"/>
                </a:lnTo>
                <a:cubicBezTo>
                  <a:pt x="619280" y="1004406"/>
                  <a:pt x="591553" y="1032133"/>
                  <a:pt x="557352" y="1032133"/>
                </a:cubicBezTo>
                <a:cubicBezTo>
                  <a:pt x="523150" y="1032133"/>
                  <a:pt x="495424" y="1004406"/>
                  <a:pt x="495424" y="970205"/>
                </a:cubicBezTo>
                <a:lnTo>
                  <a:pt x="495424" y="805064"/>
                </a:lnTo>
                <a:cubicBezTo>
                  <a:pt x="495424" y="770863"/>
                  <a:pt x="523150" y="743136"/>
                  <a:pt x="557352" y="743136"/>
                </a:cubicBezTo>
                <a:cubicBezTo>
                  <a:pt x="591553" y="743136"/>
                  <a:pt x="619280" y="770863"/>
                  <a:pt x="619280" y="805064"/>
                </a:cubicBezTo>
                <a:close/>
                <a:moveTo>
                  <a:pt x="309640" y="1114704"/>
                </a:moveTo>
                <a:cubicBezTo>
                  <a:pt x="343841" y="1114704"/>
                  <a:pt x="371568" y="1142431"/>
                  <a:pt x="371568" y="1176631"/>
                </a:cubicBezTo>
                <a:lnTo>
                  <a:pt x="371568" y="1383058"/>
                </a:lnTo>
                <a:cubicBezTo>
                  <a:pt x="371568" y="1417259"/>
                  <a:pt x="343841" y="1444986"/>
                  <a:pt x="309640" y="1444986"/>
                </a:cubicBezTo>
                <a:cubicBezTo>
                  <a:pt x="275438" y="1444986"/>
                  <a:pt x="247712" y="1417259"/>
                  <a:pt x="247712" y="1383058"/>
                </a:cubicBezTo>
                <a:lnTo>
                  <a:pt x="247712" y="1176631"/>
                </a:lnTo>
                <a:cubicBezTo>
                  <a:pt x="247712" y="1142431"/>
                  <a:pt x="275438" y="1114704"/>
                  <a:pt x="309640" y="1114704"/>
                </a:cubicBezTo>
                <a:close/>
                <a:moveTo>
                  <a:pt x="1403701" y="1176631"/>
                </a:moveTo>
                <a:lnTo>
                  <a:pt x="1403701" y="1383058"/>
                </a:lnTo>
                <a:cubicBezTo>
                  <a:pt x="1403701" y="1417259"/>
                  <a:pt x="1375973" y="1444986"/>
                  <a:pt x="1341773" y="1444986"/>
                </a:cubicBezTo>
                <a:cubicBezTo>
                  <a:pt x="1307572" y="1444986"/>
                  <a:pt x="1279845" y="1417259"/>
                  <a:pt x="1279845" y="1383058"/>
                </a:cubicBezTo>
                <a:lnTo>
                  <a:pt x="1279845" y="1176631"/>
                </a:lnTo>
                <a:cubicBezTo>
                  <a:pt x="1279845" y="1142431"/>
                  <a:pt x="1307572" y="1114704"/>
                  <a:pt x="1341773" y="1114704"/>
                </a:cubicBezTo>
                <a:cubicBezTo>
                  <a:pt x="1375973" y="1114704"/>
                  <a:pt x="1403701" y="1142431"/>
                  <a:pt x="1403701" y="1176631"/>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0" name="TextBox 109">
            <a:extLst>
              <a:ext uri="{FF2B5EF4-FFF2-40B4-BE49-F238E27FC236}">
                <a16:creationId xmlns:a16="http://schemas.microsoft.com/office/drawing/2014/main" id="{86131D93-374F-1CB3-2A0C-77E2A783B8AE}"/>
              </a:ext>
              <a:ext uri="{C183D7F6-B498-43B3-948B-1728B52AA6E4}">
                <adec:decorative xmlns:adec="http://schemas.microsoft.com/office/drawing/2017/decorative" val="0"/>
              </a:ext>
            </a:extLst>
          </p:cNvPr>
          <p:cNvSpPr txBox="1"/>
          <p:nvPr/>
        </p:nvSpPr>
        <p:spPr>
          <a:xfrm>
            <a:off x="8206663" y="2916039"/>
            <a:ext cx="3008466" cy="692497"/>
          </a:xfrm>
          <a:prstGeom prst="rect">
            <a:avLst/>
          </a:prstGeom>
          <a:noFill/>
        </p:spPr>
        <p:txBody>
          <a:bodyPr wrap="square" lIns="0" tIns="0" rIns="0" bIns="0" anchor="t">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w="3175">
                  <a:noFill/>
                </a:ln>
                <a:gradFill flip="none" rotWithShape="1">
                  <a:gsLst>
                    <a:gs pos="50000">
                      <a:srgbClr val="8661C5"/>
                    </a:gs>
                    <a:gs pos="0">
                      <a:srgbClr val="3E76D4"/>
                    </a:gs>
                    <a:gs pos="100000">
                      <a:srgbClr val="C73ECC"/>
                    </a:gs>
                  </a:gsLst>
                  <a:lin ang="2700000" scaled="1"/>
                  <a:tileRect/>
                </a:gradFill>
                <a:effectLst/>
                <a:uLnTx/>
                <a:uFillTx/>
                <a:latin typeface="Segoe UI Semibold"/>
                <a:ea typeface="+mn-ea"/>
                <a:cs typeface="+mn-cs"/>
              </a:rPr>
              <a:t>Govern</a:t>
            </a:r>
          </a:p>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Compliant usage</a:t>
            </a:r>
          </a:p>
        </p:txBody>
      </p:sp>
      <p:sp>
        <p:nvSpPr>
          <p:cNvPr id="5" name="TextBox 4">
            <a:extLst>
              <a:ext uri="{FF2B5EF4-FFF2-40B4-BE49-F238E27FC236}">
                <a16:creationId xmlns:a16="http://schemas.microsoft.com/office/drawing/2014/main" id="{DA485298-40A8-A563-D054-9C23F11A5871}"/>
              </a:ext>
            </a:extLst>
          </p:cNvPr>
          <p:cNvSpPr txBox="1"/>
          <p:nvPr/>
        </p:nvSpPr>
        <p:spPr>
          <a:xfrm>
            <a:off x="2050122" y="1105368"/>
            <a:ext cx="8243874" cy="369332"/>
          </a:xfrm>
          <a:prstGeom prst="rect">
            <a:avLst/>
          </a:prstGeom>
          <a:noFill/>
        </p:spPr>
        <p:txBody>
          <a:bodyPr wrap="square">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1C1C1C"/>
                </a:solidFill>
                <a:effectLst/>
                <a:uLnTx/>
                <a:uFillTx/>
                <a:latin typeface="Segoe UI"/>
                <a:ea typeface="+mn-ea"/>
                <a:cs typeface="Segoe UI" pitchFamily="34" charset="0"/>
              </a:rPr>
              <a:t>Unified data security, governance and compliance solutions for all data</a:t>
            </a:r>
            <a:endParaRPr kumimoji="0" lang="en-US" sz="2800" b="0" i="0" u="none" strike="noStrike" kern="1200" cap="none" spc="0" normalizeH="0" baseline="0" noProof="0">
              <a:ln w="3175">
                <a:noFill/>
              </a:ln>
              <a:solidFill>
                <a:srgbClr val="1C1C1C"/>
              </a:solidFill>
              <a:effectLst/>
              <a:uLnTx/>
              <a:uFillTx/>
              <a:latin typeface="Segoe UI"/>
              <a:ea typeface="+mn-ea"/>
              <a:cs typeface="Segoe UI" pitchFamily="34" charset="0"/>
            </a:endParaRPr>
          </a:p>
        </p:txBody>
      </p:sp>
      <p:pic>
        <p:nvPicPr>
          <p:cNvPr id="6" name="Picture 5">
            <a:extLst>
              <a:ext uri="{FF2B5EF4-FFF2-40B4-BE49-F238E27FC236}">
                <a16:creationId xmlns:a16="http://schemas.microsoft.com/office/drawing/2014/main" id="{7190F2FE-FDF8-954E-AEB5-6ED0BEE08EC6}"/>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951833" y="722002"/>
            <a:ext cx="340768" cy="340768"/>
          </a:xfrm>
          <a:prstGeom prst="rect">
            <a:avLst/>
          </a:prstGeom>
        </p:spPr>
      </p:pic>
      <p:sp>
        <p:nvSpPr>
          <p:cNvPr id="7" name="Rectangle: Rounded Corners 6">
            <a:extLst>
              <a:ext uri="{FF2B5EF4-FFF2-40B4-BE49-F238E27FC236}">
                <a16:creationId xmlns:a16="http://schemas.microsoft.com/office/drawing/2014/main" id="{457652B5-A28F-EAE7-C646-7458EE4A4B59}"/>
              </a:ext>
              <a:ext uri="{C183D7F6-B498-43B3-948B-1728B52AA6E4}">
                <adec:decorative xmlns:adec="http://schemas.microsoft.com/office/drawing/2017/decorative" val="1"/>
              </a:ext>
            </a:extLst>
          </p:cNvPr>
          <p:cNvSpPr>
            <a:spLocks/>
          </p:cNvSpPr>
          <p:nvPr/>
        </p:nvSpPr>
        <p:spPr bwMode="auto">
          <a:xfrm>
            <a:off x="768783" y="4280083"/>
            <a:ext cx="10659428" cy="1855915"/>
          </a:xfrm>
          <a:prstGeom prst="roundRect">
            <a:avLst>
              <a:gd name="adj" fmla="val 4779"/>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8A692CF1-C190-4A84-D25C-EFB6482C95EA}"/>
              </a:ext>
              <a:ext uri="{C183D7F6-B498-43B3-948B-1728B52AA6E4}">
                <adec:decorative xmlns:adec="http://schemas.microsoft.com/office/drawing/2017/decorative" val="1"/>
              </a:ext>
            </a:extLst>
          </p:cNvPr>
          <p:cNvSpPr/>
          <p:nvPr/>
        </p:nvSpPr>
        <p:spPr>
          <a:xfrm>
            <a:off x="5721569" y="4516878"/>
            <a:ext cx="748862" cy="246221"/>
          </a:xfrm>
          <a:prstGeom prst="rect">
            <a:avLst/>
          </a:prstGeom>
          <a:noFill/>
        </p:spPr>
        <p:txBody>
          <a:bodyPr wrap="square" lIns="0" tIns="0" rIns="0" bIns="0" anchor="t">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across</a:t>
            </a:r>
          </a:p>
        </p:txBody>
      </p:sp>
      <p:sp>
        <p:nvSpPr>
          <p:cNvPr id="11" name="TextBox 10">
            <a:extLst>
              <a:ext uri="{FF2B5EF4-FFF2-40B4-BE49-F238E27FC236}">
                <a16:creationId xmlns:a16="http://schemas.microsoft.com/office/drawing/2014/main" id="{647F862F-676B-D01D-0605-8A7D68E4FB9C}"/>
              </a:ext>
              <a:ext uri="{C183D7F6-B498-43B3-948B-1728B52AA6E4}">
                <adec:decorative xmlns:adec="http://schemas.microsoft.com/office/drawing/2017/decorative" val="0"/>
              </a:ext>
            </a:extLst>
          </p:cNvPr>
          <p:cNvSpPr txBox="1"/>
          <p:nvPr/>
        </p:nvSpPr>
        <p:spPr>
          <a:xfrm>
            <a:off x="978758" y="5377286"/>
            <a:ext cx="1813300" cy="61555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Structur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a:solidFill>
                  <a:srgbClr val="000000"/>
                </a:solidFill>
                <a:latin typeface="Segoe UI Semibold"/>
              </a:rPr>
              <a:t>data</a:t>
            </a: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2" name="Graphic 8" descr="plus">
            <a:extLst>
              <a:ext uri="{FF2B5EF4-FFF2-40B4-BE49-F238E27FC236}">
                <a16:creationId xmlns:a16="http://schemas.microsoft.com/office/drawing/2014/main" id="{C58D3D84-496C-4491-D230-FCF18D6E270D}"/>
              </a:ext>
              <a:ext uri="{C183D7F6-B498-43B3-948B-1728B52AA6E4}">
                <adec:decorative xmlns:adec="http://schemas.microsoft.com/office/drawing/2017/decorative" val="0"/>
              </a:ext>
            </a:extLst>
          </p:cNvPr>
          <p:cNvSpPr/>
          <p:nvPr/>
        </p:nvSpPr>
        <p:spPr>
          <a:xfrm>
            <a:off x="3186023" y="5078572"/>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A4953"/>
              </a:solidFill>
              <a:effectLst/>
              <a:uLnTx/>
              <a:uFillTx/>
              <a:latin typeface="Segoe UI Semibold"/>
              <a:ea typeface="+mn-ea"/>
              <a:cs typeface="Segoe UI" pitchFamily="34" charset="0"/>
            </a:endParaRPr>
          </a:p>
        </p:txBody>
      </p:sp>
      <p:sp>
        <p:nvSpPr>
          <p:cNvPr id="17" name="TextBox 16">
            <a:extLst>
              <a:ext uri="{FF2B5EF4-FFF2-40B4-BE49-F238E27FC236}">
                <a16:creationId xmlns:a16="http://schemas.microsoft.com/office/drawing/2014/main" id="{16167E88-0E91-DCCC-221D-EE04AA5E4803}"/>
              </a:ext>
              <a:ext uri="{C183D7F6-B498-43B3-948B-1728B52AA6E4}">
                <adec:decorative xmlns:adec="http://schemas.microsoft.com/office/drawing/2017/decorative" val="0"/>
              </a:ext>
            </a:extLst>
          </p:cNvPr>
          <p:cNvSpPr txBox="1"/>
          <p:nvPr/>
        </p:nvSpPr>
        <p:spPr>
          <a:xfrm>
            <a:off x="3786251" y="5377287"/>
            <a:ext cx="1813300"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Files and Emails</a:t>
            </a:r>
          </a:p>
        </p:txBody>
      </p:sp>
      <p:sp>
        <p:nvSpPr>
          <p:cNvPr id="18" name="Graphic 8" descr="plus">
            <a:extLst>
              <a:ext uri="{FF2B5EF4-FFF2-40B4-BE49-F238E27FC236}">
                <a16:creationId xmlns:a16="http://schemas.microsoft.com/office/drawing/2014/main" id="{7228564B-840D-64C6-EFDB-35C6205A279F}"/>
              </a:ext>
              <a:ext uri="{C183D7F6-B498-43B3-948B-1728B52AA6E4}">
                <adec:decorative xmlns:adec="http://schemas.microsoft.com/office/drawing/2017/decorative" val="0"/>
              </a:ext>
            </a:extLst>
          </p:cNvPr>
          <p:cNvSpPr/>
          <p:nvPr/>
        </p:nvSpPr>
        <p:spPr>
          <a:xfrm>
            <a:off x="5993812" y="5081887"/>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A4953"/>
              </a:solidFill>
              <a:effectLst/>
              <a:uLnTx/>
              <a:uFillTx/>
              <a:latin typeface="Segoe UI Semibold"/>
              <a:ea typeface="+mn-ea"/>
              <a:cs typeface="Segoe UI" pitchFamily="34" charset="0"/>
            </a:endParaRPr>
          </a:p>
        </p:txBody>
      </p:sp>
      <p:sp>
        <p:nvSpPr>
          <p:cNvPr id="23" name="TextBox 22">
            <a:extLst>
              <a:ext uri="{FF2B5EF4-FFF2-40B4-BE49-F238E27FC236}">
                <a16:creationId xmlns:a16="http://schemas.microsoft.com/office/drawing/2014/main" id="{905D7087-4290-CF04-576E-ED3D06127E16}"/>
              </a:ext>
              <a:ext uri="{C183D7F6-B498-43B3-948B-1728B52AA6E4}">
                <adec:decorative xmlns:adec="http://schemas.microsoft.com/office/drawing/2017/decorative" val="0"/>
              </a:ext>
            </a:extLst>
          </p:cNvPr>
          <p:cNvSpPr txBox="1"/>
          <p:nvPr/>
        </p:nvSpPr>
        <p:spPr>
          <a:xfrm>
            <a:off x="6594040" y="5377287"/>
            <a:ext cx="1813300" cy="61555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AI-generated data</a:t>
            </a:r>
          </a:p>
        </p:txBody>
      </p:sp>
      <p:sp>
        <p:nvSpPr>
          <p:cNvPr id="25" name="Graphic 8" descr="plus">
            <a:extLst>
              <a:ext uri="{FF2B5EF4-FFF2-40B4-BE49-F238E27FC236}">
                <a16:creationId xmlns:a16="http://schemas.microsoft.com/office/drawing/2014/main" id="{6A79BEAE-BD2C-AB24-8290-EB7366869B81}"/>
              </a:ext>
              <a:ext uri="{C183D7F6-B498-43B3-948B-1728B52AA6E4}">
                <adec:decorative xmlns:adec="http://schemas.microsoft.com/office/drawing/2017/decorative" val="0"/>
              </a:ext>
            </a:extLst>
          </p:cNvPr>
          <p:cNvSpPr/>
          <p:nvPr/>
        </p:nvSpPr>
        <p:spPr>
          <a:xfrm>
            <a:off x="8801601" y="5075263"/>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A4953"/>
              </a:solidFill>
              <a:effectLst/>
              <a:uLnTx/>
              <a:uFillTx/>
              <a:latin typeface="Segoe UI Semibold"/>
              <a:ea typeface="+mn-ea"/>
              <a:cs typeface="Segoe UI" pitchFamily="34" charset="0"/>
            </a:endParaRPr>
          </a:p>
        </p:txBody>
      </p:sp>
      <p:sp>
        <p:nvSpPr>
          <p:cNvPr id="28" name="Graphic 147" descr="Icon of an AI robot">
            <a:extLst>
              <a:ext uri="{FF2B5EF4-FFF2-40B4-BE49-F238E27FC236}">
                <a16:creationId xmlns:a16="http://schemas.microsoft.com/office/drawing/2014/main" id="{1596FF2A-B489-1EFC-E2AD-A4C5CB03E46A}"/>
              </a:ext>
            </a:extLst>
          </p:cNvPr>
          <p:cNvSpPr>
            <a:spLocks/>
          </p:cNvSpPr>
          <p:nvPr/>
        </p:nvSpPr>
        <p:spPr>
          <a:xfrm>
            <a:off x="7327363" y="4755441"/>
            <a:ext cx="393784" cy="438912"/>
          </a:xfrm>
          <a:custGeom>
            <a:avLst/>
            <a:gdLst>
              <a:gd name="connsiteX0" fmla="*/ 130969 w 152400"/>
              <a:gd name="connsiteY0" fmla="*/ 114300 h 190500"/>
              <a:gd name="connsiteX1" fmla="*/ 152400 w 152400"/>
              <a:gd name="connsiteY1" fmla="*/ 135731 h 190500"/>
              <a:gd name="connsiteX2" fmla="*/ 152400 w 152400"/>
              <a:gd name="connsiteY2" fmla="*/ 144351 h 190500"/>
              <a:gd name="connsiteX3" fmla="*/ 139951 w 152400"/>
              <a:gd name="connsiteY3" fmla="*/ 171460 h 190500"/>
              <a:gd name="connsiteX4" fmla="*/ 76171 w 152400"/>
              <a:gd name="connsiteY4" fmla="*/ 190500 h 190500"/>
              <a:gd name="connsiteX5" fmla="*/ 12440 w 152400"/>
              <a:gd name="connsiteY5" fmla="*/ 171450 h 190500"/>
              <a:gd name="connsiteX6" fmla="*/ 0 w 152400"/>
              <a:gd name="connsiteY6" fmla="*/ 144370 h 190500"/>
              <a:gd name="connsiteX7" fmla="*/ 0 w 152400"/>
              <a:gd name="connsiteY7" fmla="*/ 135722 h 190500"/>
              <a:gd name="connsiteX8" fmla="*/ 21431 w 152400"/>
              <a:gd name="connsiteY8" fmla="*/ 114300 h 190500"/>
              <a:gd name="connsiteX9" fmla="*/ 130969 w 152400"/>
              <a:gd name="connsiteY9" fmla="*/ 114300 h 190500"/>
              <a:gd name="connsiteX10" fmla="*/ 75200 w 152400"/>
              <a:gd name="connsiteY10" fmla="*/ 76 h 190500"/>
              <a:gd name="connsiteX11" fmla="*/ 76171 w 152400"/>
              <a:gd name="connsiteY11" fmla="*/ 0 h 190500"/>
              <a:gd name="connsiteX12" fmla="*/ 83249 w 152400"/>
              <a:gd name="connsiteY12" fmla="*/ 6172 h 190500"/>
              <a:gd name="connsiteX13" fmla="*/ 83315 w 152400"/>
              <a:gd name="connsiteY13" fmla="*/ 7144 h 190500"/>
              <a:gd name="connsiteX14" fmla="*/ 83315 w 152400"/>
              <a:gd name="connsiteY14" fmla="*/ 14288 h 190500"/>
              <a:gd name="connsiteX15" fmla="*/ 116653 w 152400"/>
              <a:gd name="connsiteY15" fmla="*/ 14288 h 190500"/>
              <a:gd name="connsiteX16" fmla="*/ 138084 w 152400"/>
              <a:gd name="connsiteY16" fmla="*/ 35719 h 190500"/>
              <a:gd name="connsiteX17" fmla="*/ 138084 w 152400"/>
              <a:gd name="connsiteY17" fmla="*/ 78629 h 190500"/>
              <a:gd name="connsiteX18" fmla="*/ 116653 w 152400"/>
              <a:gd name="connsiteY18" fmla="*/ 100060 h 190500"/>
              <a:gd name="connsiteX19" fmla="*/ 35690 w 152400"/>
              <a:gd name="connsiteY19" fmla="*/ 100060 h 190500"/>
              <a:gd name="connsiteX20" fmla="*/ 14259 w 152400"/>
              <a:gd name="connsiteY20" fmla="*/ 78629 h 190500"/>
              <a:gd name="connsiteX21" fmla="*/ 14259 w 152400"/>
              <a:gd name="connsiteY21" fmla="*/ 35719 h 190500"/>
              <a:gd name="connsiteX22" fmla="*/ 35690 w 152400"/>
              <a:gd name="connsiteY22" fmla="*/ 14288 h 190500"/>
              <a:gd name="connsiteX23" fmla="*/ 69028 w 152400"/>
              <a:gd name="connsiteY23" fmla="*/ 14288 h 190500"/>
              <a:gd name="connsiteX24" fmla="*/ 69028 w 152400"/>
              <a:gd name="connsiteY24" fmla="*/ 7153 h 190500"/>
              <a:gd name="connsiteX25" fmla="*/ 75200 w 152400"/>
              <a:gd name="connsiteY25" fmla="*/ 76 h 190500"/>
              <a:gd name="connsiteX26" fmla="*/ 76171 w 152400"/>
              <a:gd name="connsiteY26" fmla="*/ 0 h 190500"/>
              <a:gd name="connsiteX27" fmla="*/ 75200 w 152400"/>
              <a:gd name="connsiteY27" fmla="*/ 67 h 190500"/>
              <a:gd name="connsiteX28" fmla="*/ 54740 w 152400"/>
              <a:gd name="connsiteY28" fmla="*/ 42863 h 190500"/>
              <a:gd name="connsiteX29" fmla="*/ 42834 w 152400"/>
              <a:gd name="connsiteY29" fmla="*/ 54769 h 190500"/>
              <a:gd name="connsiteX30" fmla="*/ 54740 w 152400"/>
              <a:gd name="connsiteY30" fmla="*/ 66675 h 190500"/>
              <a:gd name="connsiteX31" fmla="*/ 66646 w 152400"/>
              <a:gd name="connsiteY31" fmla="*/ 54769 h 190500"/>
              <a:gd name="connsiteX32" fmla="*/ 54740 w 152400"/>
              <a:gd name="connsiteY32" fmla="*/ 42863 h 190500"/>
              <a:gd name="connsiteX33" fmla="*/ 97536 w 152400"/>
              <a:gd name="connsiteY33" fmla="*/ 42863 h 190500"/>
              <a:gd name="connsiteX34" fmla="*/ 85297 w 152400"/>
              <a:gd name="connsiteY34" fmla="*/ 54427 h 190500"/>
              <a:gd name="connsiteX35" fmla="*/ 96863 w 152400"/>
              <a:gd name="connsiteY35" fmla="*/ 66665 h 190500"/>
              <a:gd name="connsiteX36" fmla="*/ 97536 w 152400"/>
              <a:gd name="connsiteY36" fmla="*/ 66665 h 190500"/>
              <a:gd name="connsiteX37" fmla="*/ 109100 w 152400"/>
              <a:gd name="connsiteY37" fmla="*/ 54427 h 190500"/>
              <a:gd name="connsiteX38" fmla="*/ 97536 w 152400"/>
              <a:gd name="connsiteY38" fmla="*/ 4286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2400" h="190500">
                <a:moveTo>
                  <a:pt x="130969" y="114300"/>
                </a:moveTo>
                <a:cubicBezTo>
                  <a:pt x="142805" y="114300"/>
                  <a:pt x="152400" y="123895"/>
                  <a:pt x="152400" y="135731"/>
                </a:cubicBezTo>
                <a:lnTo>
                  <a:pt x="152400" y="144351"/>
                </a:lnTo>
                <a:cubicBezTo>
                  <a:pt x="152403" y="154771"/>
                  <a:pt x="147856" y="164672"/>
                  <a:pt x="139951" y="171460"/>
                </a:cubicBezTo>
                <a:cubicBezTo>
                  <a:pt x="125035" y="184261"/>
                  <a:pt x="103699" y="190500"/>
                  <a:pt x="76171" y="190500"/>
                </a:cubicBezTo>
                <a:cubicBezTo>
                  <a:pt x="48644" y="190500"/>
                  <a:pt x="27327" y="184252"/>
                  <a:pt x="12440" y="171450"/>
                </a:cubicBezTo>
                <a:cubicBezTo>
                  <a:pt x="4546" y="164667"/>
                  <a:pt x="3" y="154778"/>
                  <a:pt x="0" y="144370"/>
                </a:cubicBezTo>
                <a:lnTo>
                  <a:pt x="0" y="135722"/>
                </a:lnTo>
                <a:cubicBezTo>
                  <a:pt x="5" y="123890"/>
                  <a:pt x="9599" y="114300"/>
                  <a:pt x="21431" y="114300"/>
                </a:cubicBezTo>
                <a:lnTo>
                  <a:pt x="130969" y="114300"/>
                </a:lnTo>
                <a:close/>
                <a:moveTo>
                  <a:pt x="75200" y="76"/>
                </a:moveTo>
                <a:lnTo>
                  <a:pt x="76171" y="0"/>
                </a:lnTo>
                <a:cubicBezTo>
                  <a:pt x="79741" y="0"/>
                  <a:pt x="82763" y="2636"/>
                  <a:pt x="83249" y="6172"/>
                </a:cubicBezTo>
                <a:lnTo>
                  <a:pt x="83315" y="7144"/>
                </a:lnTo>
                <a:lnTo>
                  <a:pt x="83315" y="14288"/>
                </a:lnTo>
                <a:lnTo>
                  <a:pt x="116653" y="14288"/>
                </a:lnTo>
                <a:cubicBezTo>
                  <a:pt x="128488" y="14288"/>
                  <a:pt x="138084" y="23883"/>
                  <a:pt x="138084" y="35719"/>
                </a:cubicBezTo>
                <a:lnTo>
                  <a:pt x="138084" y="78629"/>
                </a:lnTo>
                <a:cubicBezTo>
                  <a:pt x="138084" y="90465"/>
                  <a:pt x="128488" y="100060"/>
                  <a:pt x="116653" y="100060"/>
                </a:cubicBezTo>
                <a:lnTo>
                  <a:pt x="35690" y="100060"/>
                </a:lnTo>
                <a:cubicBezTo>
                  <a:pt x="23854" y="100060"/>
                  <a:pt x="14259" y="90465"/>
                  <a:pt x="14259" y="78629"/>
                </a:cubicBezTo>
                <a:lnTo>
                  <a:pt x="14259" y="35719"/>
                </a:lnTo>
                <a:cubicBezTo>
                  <a:pt x="14259" y="23883"/>
                  <a:pt x="23854" y="14288"/>
                  <a:pt x="35690" y="14288"/>
                </a:cubicBezTo>
                <a:lnTo>
                  <a:pt x="69028" y="14288"/>
                </a:lnTo>
                <a:lnTo>
                  <a:pt x="69028" y="7153"/>
                </a:lnTo>
                <a:cubicBezTo>
                  <a:pt x="69028" y="3583"/>
                  <a:pt x="71663" y="562"/>
                  <a:pt x="75200" y="76"/>
                </a:cubicBezTo>
                <a:lnTo>
                  <a:pt x="76171" y="0"/>
                </a:lnTo>
                <a:lnTo>
                  <a:pt x="75200" y="67"/>
                </a:lnTo>
                <a:close/>
                <a:moveTo>
                  <a:pt x="54740" y="42863"/>
                </a:moveTo>
                <a:cubicBezTo>
                  <a:pt x="48164" y="42863"/>
                  <a:pt x="42834" y="48193"/>
                  <a:pt x="42834" y="54769"/>
                </a:cubicBezTo>
                <a:cubicBezTo>
                  <a:pt x="42834" y="61344"/>
                  <a:pt x="48164" y="66675"/>
                  <a:pt x="54740" y="66675"/>
                </a:cubicBezTo>
                <a:cubicBezTo>
                  <a:pt x="61316" y="66675"/>
                  <a:pt x="66646" y="61344"/>
                  <a:pt x="66646" y="54769"/>
                </a:cubicBezTo>
                <a:cubicBezTo>
                  <a:pt x="66646" y="48193"/>
                  <a:pt x="61316" y="42863"/>
                  <a:pt x="54740" y="42863"/>
                </a:cubicBezTo>
                <a:close/>
                <a:moveTo>
                  <a:pt x="97536" y="42863"/>
                </a:moveTo>
                <a:cubicBezTo>
                  <a:pt x="90963" y="42677"/>
                  <a:pt x="85484" y="47854"/>
                  <a:pt x="85297" y="54427"/>
                </a:cubicBezTo>
                <a:cubicBezTo>
                  <a:pt x="85112" y="61000"/>
                  <a:pt x="90289" y="66480"/>
                  <a:pt x="96863" y="66665"/>
                </a:cubicBezTo>
                <a:cubicBezTo>
                  <a:pt x="97087" y="66672"/>
                  <a:pt x="97311" y="66672"/>
                  <a:pt x="97536" y="66665"/>
                </a:cubicBezTo>
                <a:cubicBezTo>
                  <a:pt x="104109" y="66480"/>
                  <a:pt x="109287" y="61000"/>
                  <a:pt x="109100" y="54427"/>
                </a:cubicBezTo>
                <a:cubicBezTo>
                  <a:pt x="108922" y="48116"/>
                  <a:pt x="103847" y="43041"/>
                  <a:pt x="97536" y="42863"/>
                </a:cubicBezTo>
                <a:close/>
              </a:path>
            </a:pathLst>
          </a:cu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GB" sz="32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0" name="TextBox 29">
            <a:extLst>
              <a:ext uri="{FF2B5EF4-FFF2-40B4-BE49-F238E27FC236}">
                <a16:creationId xmlns:a16="http://schemas.microsoft.com/office/drawing/2014/main" id="{C5B2F4D0-2BC1-91EC-9AB3-88F8E05DD99F}"/>
              </a:ext>
              <a:ext uri="{C183D7F6-B498-43B3-948B-1728B52AA6E4}">
                <adec:decorative xmlns:adec="http://schemas.microsoft.com/office/drawing/2017/decorative" val="0"/>
              </a:ext>
            </a:extLst>
          </p:cNvPr>
          <p:cNvSpPr txBox="1"/>
          <p:nvPr/>
        </p:nvSpPr>
        <p:spPr>
          <a:xfrm>
            <a:off x="9401829" y="5377287"/>
            <a:ext cx="1813300" cy="61555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M365 &amp; other clouds</a:t>
            </a:r>
          </a:p>
        </p:txBody>
      </p:sp>
      <p:sp>
        <p:nvSpPr>
          <p:cNvPr id="31" name="Freeform: Shape 30" descr="Icon of a blank document">
            <a:extLst>
              <a:ext uri="{FF2B5EF4-FFF2-40B4-BE49-F238E27FC236}">
                <a16:creationId xmlns:a16="http://schemas.microsoft.com/office/drawing/2014/main" id="{E2EAD1B8-8939-67C3-0D9A-A529A4ED648D}"/>
              </a:ext>
            </a:extLst>
          </p:cNvPr>
          <p:cNvSpPr>
            <a:spLocks/>
          </p:cNvSpPr>
          <p:nvPr/>
        </p:nvSpPr>
        <p:spPr>
          <a:xfrm>
            <a:off x="4494418" y="4755441"/>
            <a:ext cx="338328" cy="438912"/>
          </a:xfrm>
          <a:custGeom>
            <a:avLst/>
            <a:gdLst>
              <a:gd name="connsiteX0" fmla="*/ 130456 w 219716"/>
              <a:gd name="connsiteY0" fmla="*/ 6866 h 274645"/>
              <a:gd name="connsiteX1" fmla="*/ 212850 w 219716"/>
              <a:gd name="connsiteY1" fmla="*/ 89260 h 274645"/>
              <a:gd name="connsiteX2" fmla="*/ 137322 w 219716"/>
              <a:gd name="connsiteY2" fmla="*/ 89260 h 274645"/>
              <a:gd name="connsiteX3" fmla="*/ 130456 w 219716"/>
              <a:gd name="connsiteY3" fmla="*/ 82393 h 274645"/>
              <a:gd name="connsiteX4" fmla="*/ 27465 w 219716"/>
              <a:gd name="connsiteY4" fmla="*/ 0 h 274645"/>
              <a:gd name="connsiteX5" fmla="*/ 109858 w 219716"/>
              <a:gd name="connsiteY5" fmla="*/ 0 h 274645"/>
              <a:gd name="connsiteX6" fmla="*/ 109858 w 219716"/>
              <a:gd name="connsiteY6" fmla="*/ 82394 h 274645"/>
              <a:gd name="connsiteX7" fmla="*/ 137323 w 219716"/>
              <a:gd name="connsiteY7" fmla="*/ 109858 h 274645"/>
              <a:gd name="connsiteX8" fmla="*/ 219716 w 219716"/>
              <a:gd name="connsiteY8" fmla="*/ 109858 h 274645"/>
              <a:gd name="connsiteX9" fmla="*/ 219716 w 219716"/>
              <a:gd name="connsiteY9" fmla="*/ 247181 h 274645"/>
              <a:gd name="connsiteX10" fmla="*/ 192252 w 219716"/>
              <a:gd name="connsiteY10" fmla="*/ 274645 h 274645"/>
              <a:gd name="connsiteX11" fmla="*/ 27465 w 219716"/>
              <a:gd name="connsiteY11" fmla="*/ 274645 h 274645"/>
              <a:gd name="connsiteX12" fmla="*/ 0 w 219716"/>
              <a:gd name="connsiteY12" fmla="*/ 247181 h 274645"/>
              <a:gd name="connsiteX13" fmla="*/ 0 w 219716"/>
              <a:gd name="connsiteY13" fmla="*/ 27465 h 274645"/>
              <a:gd name="connsiteX14" fmla="*/ 27465 w 219716"/>
              <a:gd name="connsiteY14" fmla="*/ 0 h 27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716" h="274645">
                <a:moveTo>
                  <a:pt x="130456" y="6866"/>
                </a:moveTo>
                <a:lnTo>
                  <a:pt x="212850" y="89260"/>
                </a:lnTo>
                <a:lnTo>
                  <a:pt x="137322" y="89260"/>
                </a:lnTo>
                <a:cubicBezTo>
                  <a:pt x="133531" y="89260"/>
                  <a:pt x="130456" y="86185"/>
                  <a:pt x="130456" y="82393"/>
                </a:cubicBezTo>
                <a:close/>
                <a:moveTo>
                  <a:pt x="27465" y="0"/>
                </a:moveTo>
                <a:lnTo>
                  <a:pt x="109858" y="0"/>
                </a:lnTo>
                <a:lnTo>
                  <a:pt x="109858" y="82394"/>
                </a:lnTo>
                <a:cubicBezTo>
                  <a:pt x="109858" y="97562"/>
                  <a:pt x="122154" y="109858"/>
                  <a:pt x="137323" y="109858"/>
                </a:cubicBezTo>
                <a:lnTo>
                  <a:pt x="219716" y="109858"/>
                </a:lnTo>
                <a:lnTo>
                  <a:pt x="219716" y="247181"/>
                </a:lnTo>
                <a:cubicBezTo>
                  <a:pt x="219716" y="262349"/>
                  <a:pt x="207420" y="274645"/>
                  <a:pt x="192252" y="274645"/>
                </a:cubicBezTo>
                <a:lnTo>
                  <a:pt x="27465" y="274645"/>
                </a:lnTo>
                <a:cubicBezTo>
                  <a:pt x="12296" y="274645"/>
                  <a:pt x="0" y="262349"/>
                  <a:pt x="0" y="247181"/>
                </a:cubicBezTo>
                <a:lnTo>
                  <a:pt x="0" y="27465"/>
                </a:lnTo>
                <a:cubicBezTo>
                  <a:pt x="0" y="12296"/>
                  <a:pt x="12296" y="0"/>
                  <a:pt x="27465" y="0"/>
                </a:cubicBezTo>
                <a:close/>
              </a:path>
            </a:pathLst>
          </a:cu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a:ln>
                <a:noFill/>
              </a:ln>
              <a:solidFill>
                <a:srgbClr val="FFFFFF"/>
              </a:solidFill>
              <a:effectLst/>
              <a:uLnTx/>
              <a:uFillTx/>
              <a:latin typeface="Segoe UI Semibold"/>
              <a:ea typeface="+mn-ea"/>
              <a:cs typeface="+mn-cs"/>
            </a:endParaRPr>
          </a:p>
        </p:txBody>
      </p:sp>
      <p:grpSp>
        <p:nvGrpSpPr>
          <p:cNvPr id="47" name="Graphic 36" descr="Database with solid fill">
            <a:extLst>
              <a:ext uri="{FF2B5EF4-FFF2-40B4-BE49-F238E27FC236}">
                <a16:creationId xmlns:a16="http://schemas.microsoft.com/office/drawing/2014/main" id="{0E9BECFB-9DF9-37C7-5E4D-5424D359750D}"/>
              </a:ext>
            </a:extLst>
          </p:cNvPr>
          <p:cNvGrpSpPr/>
          <p:nvPr/>
        </p:nvGrpSpPr>
        <p:grpSpPr>
          <a:xfrm>
            <a:off x="1688812" y="4755441"/>
            <a:ext cx="393192" cy="438912"/>
            <a:chOff x="446710" y="4386007"/>
            <a:chExt cx="533400" cy="723900"/>
          </a:xfrm>
          <a:solidFill>
            <a:srgbClr val="000000"/>
          </a:solidFill>
        </p:grpSpPr>
        <p:sp>
          <p:nvSpPr>
            <p:cNvPr id="48" name="Freeform: Shape 47">
              <a:extLst>
                <a:ext uri="{FF2B5EF4-FFF2-40B4-BE49-F238E27FC236}">
                  <a16:creationId xmlns:a16="http://schemas.microsoft.com/office/drawing/2014/main" id="{36F310FB-78A3-196D-7047-4E805EFAB522}"/>
                </a:ext>
              </a:extLst>
            </p:cNvPr>
            <p:cNvSpPr/>
            <p:nvPr/>
          </p:nvSpPr>
          <p:spPr>
            <a:xfrm>
              <a:off x="446710" y="4386007"/>
              <a:ext cx="533400" cy="152400"/>
            </a:xfrm>
            <a:custGeom>
              <a:avLst/>
              <a:gdLst>
                <a:gd name="connsiteX0" fmla="*/ 533400 w 533400"/>
                <a:gd name="connsiteY0" fmla="*/ 76200 h 152400"/>
                <a:gd name="connsiteX1" fmla="*/ 266700 w 533400"/>
                <a:gd name="connsiteY1" fmla="*/ 152400 h 152400"/>
                <a:gd name="connsiteX2" fmla="*/ 0 w 533400"/>
                <a:gd name="connsiteY2" fmla="*/ 76200 h 152400"/>
                <a:gd name="connsiteX3" fmla="*/ 266700 w 533400"/>
                <a:gd name="connsiteY3" fmla="*/ 0 h 152400"/>
                <a:gd name="connsiteX4" fmla="*/ 533400 w 533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152400">
                  <a:moveTo>
                    <a:pt x="533400" y="76200"/>
                  </a:moveTo>
                  <a:cubicBezTo>
                    <a:pt x="533400" y="118284"/>
                    <a:pt x="413994" y="152400"/>
                    <a:pt x="266700" y="152400"/>
                  </a:cubicBezTo>
                  <a:cubicBezTo>
                    <a:pt x="119406" y="152400"/>
                    <a:pt x="0" y="118284"/>
                    <a:pt x="0" y="76200"/>
                  </a:cubicBezTo>
                  <a:cubicBezTo>
                    <a:pt x="0" y="34116"/>
                    <a:pt x="119406" y="0"/>
                    <a:pt x="266700" y="0"/>
                  </a:cubicBezTo>
                  <a:cubicBezTo>
                    <a:pt x="413994" y="0"/>
                    <a:pt x="533400" y="34116"/>
                    <a:pt x="533400" y="76200"/>
                  </a:cubicBezTo>
                  <a:close/>
                </a:path>
              </a:pathLst>
            </a:cu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algn="ctr" defTabSz="914367" fontAlgn="base">
                <a:spcBef>
                  <a:spcPct val="0"/>
                </a:spcBef>
                <a:spcAft>
                  <a:spcPts val="1200"/>
                </a:spcAft>
                <a:buSzPct val="90000"/>
              </a:pPr>
              <a:endParaRPr lang="en-US" sz="3200">
                <a:solidFill>
                  <a:srgbClr val="FFFFFF"/>
                </a:solidFill>
                <a:latin typeface="Segoe UI Semibold"/>
              </a:endParaRPr>
            </a:p>
          </p:txBody>
        </p:sp>
        <p:sp>
          <p:nvSpPr>
            <p:cNvPr id="49" name="Freeform: Shape 48">
              <a:extLst>
                <a:ext uri="{FF2B5EF4-FFF2-40B4-BE49-F238E27FC236}">
                  <a16:creationId xmlns:a16="http://schemas.microsoft.com/office/drawing/2014/main" id="{34CB3EA7-1DC8-F93A-6EDD-9378A230AE2F}"/>
                </a:ext>
              </a:extLst>
            </p:cNvPr>
            <p:cNvSpPr/>
            <p:nvPr/>
          </p:nvSpPr>
          <p:spPr>
            <a:xfrm>
              <a:off x="446710" y="4500307"/>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algn="ctr" defTabSz="914367" fontAlgn="base">
                <a:spcBef>
                  <a:spcPct val="0"/>
                </a:spcBef>
                <a:spcAft>
                  <a:spcPts val="1200"/>
                </a:spcAft>
                <a:buSzPct val="90000"/>
              </a:pPr>
              <a:endParaRPr lang="en-US" sz="3200">
                <a:solidFill>
                  <a:srgbClr val="FFFFFF"/>
                </a:solidFill>
                <a:latin typeface="Segoe UI Semibold"/>
              </a:endParaRPr>
            </a:p>
          </p:txBody>
        </p:sp>
        <p:sp>
          <p:nvSpPr>
            <p:cNvPr id="50" name="Freeform: Shape 49">
              <a:extLst>
                <a:ext uri="{FF2B5EF4-FFF2-40B4-BE49-F238E27FC236}">
                  <a16:creationId xmlns:a16="http://schemas.microsoft.com/office/drawing/2014/main" id="{0D9095C2-1FF4-363E-575D-462A7F8AFA37}"/>
                </a:ext>
              </a:extLst>
            </p:cNvPr>
            <p:cNvSpPr/>
            <p:nvPr/>
          </p:nvSpPr>
          <p:spPr>
            <a:xfrm>
              <a:off x="446710" y="4690807"/>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algn="ctr" defTabSz="914367" fontAlgn="base">
                <a:spcBef>
                  <a:spcPct val="0"/>
                </a:spcBef>
                <a:spcAft>
                  <a:spcPts val="1200"/>
                </a:spcAft>
                <a:buSzPct val="90000"/>
              </a:pPr>
              <a:endParaRPr lang="en-US" sz="3200">
                <a:solidFill>
                  <a:srgbClr val="FFFFFF"/>
                </a:solidFill>
                <a:latin typeface="Segoe UI Semibold"/>
              </a:endParaRPr>
            </a:p>
          </p:txBody>
        </p:sp>
        <p:sp>
          <p:nvSpPr>
            <p:cNvPr id="51" name="Freeform: Shape 50">
              <a:extLst>
                <a:ext uri="{FF2B5EF4-FFF2-40B4-BE49-F238E27FC236}">
                  <a16:creationId xmlns:a16="http://schemas.microsoft.com/office/drawing/2014/main" id="{1BA1ED3B-C513-689A-1BE1-016644C395F1}"/>
                </a:ext>
              </a:extLst>
            </p:cNvPr>
            <p:cNvSpPr/>
            <p:nvPr/>
          </p:nvSpPr>
          <p:spPr>
            <a:xfrm>
              <a:off x="446710" y="4881307"/>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algn="ctr" defTabSz="914367" fontAlgn="base">
                <a:spcBef>
                  <a:spcPct val="0"/>
                </a:spcBef>
                <a:spcAft>
                  <a:spcPts val="1200"/>
                </a:spcAft>
                <a:buSzPct val="90000"/>
              </a:pPr>
              <a:endParaRPr lang="en-US" sz="3200">
                <a:solidFill>
                  <a:srgbClr val="FFFFFF"/>
                </a:solidFill>
                <a:latin typeface="Segoe UI Semibold"/>
              </a:endParaRPr>
            </a:p>
          </p:txBody>
        </p:sp>
      </p:grpSp>
      <p:sp>
        <p:nvSpPr>
          <p:cNvPr id="54" name="Graphic 52" descr="Cloud with solid fill">
            <a:extLst>
              <a:ext uri="{FF2B5EF4-FFF2-40B4-BE49-F238E27FC236}">
                <a16:creationId xmlns:a16="http://schemas.microsoft.com/office/drawing/2014/main" id="{CF8B28E6-F3AB-19EF-BED5-349FCE606550}"/>
              </a:ext>
            </a:extLst>
          </p:cNvPr>
          <p:cNvSpPr/>
          <p:nvPr/>
        </p:nvSpPr>
        <p:spPr>
          <a:xfrm>
            <a:off x="9835410" y="4755441"/>
            <a:ext cx="667777" cy="438912"/>
          </a:xfrm>
          <a:custGeom>
            <a:avLst/>
            <a:gdLst>
              <a:gd name="connsiteX0" fmla="*/ 689427 w 802774"/>
              <a:gd name="connsiteY0" fmla="*/ 227507 h 457059"/>
              <a:gd name="connsiteX1" fmla="*/ 679902 w 802774"/>
              <a:gd name="connsiteY1" fmla="*/ 227507 h 457059"/>
              <a:gd name="connsiteX2" fmla="*/ 679902 w 802774"/>
              <a:gd name="connsiteY2" fmla="*/ 227507 h 457059"/>
              <a:gd name="connsiteX3" fmla="*/ 619895 w 802774"/>
              <a:gd name="connsiteY3" fmla="*/ 111302 h 457059"/>
              <a:gd name="connsiteX4" fmla="*/ 489403 w 802774"/>
              <a:gd name="connsiteY4" fmla="*/ 93204 h 457059"/>
              <a:gd name="connsiteX5" fmla="*/ 296998 w 802774"/>
              <a:gd name="connsiteY5" fmla="*/ 4622 h 457059"/>
              <a:gd name="connsiteX6" fmla="*/ 165552 w 802774"/>
              <a:gd name="connsiteY6" fmla="*/ 170357 h 457059"/>
              <a:gd name="connsiteX7" fmla="*/ 165552 w 802774"/>
              <a:gd name="connsiteY7" fmla="*/ 172262 h 457059"/>
              <a:gd name="connsiteX8" fmla="*/ 28392 w 802774"/>
              <a:gd name="connsiteY8" fmla="*/ 227507 h 457059"/>
              <a:gd name="connsiteX9" fmla="*/ 13152 w 802774"/>
              <a:gd name="connsiteY9" fmla="*/ 374192 h 457059"/>
              <a:gd name="connsiteX10" fmla="*/ 136025 w 802774"/>
              <a:gd name="connsiteY10" fmla="*/ 456107 h 457059"/>
              <a:gd name="connsiteX11" fmla="*/ 136025 w 802774"/>
              <a:gd name="connsiteY11" fmla="*/ 457059 h 457059"/>
              <a:gd name="connsiteX12" fmla="*/ 688475 w 802774"/>
              <a:gd name="connsiteY12" fmla="*/ 457059 h 457059"/>
              <a:gd name="connsiteX13" fmla="*/ 802775 w 802774"/>
              <a:gd name="connsiteY13" fmla="*/ 342759 h 457059"/>
              <a:gd name="connsiteX14" fmla="*/ 689427 w 802774"/>
              <a:gd name="connsiteY14" fmla="*/ 227507 h 457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2774" h="457059">
                <a:moveTo>
                  <a:pt x="689427" y="227507"/>
                </a:moveTo>
                <a:cubicBezTo>
                  <a:pt x="686570" y="227507"/>
                  <a:pt x="682760" y="227507"/>
                  <a:pt x="679902" y="227507"/>
                </a:cubicBezTo>
                <a:cubicBezTo>
                  <a:pt x="679902" y="227507"/>
                  <a:pt x="679902" y="227507"/>
                  <a:pt x="679902" y="227507"/>
                </a:cubicBezTo>
                <a:cubicBezTo>
                  <a:pt x="679902" y="180834"/>
                  <a:pt x="657043" y="137972"/>
                  <a:pt x="619895" y="111302"/>
                </a:cubicBezTo>
                <a:cubicBezTo>
                  <a:pt x="581795" y="84632"/>
                  <a:pt x="533218" y="77964"/>
                  <a:pt x="489403" y="93204"/>
                </a:cubicBezTo>
                <a:cubicBezTo>
                  <a:pt x="453208" y="22719"/>
                  <a:pt x="373198" y="-13476"/>
                  <a:pt x="296998" y="4622"/>
                </a:cubicBezTo>
                <a:cubicBezTo>
                  <a:pt x="220797" y="22719"/>
                  <a:pt x="165552" y="91299"/>
                  <a:pt x="165552" y="170357"/>
                </a:cubicBezTo>
                <a:cubicBezTo>
                  <a:pt x="165552" y="170357"/>
                  <a:pt x="165552" y="171309"/>
                  <a:pt x="165552" y="172262"/>
                </a:cubicBezTo>
                <a:cubicBezTo>
                  <a:pt x="113165" y="163689"/>
                  <a:pt x="60777" y="185597"/>
                  <a:pt x="28392" y="227507"/>
                </a:cubicBezTo>
                <a:cubicBezTo>
                  <a:pt x="-3040" y="270369"/>
                  <a:pt x="-8755" y="326567"/>
                  <a:pt x="13152" y="374192"/>
                </a:cubicBezTo>
                <a:cubicBezTo>
                  <a:pt x="36012" y="421817"/>
                  <a:pt x="83637" y="453249"/>
                  <a:pt x="136025" y="456107"/>
                </a:cubicBezTo>
                <a:lnTo>
                  <a:pt x="136025" y="457059"/>
                </a:lnTo>
                <a:lnTo>
                  <a:pt x="688475" y="457059"/>
                </a:lnTo>
                <a:cubicBezTo>
                  <a:pt x="751340" y="457059"/>
                  <a:pt x="802775" y="405624"/>
                  <a:pt x="802775" y="342759"/>
                </a:cubicBezTo>
                <a:cubicBezTo>
                  <a:pt x="802775" y="279894"/>
                  <a:pt x="752293" y="227507"/>
                  <a:pt x="689427" y="227507"/>
                </a:cubicBezTo>
                <a:close/>
              </a:path>
            </a:pathLst>
          </a:cu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ts val="1200"/>
              </a:spcAft>
              <a:buSzPct val="90000"/>
            </a:pPr>
            <a:endParaRPr lang="en-US" sz="3600">
              <a:solidFill>
                <a:srgbClr val="FFFFFF"/>
              </a:solidFill>
              <a:latin typeface="Segoe UI Semibold"/>
            </a:endParaRPr>
          </a:p>
        </p:txBody>
      </p:sp>
    </p:spTree>
    <p:extLst>
      <p:ext uri="{BB962C8B-B14F-4D97-AF65-F5344CB8AC3E}">
        <p14:creationId xmlns:p14="http://schemas.microsoft.com/office/powerpoint/2010/main" val="1952471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0FAEBE-9B9B-9C4F-F688-6A9D183B931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0138388-9D55-834A-6317-E179519842E7}"/>
              </a:ext>
            </a:extLst>
          </p:cNvPr>
          <p:cNvSpPr>
            <a:spLocks noGrp="1"/>
          </p:cNvSpPr>
          <p:nvPr>
            <p:ph type="title"/>
          </p:nvPr>
        </p:nvSpPr>
        <p:spPr>
          <a:xfrm>
            <a:off x="758597" y="2548242"/>
            <a:ext cx="10049816" cy="1495794"/>
          </a:xfrm>
        </p:spPr>
        <p:txBody>
          <a:bodyPr anchor="ctr"/>
          <a:lstStyle/>
          <a:p>
            <a:r>
              <a:rPr lang="en-US"/>
              <a:t>Securing AI Apps and Agents with Microsoft Purview</a:t>
            </a:r>
          </a:p>
        </p:txBody>
      </p:sp>
      <p:sp>
        <p:nvSpPr>
          <p:cNvPr id="2" name="Rectangle: Rounded Corners 7">
            <a:extLst>
              <a:ext uri="{FF2B5EF4-FFF2-40B4-BE49-F238E27FC236}">
                <a16:creationId xmlns:a16="http://schemas.microsoft.com/office/drawing/2014/main" id="{21F494D5-050B-5B6F-CC77-4C004DF012F6}"/>
              </a:ext>
              <a:ext uri="{C183D7F6-B498-43B3-948B-1728B52AA6E4}">
                <adec:decorative xmlns:adec="http://schemas.microsoft.com/office/drawing/2017/decorative" val="1"/>
              </a:ext>
            </a:extLst>
          </p:cNvPr>
          <p:cNvSpPr>
            <a:spLocks/>
          </p:cNvSpPr>
          <p:nvPr/>
        </p:nvSpPr>
        <p:spPr bwMode="auto">
          <a:xfrm>
            <a:off x="3595955" y="2570655"/>
            <a:ext cx="2691829" cy="756306"/>
          </a:xfrm>
          <a:prstGeom prst="roundRect">
            <a:avLst>
              <a:gd name="adj" fmla="val 23762"/>
            </a:avLst>
          </a:prstGeom>
          <a:ln w="28575" cap="rnd">
            <a:gradFill flip="none" rotWithShape="1">
              <a:gsLst>
                <a:gs pos="0">
                  <a:srgbClr val="C03BC4"/>
                </a:gs>
                <a:gs pos="80000">
                  <a:srgbClr val="0078D4"/>
                </a:gs>
              </a:gsLst>
              <a:path path="circle">
                <a:fillToRect l="100000" t="100000"/>
              </a:path>
              <a:tileRect r="-100000" b="-100000"/>
            </a:gradFill>
            <a:prstDash val="sysDash"/>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300"/>
              </a:spcAft>
              <a:buClrTx/>
              <a:buSzTx/>
              <a:buFontTx/>
              <a:buNone/>
              <a:tabLst/>
              <a:defRPr/>
            </a:pPr>
            <a:endParaRPr kumimoji="0" lang="en-IN" sz="1200" b="1" i="0" u="none" strike="noStrike" kern="1200" cap="none" spc="0" normalizeH="0" baseline="0" noProof="0">
              <a:ln>
                <a:noFill/>
              </a:ln>
              <a:solidFill>
                <a:srgbClr val="0078D4"/>
              </a:solidFill>
              <a:effectLst/>
              <a:uLnTx/>
              <a:uFillTx/>
              <a:latin typeface="Segoe UI Semibold"/>
              <a:ea typeface="+mn-ea"/>
              <a:cs typeface="Segoe UI"/>
            </a:endParaRPr>
          </a:p>
        </p:txBody>
      </p:sp>
      <p:sp>
        <p:nvSpPr>
          <p:cNvPr id="8" name="TextBox 7">
            <a:extLst>
              <a:ext uri="{FF2B5EF4-FFF2-40B4-BE49-F238E27FC236}">
                <a16:creationId xmlns:a16="http://schemas.microsoft.com/office/drawing/2014/main" id="{48A5883C-33FD-FFF2-D154-7406F872493A}"/>
              </a:ext>
            </a:extLst>
          </p:cNvPr>
          <p:cNvSpPr txBox="1"/>
          <p:nvPr/>
        </p:nvSpPr>
        <p:spPr>
          <a:xfrm>
            <a:off x="4086546" y="2003362"/>
            <a:ext cx="6097712" cy="430887"/>
          </a:xfrm>
          <a:prstGeom prst="rect">
            <a:avLst/>
          </a:prstGeom>
          <a:noFill/>
        </p:spPr>
        <p:txBody>
          <a:bodyPr wrap="square">
            <a:spAutoFit/>
          </a:bodyPr>
          <a:lstStyle/>
          <a:p>
            <a:r>
              <a:rPr kumimoji="0" lang="en-US" sz="2200" b="1" i="0" u="none" strike="noStrike" kern="1200" cap="none" spc="-50" normalizeH="0" baseline="0" noProof="0">
                <a:ln w="3175">
                  <a:noFill/>
                </a:ln>
                <a:solidFill>
                  <a:schemeClr val="bg1">
                    <a:lumMod val="75000"/>
                  </a:schemeClr>
                </a:solidFill>
                <a:effectLst/>
                <a:uLnTx/>
                <a:uFillTx/>
                <a:latin typeface="Segoe Print" panose="02000600000000000000" pitchFamily="2" charset="0"/>
                <a:cs typeface="Segoe UI" panose="020B0502040204020203" pitchFamily="34" charset="0"/>
              </a:rPr>
              <a:t>Starting with Microsoft 365 Copilot</a:t>
            </a:r>
            <a:endParaRPr lang="en-US" sz="2200">
              <a:solidFill>
                <a:schemeClr val="bg1">
                  <a:lumMod val="75000"/>
                </a:schemeClr>
              </a:solidFill>
              <a:latin typeface="Segoe Print" panose="02000600000000000000" pitchFamily="2" charset="0"/>
            </a:endParaRPr>
          </a:p>
        </p:txBody>
      </p:sp>
      <p:sp>
        <p:nvSpPr>
          <p:cNvPr id="12" name="Arc 11">
            <a:extLst>
              <a:ext uri="{FF2B5EF4-FFF2-40B4-BE49-F238E27FC236}">
                <a16:creationId xmlns:a16="http://schemas.microsoft.com/office/drawing/2014/main" id="{2FBA6707-8CDD-46D8-DCF5-459A8B3B0D1D}"/>
              </a:ext>
            </a:extLst>
          </p:cNvPr>
          <p:cNvSpPr/>
          <p:nvPr/>
        </p:nvSpPr>
        <p:spPr>
          <a:xfrm rot="17921614">
            <a:off x="3908032" y="2127629"/>
            <a:ext cx="398124" cy="430887"/>
          </a:xfrm>
          <a:custGeom>
            <a:avLst/>
            <a:gdLst>
              <a:gd name="connsiteX0" fmla="*/ 2044 w 398124"/>
              <a:gd name="connsiteY0" fmla="*/ 246241 h 430887"/>
              <a:gd name="connsiteX1" fmla="*/ 162661 w 398124"/>
              <a:gd name="connsiteY1" fmla="*/ 3632 h 430887"/>
              <a:gd name="connsiteX2" fmla="*/ 395203 w 398124"/>
              <a:gd name="connsiteY2" fmla="*/ 178673 h 430887"/>
              <a:gd name="connsiteX3" fmla="*/ 199062 w 398124"/>
              <a:gd name="connsiteY3" fmla="*/ 215444 h 430887"/>
              <a:gd name="connsiteX4" fmla="*/ 2044 w 398124"/>
              <a:gd name="connsiteY4" fmla="*/ 246241 h 430887"/>
              <a:gd name="connsiteX0" fmla="*/ 2044 w 398124"/>
              <a:gd name="connsiteY0" fmla="*/ 246241 h 430887"/>
              <a:gd name="connsiteX1" fmla="*/ 162661 w 398124"/>
              <a:gd name="connsiteY1" fmla="*/ 3632 h 430887"/>
              <a:gd name="connsiteX2" fmla="*/ 395203 w 398124"/>
              <a:gd name="connsiteY2" fmla="*/ 178673 h 430887"/>
            </a:gdLst>
            <a:ahLst/>
            <a:cxnLst>
              <a:cxn ang="0">
                <a:pos x="connsiteX0" y="connsiteY0"/>
              </a:cxn>
              <a:cxn ang="0">
                <a:pos x="connsiteX1" y="connsiteY1"/>
              </a:cxn>
              <a:cxn ang="0">
                <a:pos x="connsiteX2" y="connsiteY2"/>
              </a:cxn>
            </a:cxnLst>
            <a:rect l="l" t="t" r="r" b="b"/>
            <a:pathLst>
              <a:path w="398124" h="430887" stroke="0" extrusionOk="0">
                <a:moveTo>
                  <a:pt x="2044" y="246241"/>
                </a:moveTo>
                <a:cubicBezTo>
                  <a:pt x="-16041" y="130973"/>
                  <a:pt x="58718" y="30128"/>
                  <a:pt x="162661" y="3632"/>
                </a:cubicBezTo>
                <a:cubicBezTo>
                  <a:pt x="269156" y="-17106"/>
                  <a:pt x="390960" y="73580"/>
                  <a:pt x="395203" y="178673"/>
                </a:cubicBezTo>
                <a:cubicBezTo>
                  <a:pt x="309725" y="189017"/>
                  <a:pt x="260749" y="195016"/>
                  <a:pt x="199062" y="215444"/>
                </a:cubicBezTo>
                <a:cubicBezTo>
                  <a:pt x="126462" y="222313"/>
                  <a:pt x="75019" y="230174"/>
                  <a:pt x="2044" y="246241"/>
                </a:cubicBezTo>
                <a:close/>
              </a:path>
              <a:path w="398124" h="430887" fill="none" extrusionOk="0">
                <a:moveTo>
                  <a:pt x="2044" y="246241"/>
                </a:moveTo>
                <a:cubicBezTo>
                  <a:pt x="-17365" y="128969"/>
                  <a:pt x="60190" y="26428"/>
                  <a:pt x="162661" y="3632"/>
                </a:cubicBezTo>
                <a:cubicBezTo>
                  <a:pt x="288530" y="-28522"/>
                  <a:pt x="385897" y="81648"/>
                  <a:pt x="395203" y="178673"/>
                </a:cubicBezTo>
              </a:path>
              <a:path w="398124" h="430887" fill="none" stroke="0" extrusionOk="0">
                <a:moveTo>
                  <a:pt x="2044" y="246241"/>
                </a:moveTo>
                <a:cubicBezTo>
                  <a:pt x="-3815" y="107431"/>
                  <a:pt x="54635" y="47381"/>
                  <a:pt x="162661" y="3632"/>
                </a:cubicBezTo>
                <a:cubicBezTo>
                  <a:pt x="275451" y="-17431"/>
                  <a:pt x="376063" y="42668"/>
                  <a:pt x="395203" y="178673"/>
                </a:cubicBezTo>
              </a:path>
            </a:pathLst>
          </a:custGeom>
          <a:ln w="19050">
            <a:solidFill>
              <a:schemeClr val="bg1">
                <a:lumMod val="75000"/>
              </a:schemeClr>
            </a:solidFill>
            <a:headEnd type="none" w="lg" len="med"/>
            <a:tailEnd type="none" w="lg" len="med"/>
            <a:extLst>
              <a:ext uri="{C807C97D-BFC1-408E-A445-0C87EB9F89A2}">
                <ask:lineSketchStyleProps xmlns:ask="http://schemas.microsoft.com/office/drawing/2018/sketchyshapes" sd="1978871457">
                  <a:prstGeom prst="arc">
                    <a:avLst>
                      <a:gd name="adj1" fmla="val 10266924"/>
                      <a:gd name="adj2" fmla="val 20962919"/>
                    </a:avLst>
                  </a:prstGeom>
                  <ask:type>
                    <ask:lineSketchFreehand/>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964061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wipe(down)">
                                      <p:cBhvr>
                                        <p:cTn id="11" dur="500"/>
                                        <p:tgtEl>
                                          <p:spTgt spid="12"/>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p:bldP spid="1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325042-73EA-41BA-373B-C99D535EDD5B}"/>
            </a:ext>
          </a:extLst>
        </p:cNvPr>
        <p:cNvGrpSpPr/>
        <p:nvPr/>
      </p:nvGrpSpPr>
      <p:grpSpPr>
        <a:xfrm>
          <a:off x="0" y="0"/>
          <a:ext cx="0" cy="0"/>
          <a:chOff x="0" y="0"/>
          <a:chExt cx="0" cy="0"/>
        </a:xfrm>
      </p:grpSpPr>
      <p:sp>
        <p:nvSpPr>
          <p:cNvPr id="11" name="Title 10">
            <a:extLst>
              <a:ext uri="{FF2B5EF4-FFF2-40B4-BE49-F238E27FC236}">
                <a16:creationId xmlns:a16="http://schemas.microsoft.com/office/drawing/2014/main" id="{ACD14EFA-52F3-65B0-6689-73473E5425BD}"/>
              </a:ext>
            </a:extLst>
          </p:cNvPr>
          <p:cNvSpPr>
            <a:spLocks noGrp="1"/>
          </p:cNvSpPr>
          <p:nvPr>
            <p:ph type="title"/>
          </p:nvPr>
        </p:nvSpPr>
        <p:spPr/>
        <p:txBody>
          <a:bodyPr/>
          <a:lstStyle/>
          <a:p>
            <a:pPr algn="ctr"/>
            <a:r>
              <a:rPr lang="en-CA" noProof="0"/>
              <a:t>Copilot is the UI for AI</a:t>
            </a:r>
            <a:endParaRPr lang="en-IN"/>
          </a:p>
        </p:txBody>
      </p:sp>
      <p:grpSp>
        <p:nvGrpSpPr>
          <p:cNvPr id="319" name="Group 318" descr="Copilot Control System encompasses the entire infographic above.&#10;">
            <a:extLst>
              <a:ext uri="{FF2B5EF4-FFF2-40B4-BE49-F238E27FC236}">
                <a16:creationId xmlns:a16="http://schemas.microsoft.com/office/drawing/2014/main" id="{AB57C6F0-62FD-F209-3D25-0F7DC2AE5E2F}"/>
              </a:ext>
              <a:ext uri="{C183D7F6-B498-43B3-948B-1728B52AA6E4}">
                <adec:decorative xmlns:adec="http://schemas.microsoft.com/office/drawing/2017/decorative" val="0"/>
              </a:ext>
            </a:extLst>
          </p:cNvPr>
          <p:cNvGrpSpPr/>
          <p:nvPr/>
        </p:nvGrpSpPr>
        <p:grpSpPr>
          <a:xfrm>
            <a:off x="1309965" y="5754330"/>
            <a:ext cx="9629330" cy="276999"/>
            <a:chOff x="1746529" y="5600588"/>
            <a:chExt cx="8756216" cy="277071"/>
          </a:xfrm>
        </p:grpSpPr>
        <p:sp>
          <p:nvSpPr>
            <p:cNvPr id="320" name="Rounded Rectangle 62">
              <a:extLst>
                <a:ext uri="{FF2B5EF4-FFF2-40B4-BE49-F238E27FC236}">
                  <a16:creationId xmlns:a16="http://schemas.microsoft.com/office/drawing/2014/main" id="{C9EFAEB0-6518-BC02-6CFC-CB87DDB6E5CE}"/>
                </a:ext>
                <a:ext uri="{C183D7F6-B498-43B3-948B-1728B52AA6E4}">
                  <adec:decorative xmlns:adec="http://schemas.microsoft.com/office/drawing/2017/decorative" val="1"/>
                </a:ext>
              </a:extLst>
            </p:cNvPr>
            <p:cNvSpPr/>
            <p:nvPr/>
          </p:nvSpPr>
          <p:spPr bwMode="auto">
            <a:xfrm>
              <a:off x="4884049" y="5600588"/>
              <a:ext cx="2449287" cy="277071"/>
            </a:xfrm>
            <a:prstGeom prst="rect">
              <a:avLst/>
            </a:prstGeom>
            <a:noFill/>
            <a:ln w="9525" cap="flat" cmpd="sng" algn="ctr">
              <a:noFill/>
              <a:prstDash val="solid"/>
              <a:headEnd type="none" w="med" len="med"/>
              <a:tailEnd type="none" w="med" len="med"/>
            </a:ln>
            <a:effectLst>
              <a:softEdge rad="165100"/>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821996" rtl="0" eaLnBrk="1" fontAlgn="base" latinLnBrk="0" hangingPunct="1">
                <a:lnSpc>
                  <a:spcPct val="100000"/>
                </a:lnSpc>
                <a:spcBef>
                  <a:spcPct val="0"/>
                </a:spcBef>
                <a:spcAft>
                  <a:spcPct val="0"/>
                </a:spcAft>
                <a:buClrTx/>
                <a:buSzTx/>
                <a:buFontTx/>
                <a:buNone/>
                <a:tabLst>
                  <a:tab pos="920076" algn="l"/>
                </a:tabLst>
                <a:defRPr/>
              </a:pPr>
              <a:r>
                <a:rPr kumimoji="0" lang="en-US" sz="1800" b="0" i="0" u="none" strike="noStrike" kern="0" cap="none" spc="0" normalizeH="0" baseline="0" noProof="0">
                  <a:ln>
                    <a:noFill/>
                  </a:ln>
                  <a:solidFill>
                    <a:srgbClr val="000000"/>
                  </a:solidFill>
                  <a:effectLst/>
                  <a:uLnTx/>
                  <a:uFillTx/>
                  <a:latin typeface="Segoe UI Semibold"/>
                  <a:ea typeface="+mn-ea"/>
                  <a:cs typeface="Segoe Sans Display Semibold" pitchFamily="2" charset="0"/>
                </a:rPr>
                <a:t>Copilot Control System</a:t>
              </a:r>
            </a:p>
          </p:txBody>
        </p:sp>
        <p:pic>
          <p:nvPicPr>
            <p:cNvPr id="321" name="Picture 320">
              <a:extLst>
                <a:ext uri="{FF2B5EF4-FFF2-40B4-BE49-F238E27FC236}">
                  <a16:creationId xmlns:a16="http://schemas.microsoft.com/office/drawing/2014/main" id="{34C1030E-04AE-F521-A3AD-A5164B10F3A1}"/>
                </a:ext>
                <a:ext uri="{C183D7F6-B498-43B3-948B-1728B52AA6E4}">
                  <adec:decorative xmlns:adec="http://schemas.microsoft.com/office/drawing/2017/decorative" val="1"/>
                </a:ext>
              </a:extLst>
            </p:cNvPr>
            <p:cNvPicPr>
              <a:picLocks noChangeAspect="1"/>
            </p:cNvPicPr>
            <p:nvPr/>
          </p:nvPicPr>
          <p:blipFill>
            <a:blip r:embed="rId3"/>
            <a:srcRect l="1" r="-30"/>
            <a:stretch/>
          </p:blipFill>
          <p:spPr>
            <a:xfrm>
              <a:off x="1746529" y="5681465"/>
              <a:ext cx="3164765" cy="141695"/>
            </a:xfrm>
            <a:prstGeom prst="rect">
              <a:avLst/>
            </a:prstGeom>
          </p:spPr>
        </p:pic>
        <p:pic>
          <p:nvPicPr>
            <p:cNvPr id="322" name="Picture 321">
              <a:extLst>
                <a:ext uri="{FF2B5EF4-FFF2-40B4-BE49-F238E27FC236}">
                  <a16:creationId xmlns:a16="http://schemas.microsoft.com/office/drawing/2014/main" id="{088FD758-D724-E06A-06EF-843F74847C64}"/>
                </a:ext>
                <a:ext uri="{C183D7F6-B498-43B3-948B-1728B52AA6E4}">
                  <adec:decorative xmlns:adec="http://schemas.microsoft.com/office/drawing/2017/decorative" val="1"/>
                </a:ext>
              </a:extLst>
            </p:cNvPr>
            <p:cNvPicPr>
              <a:picLocks noChangeAspect="1"/>
            </p:cNvPicPr>
            <p:nvPr/>
          </p:nvPicPr>
          <p:blipFill>
            <a:blip r:embed="rId4"/>
            <a:srcRect l="-193" r="1"/>
            <a:stretch/>
          </p:blipFill>
          <p:spPr>
            <a:xfrm>
              <a:off x="7295248" y="5687400"/>
              <a:ext cx="3207497" cy="141695"/>
            </a:xfrm>
            <a:prstGeom prst="rect">
              <a:avLst/>
            </a:prstGeom>
          </p:spPr>
        </p:pic>
      </p:grpSp>
      <p:sp>
        <p:nvSpPr>
          <p:cNvPr id="325" name="Rectangle: Rounded Corners 7">
            <a:extLst>
              <a:ext uri="{FF2B5EF4-FFF2-40B4-BE49-F238E27FC236}">
                <a16:creationId xmlns:a16="http://schemas.microsoft.com/office/drawing/2014/main" id="{CFB5EF1B-616D-722B-5BF7-48BCB402849A}"/>
              </a:ext>
              <a:ext uri="{C183D7F6-B498-43B3-948B-1728B52AA6E4}">
                <adec:decorative xmlns:adec="http://schemas.microsoft.com/office/drawing/2017/decorative" val="1"/>
              </a:ext>
            </a:extLst>
          </p:cNvPr>
          <p:cNvSpPr>
            <a:spLocks/>
          </p:cNvSpPr>
          <p:nvPr/>
        </p:nvSpPr>
        <p:spPr bwMode="auto">
          <a:xfrm>
            <a:off x="586740" y="1381243"/>
            <a:ext cx="11018520" cy="5017970"/>
          </a:xfrm>
          <a:prstGeom prst="roundRect">
            <a:avLst>
              <a:gd name="adj" fmla="val 3385"/>
            </a:avLst>
          </a:prstGeom>
          <a:ln w="19050" cap="rnd">
            <a:gradFill flip="none" rotWithShape="1">
              <a:gsLst>
                <a:gs pos="0">
                  <a:srgbClr val="C03BC4"/>
                </a:gs>
                <a:gs pos="80000">
                  <a:srgbClr val="0078D4"/>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300"/>
              </a:spcAft>
              <a:buClrTx/>
              <a:buSzTx/>
              <a:buFontTx/>
              <a:buNone/>
              <a:tabLst/>
              <a:defRPr/>
            </a:pPr>
            <a:endParaRPr kumimoji="0" lang="en-IN" sz="1200" b="1" i="0" u="none" strike="noStrike" kern="1200" cap="none" spc="0" normalizeH="0" baseline="0" noProof="0">
              <a:ln>
                <a:noFill/>
              </a:ln>
              <a:solidFill>
                <a:srgbClr val="0078D4"/>
              </a:solidFill>
              <a:effectLst/>
              <a:uLnTx/>
              <a:uFillTx/>
              <a:latin typeface="Segoe UI Semibold"/>
              <a:ea typeface="+mn-ea"/>
              <a:cs typeface="Segoe UI"/>
            </a:endParaRPr>
          </a:p>
        </p:txBody>
      </p:sp>
      <p:pic>
        <p:nvPicPr>
          <p:cNvPr id="228" name="Picture 227" descr="A person in a black shirt smiling is the starting point of the infographic">
            <a:extLst>
              <a:ext uri="{FF2B5EF4-FFF2-40B4-BE49-F238E27FC236}">
                <a16:creationId xmlns:a16="http://schemas.microsoft.com/office/drawing/2014/main" id="{815B37DE-0A12-E93A-14FB-80A432DBEF56}"/>
              </a:ext>
              <a:ext uri="{C183D7F6-B498-43B3-948B-1728B52AA6E4}">
                <adec:decorative xmlns:adec="http://schemas.microsoft.com/office/drawing/2017/decorative" val="0"/>
              </a:ext>
            </a:extLst>
          </p:cNvPr>
          <p:cNvPicPr>
            <a:picLocks noChangeAspect="1"/>
          </p:cNvPicPr>
          <p:nvPr/>
        </p:nvPicPr>
        <p:blipFill rotWithShape="1">
          <a:blip r:embed="rId5"/>
          <a:srcRect l="7986" t="12923" r="24479" b="42054"/>
          <a:stretch/>
        </p:blipFill>
        <p:spPr>
          <a:xfrm>
            <a:off x="1575500" y="3239440"/>
            <a:ext cx="1162801" cy="1162800"/>
          </a:xfrm>
          <a:prstGeom prst="ellipse">
            <a:avLst/>
          </a:prstGeom>
          <a:solidFill>
            <a:schemeClr val="bg1"/>
          </a:solidFill>
          <a:ln w="14684" cap="flat">
            <a:noFill/>
            <a:prstDash val="solid"/>
            <a:miter/>
          </a:ln>
          <a:effectLst/>
        </p:spPr>
      </p:pic>
      <p:grpSp>
        <p:nvGrpSpPr>
          <p:cNvPr id="229" name="Group 228" descr="Arrowing going back-and-forth between the person and Copilot">
            <a:extLst>
              <a:ext uri="{FF2B5EF4-FFF2-40B4-BE49-F238E27FC236}">
                <a16:creationId xmlns:a16="http://schemas.microsoft.com/office/drawing/2014/main" id="{3AEB6FCA-BFEA-C261-4E88-FE829F2F09F1}"/>
              </a:ext>
              <a:ext uri="{C183D7F6-B498-43B3-948B-1728B52AA6E4}">
                <adec:decorative xmlns:adec="http://schemas.microsoft.com/office/drawing/2017/decorative" val="0"/>
              </a:ext>
            </a:extLst>
          </p:cNvPr>
          <p:cNvGrpSpPr/>
          <p:nvPr/>
        </p:nvGrpSpPr>
        <p:grpSpPr>
          <a:xfrm>
            <a:off x="3243249" y="3651338"/>
            <a:ext cx="1043807" cy="339829"/>
            <a:chOff x="16892579" y="9293170"/>
            <a:chExt cx="2858461" cy="930620"/>
          </a:xfrm>
        </p:grpSpPr>
        <p:grpSp>
          <p:nvGrpSpPr>
            <p:cNvPr id="230" name="Group 229">
              <a:extLst>
                <a:ext uri="{FF2B5EF4-FFF2-40B4-BE49-F238E27FC236}">
                  <a16:creationId xmlns:a16="http://schemas.microsoft.com/office/drawing/2014/main" id="{BB4509D9-CF8F-43C2-D5BB-2F524D1417C2}"/>
                </a:ext>
              </a:extLst>
            </p:cNvPr>
            <p:cNvGrpSpPr/>
            <p:nvPr/>
          </p:nvGrpSpPr>
          <p:grpSpPr>
            <a:xfrm>
              <a:off x="16892579" y="9293170"/>
              <a:ext cx="2492701" cy="463291"/>
              <a:chOff x="16892579" y="9293170"/>
              <a:chExt cx="2492701" cy="463291"/>
            </a:xfrm>
          </p:grpSpPr>
          <p:grpSp>
            <p:nvGrpSpPr>
              <p:cNvPr id="309" name="Group 308">
                <a:extLst>
                  <a:ext uri="{FF2B5EF4-FFF2-40B4-BE49-F238E27FC236}">
                    <a16:creationId xmlns:a16="http://schemas.microsoft.com/office/drawing/2014/main" id="{437298A5-1B38-0B13-B7FF-1F5063E5C447}"/>
                  </a:ext>
                </a:extLst>
              </p:cNvPr>
              <p:cNvGrpSpPr>
                <a:grpSpLocks noChangeAspect="1"/>
              </p:cNvGrpSpPr>
              <p:nvPr/>
            </p:nvGrpSpPr>
            <p:grpSpPr>
              <a:xfrm rot="16200000" flipH="1">
                <a:off x="16758939" y="9426810"/>
                <a:ext cx="463291" cy="196011"/>
                <a:chOff x="24942308" y="2917288"/>
                <a:chExt cx="1321816" cy="559246"/>
              </a:xfrm>
            </p:grpSpPr>
            <p:cxnSp>
              <p:nvCxnSpPr>
                <p:cNvPr id="316" name="Straight Connector 315">
                  <a:extLst>
                    <a:ext uri="{FF2B5EF4-FFF2-40B4-BE49-F238E27FC236}">
                      <a16:creationId xmlns:a16="http://schemas.microsoft.com/office/drawing/2014/main" id="{8D8F8F70-4536-C76A-949B-D038BC93C275}"/>
                    </a:ext>
                    <a:ext uri="{C183D7F6-B498-43B3-948B-1728B52AA6E4}">
                      <adec:decorative xmlns:adec="http://schemas.microsoft.com/office/drawing/2017/decorative" val="1"/>
                    </a:ext>
                  </a:extLst>
                </p:cNvPr>
                <p:cNvCxnSpPr>
                  <a:cxnSpLocks/>
                </p:cNvCxnSpPr>
                <p:nvPr/>
              </p:nvCxnSpPr>
              <p:spPr>
                <a:xfrm rot="10800000">
                  <a:off x="25603203" y="2917288"/>
                  <a:ext cx="660921" cy="559239"/>
                </a:xfrm>
                <a:prstGeom prst="line">
                  <a:avLst/>
                </a:prstGeom>
                <a:noFill/>
                <a:ln w="19050" cap="rnd" cmpd="sng" algn="ctr">
                  <a:solidFill>
                    <a:srgbClr val="000000"/>
                  </a:solidFill>
                  <a:prstDash val="solid"/>
                  <a:headEnd type="none" w="lg" len="med"/>
                  <a:tailEnd type="none" w="lg" len="med"/>
                </a:ln>
                <a:effectLst/>
              </p:spPr>
            </p:cxnSp>
            <p:cxnSp>
              <p:nvCxnSpPr>
                <p:cNvPr id="317" name="Straight Connector 316">
                  <a:extLst>
                    <a:ext uri="{FF2B5EF4-FFF2-40B4-BE49-F238E27FC236}">
                      <a16:creationId xmlns:a16="http://schemas.microsoft.com/office/drawing/2014/main" id="{1A97FFEF-731D-B54C-B8C7-31C510C13C3F}"/>
                    </a:ext>
                    <a:ext uri="{C183D7F6-B498-43B3-948B-1728B52AA6E4}">
                      <adec:decorative xmlns:adec="http://schemas.microsoft.com/office/drawing/2017/decorative" val="1"/>
                    </a:ext>
                  </a:extLst>
                </p:cNvPr>
                <p:cNvCxnSpPr>
                  <a:cxnSpLocks/>
                </p:cNvCxnSpPr>
                <p:nvPr/>
              </p:nvCxnSpPr>
              <p:spPr>
                <a:xfrm rot="10800000" flipH="1">
                  <a:off x="24942308" y="2917292"/>
                  <a:ext cx="660917" cy="559242"/>
                </a:xfrm>
                <a:prstGeom prst="line">
                  <a:avLst/>
                </a:prstGeom>
                <a:noFill/>
                <a:ln w="19050" cap="rnd" cmpd="sng" algn="ctr">
                  <a:solidFill>
                    <a:srgbClr val="000000"/>
                  </a:solidFill>
                  <a:prstDash val="solid"/>
                  <a:headEnd type="none" w="lg" len="med"/>
                  <a:tailEnd type="none" w="lg" len="med"/>
                </a:ln>
                <a:effectLst/>
              </p:spPr>
            </p:cxnSp>
          </p:grpSp>
          <p:cxnSp>
            <p:nvCxnSpPr>
              <p:cNvPr id="315" name="Straight Connector 314">
                <a:extLst>
                  <a:ext uri="{FF2B5EF4-FFF2-40B4-BE49-F238E27FC236}">
                    <a16:creationId xmlns:a16="http://schemas.microsoft.com/office/drawing/2014/main" id="{3D9519CA-27E9-D371-656B-F46303DF1F0E}"/>
                  </a:ext>
                  <a:ext uri="{C183D7F6-B498-43B3-948B-1728B52AA6E4}">
                    <adec:decorative xmlns:adec="http://schemas.microsoft.com/office/drawing/2017/decorative" val="1"/>
                  </a:ext>
                </a:extLst>
              </p:cNvPr>
              <p:cNvCxnSpPr>
                <a:cxnSpLocks/>
              </p:cNvCxnSpPr>
              <p:nvPr/>
            </p:nvCxnSpPr>
            <p:spPr>
              <a:xfrm>
                <a:off x="16907819" y="9524781"/>
                <a:ext cx="2477461" cy="0"/>
              </a:xfrm>
              <a:prstGeom prst="line">
                <a:avLst/>
              </a:prstGeom>
              <a:noFill/>
              <a:ln w="19050" cap="rnd" cmpd="sng" algn="ctr">
                <a:solidFill>
                  <a:srgbClr val="000000"/>
                </a:solidFill>
                <a:prstDash val="solid"/>
                <a:headEnd type="none" w="lg" len="med"/>
                <a:tailEnd type="none" w="lg" len="sm"/>
              </a:ln>
              <a:effectLst/>
            </p:spPr>
          </p:cxnSp>
        </p:grpSp>
        <p:grpSp>
          <p:nvGrpSpPr>
            <p:cNvPr id="231" name="Group 230">
              <a:extLst>
                <a:ext uri="{FF2B5EF4-FFF2-40B4-BE49-F238E27FC236}">
                  <a16:creationId xmlns:a16="http://schemas.microsoft.com/office/drawing/2014/main" id="{30AB20A8-D515-FC48-5CAE-D34854FCBE0A}"/>
                </a:ext>
              </a:extLst>
            </p:cNvPr>
            <p:cNvGrpSpPr/>
            <p:nvPr/>
          </p:nvGrpSpPr>
          <p:grpSpPr>
            <a:xfrm rot="10800000">
              <a:off x="17258339" y="9760499"/>
              <a:ext cx="2492701" cy="463291"/>
              <a:chOff x="16892579" y="9293170"/>
              <a:chExt cx="2492701" cy="463291"/>
            </a:xfrm>
          </p:grpSpPr>
          <p:grpSp>
            <p:nvGrpSpPr>
              <p:cNvPr id="232" name="Group 231">
                <a:extLst>
                  <a:ext uri="{FF2B5EF4-FFF2-40B4-BE49-F238E27FC236}">
                    <a16:creationId xmlns:a16="http://schemas.microsoft.com/office/drawing/2014/main" id="{676D9808-5D7C-5549-ED8E-8445130CA526}"/>
                  </a:ext>
                </a:extLst>
              </p:cNvPr>
              <p:cNvGrpSpPr>
                <a:grpSpLocks noChangeAspect="1"/>
              </p:cNvGrpSpPr>
              <p:nvPr/>
            </p:nvGrpSpPr>
            <p:grpSpPr>
              <a:xfrm rot="16200000" flipH="1">
                <a:off x="16758939" y="9426810"/>
                <a:ext cx="463291" cy="196011"/>
                <a:chOff x="24942308" y="2917288"/>
                <a:chExt cx="1321816" cy="559246"/>
              </a:xfrm>
            </p:grpSpPr>
            <p:cxnSp>
              <p:nvCxnSpPr>
                <p:cNvPr id="295" name="Straight Connector 294">
                  <a:extLst>
                    <a:ext uri="{FF2B5EF4-FFF2-40B4-BE49-F238E27FC236}">
                      <a16:creationId xmlns:a16="http://schemas.microsoft.com/office/drawing/2014/main" id="{691E0E18-BF8B-3A19-C8A1-87C5F96460DC}"/>
                    </a:ext>
                    <a:ext uri="{C183D7F6-B498-43B3-948B-1728B52AA6E4}">
                      <adec:decorative xmlns:adec="http://schemas.microsoft.com/office/drawing/2017/decorative" val="1"/>
                    </a:ext>
                  </a:extLst>
                </p:cNvPr>
                <p:cNvCxnSpPr>
                  <a:cxnSpLocks/>
                </p:cNvCxnSpPr>
                <p:nvPr/>
              </p:nvCxnSpPr>
              <p:spPr>
                <a:xfrm rot="10800000">
                  <a:off x="25603203" y="2917288"/>
                  <a:ext cx="660921" cy="559239"/>
                </a:xfrm>
                <a:prstGeom prst="line">
                  <a:avLst/>
                </a:prstGeom>
                <a:noFill/>
                <a:ln w="19050" cap="rnd" cmpd="sng" algn="ctr">
                  <a:solidFill>
                    <a:srgbClr val="000000"/>
                  </a:solidFill>
                  <a:prstDash val="solid"/>
                  <a:headEnd type="none" w="lg" len="med"/>
                  <a:tailEnd type="none" w="lg" len="med"/>
                </a:ln>
                <a:effectLst/>
              </p:spPr>
            </p:cxnSp>
            <p:cxnSp>
              <p:nvCxnSpPr>
                <p:cNvPr id="296" name="Straight Connector 295">
                  <a:extLst>
                    <a:ext uri="{FF2B5EF4-FFF2-40B4-BE49-F238E27FC236}">
                      <a16:creationId xmlns:a16="http://schemas.microsoft.com/office/drawing/2014/main" id="{68D9AF7B-E103-CD7A-4C1E-1102F4AE8A6B}"/>
                    </a:ext>
                    <a:ext uri="{C183D7F6-B498-43B3-948B-1728B52AA6E4}">
                      <adec:decorative xmlns:adec="http://schemas.microsoft.com/office/drawing/2017/decorative" val="1"/>
                    </a:ext>
                  </a:extLst>
                </p:cNvPr>
                <p:cNvCxnSpPr>
                  <a:cxnSpLocks/>
                </p:cNvCxnSpPr>
                <p:nvPr/>
              </p:nvCxnSpPr>
              <p:spPr>
                <a:xfrm rot="10800000" flipH="1">
                  <a:off x="24942308" y="2917292"/>
                  <a:ext cx="660917" cy="559242"/>
                </a:xfrm>
                <a:prstGeom prst="line">
                  <a:avLst/>
                </a:prstGeom>
                <a:noFill/>
                <a:ln w="19050" cap="rnd" cmpd="sng" algn="ctr">
                  <a:solidFill>
                    <a:srgbClr val="000000"/>
                  </a:solidFill>
                  <a:prstDash val="solid"/>
                  <a:headEnd type="none" w="lg" len="med"/>
                  <a:tailEnd type="none" w="lg" len="med"/>
                </a:ln>
                <a:effectLst/>
              </p:spPr>
            </p:cxnSp>
          </p:grpSp>
          <p:cxnSp>
            <p:nvCxnSpPr>
              <p:cNvPr id="294" name="Straight Connector 293">
                <a:extLst>
                  <a:ext uri="{FF2B5EF4-FFF2-40B4-BE49-F238E27FC236}">
                    <a16:creationId xmlns:a16="http://schemas.microsoft.com/office/drawing/2014/main" id="{FCC9BCBF-9C97-0CA3-1ECB-EF45939B58EB}"/>
                  </a:ext>
                  <a:ext uri="{C183D7F6-B498-43B3-948B-1728B52AA6E4}">
                    <adec:decorative xmlns:adec="http://schemas.microsoft.com/office/drawing/2017/decorative" val="1"/>
                  </a:ext>
                </a:extLst>
              </p:cNvPr>
              <p:cNvCxnSpPr>
                <a:cxnSpLocks/>
              </p:cNvCxnSpPr>
              <p:nvPr/>
            </p:nvCxnSpPr>
            <p:spPr>
              <a:xfrm>
                <a:off x="16907819" y="9524781"/>
                <a:ext cx="2477461" cy="0"/>
              </a:xfrm>
              <a:prstGeom prst="line">
                <a:avLst/>
              </a:prstGeom>
              <a:noFill/>
              <a:ln w="19050" cap="rnd" cmpd="sng" algn="ctr">
                <a:solidFill>
                  <a:srgbClr val="000000"/>
                </a:solidFill>
                <a:prstDash val="solid"/>
                <a:headEnd type="none" w="lg" len="med"/>
                <a:tailEnd type="none" w="lg" len="sm"/>
              </a:ln>
              <a:effectLst/>
            </p:spPr>
          </p:cxnSp>
        </p:grpSp>
      </p:grpSp>
      <p:sp>
        <p:nvSpPr>
          <p:cNvPr id="227" name="Rounded Rectangle 62">
            <a:extLst>
              <a:ext uri="{FF2B5EF4-FFF2-40B4-BE49-F238E27FC236}">
                <a16:creationId xmlns:a16="http://schemas.microsoft.com/office/drawing/2014/main" id="{C90EAC0D-E454-5FE3-E858-54BA81C050CF}"/>
              </a:ext>
              <a:ext uri="{C183D7F6-B498-43B3-948B-1728B52AA6E4}">
                <adec:decorative xmlns:adec="http://schemas.microsoft.com/office/drawing/2017/decorative" val="0"/>
              </a:ext>
            </a:extLst>
          </p:cNvPr>
          <p:cNvSpPr/>
          <p:nvPr/>
        </p:nvSpPr>
        <p:spPr bwMode="auto">
          <a:xfrm>
            <a:off x="4412353" y="1966945"/>
            <a:ext cx="919002" cy="276999"/>
          </a:xfrm>
          <a:prstGeom prst="rect">
            <a:avLst/>
          </a:prstGeom>
          <a:noFill/>
          <a:ln w="9525" cap="flat" cmpd="sng" algn="ctr">
            <a:noFill/>
            <a:prstDash val="solid"/>
            <a:headEnd type="none" w="med" len="med"/>
            <a:tailEnd type="none" w="med" len="med"/>
          </a:ln>
          <a:effectLst>
            <a:softEdge rad="165100"/>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821996" rtl="0" eaLnBrk="1" fontAlgn="base" latinLnBrk="0" hangingPunct="1">
              <a:lnSpc>
                <a:spcPct val="100000"/>
              </a:lnSpc>
              <a:spcBef>
                <a:spcPct val="0"/>
              </a:spcBef>
              <a:spcAft>
                <a:spcPct val="0"/>
              </a:spcAft>
              <a:buClrTx/>
              <a:buSzTx/>
              <a:buFontTx/>
              <a:buNone/>
              <a:tabLst>
                <a:tab pos="920076" algn="l"/>
              </a:tabLst>
              <a:defRPr/>
            </a:pPr>
            <a:r>
              <a:rPr kumimoji="0" lang="en-US" sz="1800" b="0" i="0" u="none" strike="noStrike" kern="0" cap="none" spc="0" normalizeH="0" baseline="0" noProof="0">
                <a:ln>
                  <a:noFill/>
                </a:ln>
                <a:solidFill>
                  <a:srgbClr val="000000"/>
                </a:solidFill>
                <a:effectLst/>
                <a:uLnTx/>
                <a:uFillTx/>
                <a:latin typeface="Segoe UI Semibold"/>
                <a:ea typeface="+mn-ea"/>
                <a:cs typeface="Segoe Sans Display Semibold" pitchFamily="2" charset="0"/>
              </a:rPr>
              <a:t>Copilot</a:t>
            </a:r>
          </a:p>
        </p:txBody>
      </p:sp>
      <p:sp>
        <p:nvSpPr>
          <p:cNvPr id="225" name="Copilot Box - replacement" descr="Copilot">
            <a:extLst>
              <a:ext uri="{FF2B5EF4-FFF2-40B4-BE49-F238E27FC236}">
                <a16:creationId xmlns:a16="http://schemas.microsoft.com/office/drawing/2014/main" id="{A982A054-C077-9459-EED1-949240BEF4CB}"/>
              </a:ext>
              <a:ext uri="{C183D7F6-B498-43B3-948B-1728B52AA6E4}">
                <adec:decorative xmlns:adec="http://schemas.microsoft.com/office/drawing/2017/decorative" val="0"/>
              </a:ext>
            </a:extLst>
          </p:cNvPr>
          <p:cNvSpPr>
            <a:spLocks noChangeAspect="1"/>
          </p:cNvSpPr>
          <p:nvPr/>
        </p:nvSpPr>
        <p:spPr bwMode="auto">
          <a:xfrm>
            <a:off x="4064123" y="2658690"/>
            <a:ext cx="2325013" cy="2325013"/>
          </a:xfrm>
          <a:prstGeom prst="roundRect">
            <a:avLst>
              <a:gd name="adj" fmla="val 6703"/>
            </a:avLst>
          </a:prstGeom>
          <a:gradFill flip="none" rotWithShape="1">
            <a:gsLst>
              <a:gs pos="0">
                <a:srgbClr val="B43FC5"/>
              </a:gs>
              <a:gs pos="80000">
                <a:srgbClr val="0078D4"/>
              </a:gs>
            </a:gsLst>
            <a:path path="circle">
              <a:fillToRect l="100000" t="100000"/>
            </a:path>
            <a:tileRect r="-100000" b="-100000"/>
          </a:gradFill>
          <a:ln w="19050" cap="flat" cmpd="sng" algn="ctr">
            <a:noFill/>
            <a:prstDash val="solid"/>
            <a:headEnd type="none" w="med" len="med"/>
            <a:tailEnd type="none" w="med" len="med"/>
          </a:ln>
          <a:effectLst/>
          <a:scene3d>
            <a:camera prst="orthographicFront">
              <a:rot lat="1080000" lon="3000000" rev="0"/>
            </a:camera>
            <a:lightRig rig="threePt" dir="t"/>
          </a:scene3d>
        </p:spPr>
        <p:txBody>
          <a:bodyPr rot="0" spcFirstLastPara="0" vertOverflow="overflow" horzOverflow="overflow" vert="horz" wrap="square" lIns="261190" tIns="208950" rIns="261190" bIns="208950" numCol="1" spcCol="0" rtlCol="0" fromWordArt="0" anchor="t" anchorCtr="0" forceAA="0" compatLnSpc="1">
            <a:prstTxWarp prst="textNoShape">
              <a:avLst/>
            </a:prstTxWarp>
            <a:noAutofit/>
          </a:bodyPr>
          <a:lstStyle/>
          <a:p>
            <a:pPr marL="0" marR="0" lvl="0" indent="0" algn="l" defTabSz="1330972" rtl="0" eaLnBrk="1" fontAlgn="base" latinLnBrk="0" hangingPunct="1">
              <a:lnSpc>
                <a:spcPct val="100000"/>
              </a:lnSpc>
              <a:spcBef>
                <a:spcPct val="0"/>
              </a:spcBef>
              <a:spcAft>
                <a:spcPct val="0"/>
              </a:spcAft>
              <a:buClrTx/>
              <a:buSzTx/>
              <a:buFontTx/>
              <a:buNone/>
              <a:tabLst/>
              <a:defRPr/>
            </a:pPr>
            <a:endParaRPr kumimoji="0" lang="en-US" sz="2799"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26" name="Copilot logo - replacement">
            <a:extLst>
              <a:ext uri="{FF2B5EF4-FFF2-40B4-BE49-F238E27FC236}">
                <a16:creationId xmlns:a16="http://schemas.microsoft.com/office/drawing/2014/main" id="{EA287AD1-BEAC-084E-B696-45A89DC40936}"/>
              </a:ext>
              <a:ext uri="{C183D7F6-B498-43B3-948B-1728B52AA6E4}">
                <adec:decorative xmlns:adec="http://schemas.microsoft.com/office/drawing/2017/decorative" val="1"/>
              </a:ext>
            </a:extLst>
          </p:cNvPr>
          <p:cNvSpPr>
            <a:spLocks noChangeAspect="1"/>
          </p:cNvSpPr>
          <p:nvPr/>
        </p:nvSpPr>
        <p:spPr>
          <a:xfrm>
            <a:off x="4815830" y="3460941"/>
            <a:ext cx="821608" cy="720525"/>
          </a:xfrm>
          <a:custGeom>
            <a:avLst/>
            <a:gdLst>
              <a:gd name="connsiteX0" fmla="*/ 1532660 w 1573156"/>
              <a:gd name="connsiteY0" fmla="*/ 437600 h 1379613"/>
              <a:gd name="connsiteX1" fmla="*/ 1344698 w 1573156"/>
              <a:gd name="connsiteY1" fmla="*/ 358303 h 1379613"/>
              <a:gd name="connsiteX2" fmla="*/ 1312392 w 1573156"/>
              <a:gd name="connsiteY2" fmla="*/ 358303 h 1379613"/>
              <a:gd name="connsiteX3" fmla="*/ 1299910 w 1573156"/>
              <a:gd name="connsiteY3" fmla="*/ 356100 h 1379613"/>
              <a:gd name="connsiteX4" fmla="*/ 1170686 w 1573156"/>
              <a:gd name="connsiteY4" fmla="*/ 213660 h 1379613"/>
              <a:gd name="connsiteX5" fmla="*/ 940139 w 1573156"/>
              <a:gd name="connsiteY5" fmla="*/ 0 h 1379613"/>
              <a:gd name="connsiteX6" fmla="*/ 438662 w 1573156"/>
              <a:gd name="connsiteY6" fmla="*/ 0 h 1379613"/>
              <a:gd name="connsiteX7" fmla="*/ 82562 w 1573156"/>
              <a:gd name="connsiteY7" fmla="*/ 422915 h 1379613"/>
              <a:gd name="connsiteX8" fmla="*/ 40711 w 1573156"/>
              <a:gd name="connsiteY8" fmla="*/ 942014 h 1379613"/>
              <a:gd name="connsiteX9" fmla="*/ 228673 w 1573156"/>
              <a:gd name="connsiteY9" fmla="*/ 1021310 h 1379613"/>
              <a:gd name="connsiteX10" fmla="*/ 260979 w 1573156"/>
              <a:gd name="connsiteY10" fmla="*/ 1021310 h 1379613"/>
              <a:gd name="connsiteX11" fmla="*/ 273461 w 1573156"/>
              <a:gd name="connsiteY11" fmla="*/ 1023513 h 1379613"/>
              <a:gd name="connsiteX12" fmla="*/ 402685 w 1573156"/>
              <a:gd name="connsiteY12" fmla="*/ 1165953 h 1379613"/>
              <a:gd name="connsiteX13" fmla="*/ 633232 w 1573156"/>
              <a:gd name="connsiteY13" fmla="*/ 1379613 h 1379613"/>
              <a:gd name="connsiteX14" fmla="*/ 1134709 w 1573156"/>
              <a:gd name="connsiteY14" fmla="*/ 1379613 h 1379613"/>
              <a:gd name="connsiteX15" fmla="*/ 1490809 w 1573156"/>
              <a:gd name="connsiteY15" fmla="*/ 956698 h 1379613"/>
              <a:gd name="connsiteX16" fmla="*/ 1531926 w 1573156"/>
              <a:gd name="connsiteY16" fmla="*/ 437600 h 1379613"/>
              <a:gd name="connsiteX17" fmla="*/ 940139 w 1573156"/>
              <a:gd name="connsiteY17" fmla="*/ 71954 h 1379613"/>
              <a:gd name="connsiteX18" fmla="*/ 1101669 w 1573156"/>
              <a:gd name="connsiteY18" fmla="*/ 233484 h 1379613"/>
              <a:gd name="connsiteX19" fmla="*/ 1151596 w 1573156"/>
              <a:gd name="connsiteY19" fmla="*/ 356100 h 1379613"/>
              <a:gd name="connsiteX20" fmla="*/ 882869 w 1573156"/>
              <a:gd name="connsiteY20" fmla="*/ 356100 h 1379613"/>
              <a:gd name="connsiteX21" fmla="*/ 754379 w 1573156"/>
              <a:gd name="connsiteY21" fmla="*/ 389141 h 1379613"/>
              <a:gd name="connsiteX22" fmla="*/ 775672 w 1573156"/>
              <a:gd name="connsiteY22" fmla="*/ 322326 h 1379613"/>
              <a:gd name="connsiteX23" fmla="*/ 778609 w 1573156"/>
              <a:gd name="connsiteY23" fmla="*/ 312781 h 1379613"/>
              <a:gd name="connsiteX24" fmla="*/ 861577 w 1573156"/>
              <a:gd name="connsiteY24" fmla="*/ 110134 h 1379613"/>
              <a:gd name="connsiteX25" fmla="*/ 939405 w 1573156"/>
              <a:gd name="connsiteY25" fmla="*/ 72689 h 1379613"/>
              <a:gd name="connsiteX26" fmla="*/ 1030449 w 1573156"/>
              <a:gd name="connsiteY26" fmla="*/ 428055 h 1379613"/>
              <a:gd name="connsiteX27" fmla="*/ 957760 w 1573156"/>
              <a:gd name="connsiteY27" fmla="*/ 541860 h 1379613"/>
              <a:gd name="connsiteX28" fmla="*/ 890211 w 1573156"/>
              <a:gd name="connsiteY28" fmla="*/ 762128 h 1379613"/>
              <a:gd name="connsiteX29" fmla="*/ 871856 w 1573156"/>
              <a:gd name="connsiteY29" fmla="*/ 820132 h 1379613"/>
              <a:gd name="connsiteX30" fmla="*/ 690502 w 1573156"/>
              <a:gd name="connsiteY30" fmla="*/ 951559 h 1379613"/>
              <a:gd name="connsiteX31" fmla="*/ 542922 w 1573156"/>
              <a:gd name="connsiteY31" fmla="*/ 951559 h 1379613"/>
              <a:gd name="connsiteX32" fmla="*/ 615610 w 1573156"/>
              <a:gd name="connsiteY32" fmla="*/ 837753 h 1379613"/>
              <a:gd name="connsiteX33" fmla="*/ 683159 w 1573156"/>
              <a:gd name="connsiteY33" fmla="*/ 617485 h 1379613"/>
              <a:gd name="connsiteX34" fmla="*/ 701515 w 1573156"/>
              <a:gd name="connsiteY34" fmla="*/ 559481 h 1379613"/>
              <a:gd name="connsiteX35" fmla="*/ 882869 w 1573156"/>
              <a:gd name="connsiteY35" fmla="*/ 428055 h 1379613"/>
              <a:gd name="connsiteX36" fmla="*/ 1030449 w 1573156"/>
              <a:gd name="connsiteY36" fmla="*/ 428055 h 1379613"/>
              <a:gd name="connsiteX37" fmla="*/ 99449 w 1573156"/>
              <a:gd name="connsiteY37" fmla="*/ 899429 h 1379613"/>
              <a:gd name="connsiteX38" fmla="*/ 150845 w 1573156"/>
              <a:gd name="connsiteY38" fmla="*/ 444942 h 1379613"/>
              <a:gd name="connsiteX39" fmla="*/ 438662 w 1573156"/>
              <a:gd name="connsiteY39" fmla="*/ 71954 h 1379613"/>
              <a:gd name="connsiteX40" fmla="*/ 800636 w 1573156"/>
              <a:gd name="connsiteY40" fmla="*/ 71954 h 1379613"/>
              <a:gd name="connsiteX41" fmla="*/ 710326 w 1573156"/>
              <a:gd name="connsiteY41" fmla="*/ 290754 h 1379613"/>
              <a:gd name="connsiteX42" fmla="*/ 707389 w 1573156"/>
              <a:gd name="connsiteY42" fmla="*/ 300299 h 1379613"/>
              <a:gd name="connsiteX43" fmla="*/ 614876 w 1573156"/>
              <a:gd name="connsiteY43" fmla="*/ 596193 h 1379613"/>
              <a:gd name="connsiteX44" fmla="*/ 611205 w 1573156"/>
              <a:gd name="connsiteY44" fmla="*/ 608675 h 1379613"/>
              <a:gd name="connsiteX45" fmla="*/ 611205 w 1573156"/>
              <a:gd name="connsiteY45" fmla="*/ 610143 h 1379613"/>
              <a:gd name="connsiteX46" fmla="*/ 548062 w 1573156"/>
              <a:gd name="connsiteY46" fmla="*/ 816461 h 1379613"/>
              <a:gd name="connsiteX47" fmla="*/ 365973 w 1573156"/>
              <a:gd name="connsiteY47" fmla="*/ 948622 h 1379613"/>
              <a:gd name="connsiteX48" fmla="*/ 229407 w 1573156"/>
              <a:gd name="connsiteY48" fmla="*/ 948622 h 1379613"/>
              <a:gd name="connsiteX49" fmla="*/ 99449 w 1573156"/>
              <a:gd name="connsiteY49" fmla="*/ 899429 h 1379613"/>
              <a:gd name="connsiteX50" fmla="*/ 633966 w 1573156"/>
              <a:gd name="connsiteY50" fmla="*/ 1307659 h 1379613"/>
              <a:gd name="connsiteX51" fmla="*/ 472436 w 1573156"/>
              <a:gd name="connsiteY51" fmla="*/ 1146129 h 1379613"/>
              <a:gd name="connsiteX52" fmla="*/ 422509 w 1573156"/>
              <a:gd name="connsiteY52" fmla="*/ 1023513 h 1379613"/>
              <a:gd name="connsiteX53" fmla="*/ 691236 w 1573156"/>
              <a:gd name="connsiteY53" fmla="*/ 1023513 h 1379613"/>
              <a:gd name="connsiteX54" fmla="*/ 819726 w 1573156"/>
              <a:gd name="connsiteY54" fmla="*/ 990473 h 1379613"/>
              <a:gd name="connsiteX55" fmla="*/ 798433 w 1573156"/>
              <a:gd name="connsiteY55" fmla="*/ 1057287 h 1379613"/>
              <a:gd name="connsiteX56" fmla="*/ 795496 w 1573156"/>
              <a:gd name="connsiteY56" fmla="*/ 1066098 h 1379613"/>
              <a:gd name="connsiteX57" fmla="*/ 711794 w 1573156"/>
              <a:gd name="connsiteY57" fmla="*/ 1269479 h 1379613"/>
              <a:gd name="connsiteX58" fmla="*/ 633966 w 1573156"/>
              <a:gd name="connsiteY58" fmla="*/ 1306925 h 1379613"/>
              <a:gd name="connsiteX59" fmla="*/ 1423260 w 1573156"/>
              <a:gd name="connsiteY59" fmla="*/ 934671 h 1379613"/>
              <a:gd name="connsiteX60" fmla="*/ 1135443 w 1573156"/>
              <a:gd name="connsiteY60" fmla="*/ 1307659 h 1379613"/>
              <a:gd name="connsiteX61" fmla="*/ 773469 w 1573156"/>
              <a:gd name="connsiteY61" fmla="*/ 1307659 h 1379613"/>
              <a:gd name="connsiteX62" fmla="*/ 863779 w 1573156"/>
              <a:gd name="connsiteY62" fmla="*/ 1088859 h 1379613"/>
              <a:gd name="connsiteX63" fmla="*/ 866716 w 1573156"/>
              <a:gd name="connsiteY63" fmla="*/ 1080049 h 1379613"/>
              <a:gd name="connsiteX64" fmla="*/ 959229 w 1573156"/>
              <a:gd name="connsiteY64" fmla="*/ 784155 h 1379613"/>
              <a:gd name="connsiteX65" fmla="*/ 962900 w 1573156"/>
              <a:gd name="connsiteY65" fmla="*/ 771673 h 1379613"/>
              <a:gd name="connsiteX66" fmla="*/ 962900 w 1573156"/>
              <a:gd name="connsiteY66" fmla="*/ 770205 h 1379613"/>
              <a:gd name="connsiteX67" fmla="*/ 1026778 w 1573156"/>
              <a:gd name="connsiteY67" fmla="*/ 563887 h 1379613"/>
              <a:gd name="connsiteX68" fmla="*/ 1208132 w 1573156"/>
              <a:gd name="connsiteY68" fmla="*/ 431726 h 1379613"/>
              <a:gd name="connsiteX69" fmla="*/ 1344698 w 1573156"/>
              <a:gd name="connsiteY69" fmla="*/ 431726 h 1379613"/>
              <a:gd name="connsiteX70" fmla="*/ 1474656 w 1573156"/>
              <a:gd name="connsiteY70" fmla="*/ 480919 h 1379613"/>
              <a:gd name="connsiteX71" fmla="*/ 1423260 w 1573156"/>
              <a:gd name="connsiteY71" fmla="*/ 935406 h 137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573156" h="1379613">
                <a:moveTo>
                  <a:pt x="1532660" y="437600"/>
                </a:moveTo>
                <a:cubicBezTo>
                  <a:pt x="1494480" y="385469"/>
                  <a:pt x="1431337" y="358303"/>
                  <a:pt x="1344698" y="358303"/>
                </a:cubicBezTo>
                <a:lnTo>
                  <a:pt x="1312392" y="358303"/>
                </a:lnTo>
                <a:cubicBezTo>
                  <a:pt x="1308721" y="356835"/>
                  <a:pt x="1304316" y="356100"/>
                  <a:pt x="1299910" y="356100"/>
                </a:cubicBezTo>
                <a:cubicBezTo>
                  <a:pt x="1215474" y="356100"/>
                  <a:pt x="1197853" y="306907"/>
                  <a:pt x="1170686" y="213660"/>
                </a:cubicBezTo>
                <a:cubicBezTo>
                  <a:pt x="1144988" y="123350"/>
                  <a:pt x="1109745" y="0"/>
                  <a:pt x="940139" y="0"/>
                </a:cubicBezTo>
                <a:lnTo>
                  <a:pt x="438662" y="0"/>
                </a:lnTo>
                <a:cubicBezTo>
                  <a:pt x="242623" y="0"/>
                  <a:pt x="141300" y="241561"/>
                  <a:pt x="82562" y="422915"/>
                </a:cubicBezTo>
                <a:cubicBezTo>
                  <a:pt x="25292" y="600598"/>
                  <a:pt x="-46662" y="821600"/>
                  <a:pt x="40711" y="942014"/>
                </a:cubicBezTo>
                <a:cubicBezTo>
                  <a:pt x="78890" y="994144"/>
                  <a:pt x="142034" y="1021310"/>
                  <a:pt x="228673" y="1021310"/>
                </a:cubicBezTo>
                <a:lnTo>
                  <a:pt x="260979" y="1021310"/>
                </a:lnTo>
                <a:cubicBezTo>
                  <a:pt x="264650" y="1022779"/>
                  <a:pt x="269055" y="1023513"/>
                  <a:pt x="273461" y="1023513"/>
                </a:cubicBezTo>
                <a:cubicBezTo>
                  <a:pt x="357897" y="1023513"/>
                  <a:pt x="375518" y="1072706"/>
                  <a:pt x="402685" y="1165953"/>
                </a:cubicBezTo>
                <a:cubicBezTo>
                  <a:pt x="428383" y="1256263"/>
                  <a:pt x="463625" y="1379613"/>
                  <a:pt x="633232" y="1379613"/>
                </a:cubicBezTo>
                <a:lnTo>
                  <a:pt x="1134709" y="1379613"/>
                </a:lnTo>
                <a:cubicBezTo>
                  <a:pt x="1331482" y="1379613"/>
                  <a:pt x="1432071" y="1138052"/>
                  <a:pt x="1490809" y="956698"/>
                </a:cubicBezTo>
                <a:cubicBezTo>
                  <a:pt x="1548079" y="779015"/>
                  <a:pt x="1620033" y="558013"/>
                  <a:pt x="1531926" y="437600"/>
                </a:cubicBezTo>
                <a:close/>
                <a:moveTo>
                  <a:pt x="940139" y="71954"/>
                </a:moveTo>
                <a:cubicBezTo>
                  <a:pt x="1050273" y="71954"/>
                  <a:pt x="1073034" y="132895"/>
                  <a:pt x="1101669" y="233484"/>
                </a:cubicBezTo>
                <a:cubicBezTo>
                  <a:pt x="1113416" y="273867"/>
                  <a:pt x="1126633" y="319389"/>
                  <a:pt x="1151596" y="356100"/>
                </a:cubicBezTo>
                <a:lnTo>
                  <a:pt x="882869" y="356100"/>
                </a:lnTo>
                <a:cubicBezTo>
                  <a:pt x="836613" y="356100"/>
                  <a:pt x="792559" y="367848"/>
                  <a:pt x="754379" y="389141"/>
                </a:cubicBezTo>
                <a:cubicBezTo>
                  <a:pt x="761722" y="366379"/>
                  <a:pt x="768330" y="343618"/>
                  <a:pt x="775672" y="322326"/>
                </a:cubicBezTo>
                <a:lnTo>
                  <a:pt x="778609" y="312781"/>
                </a:lnTo>
                <a:cubicBezTo>
                  <a:pt x="805775" y="226876"/>
                  <a:pt x="829271" y="153454"/>
                  <a:pt x="861577" y="110134"/>
                </a:cubicBezTo>
                <a:cubicBezTo>
                  <a:pt x="874793" y="93247"/>
                  <a:pt x="898288" y="72689"/>
                  <a:pt x="939405" y="72689"/>
                </a:cubicBezTo>
                <a:close/>
                <a:moveTo>
                  <a:pt x="1030449" y="428055"/>
                </a:moveTo>
                <a:cubicBezTo>
                  <a:pt x="997409" y="458158"/>
                  <a:pt x="971711" y="497072"/>
                  <a:pt x="957760" y="541860"/>
                </a:cubicBezTo>
                <a:cubicBezTo>
                  <a:pt x="938670" y="605003"/>
                  <a:pt x="915175" y="681363"/>
                  <a:pt x="890211" y="762128"/>
                </a:cubicBezTo>
                <a:lnTo>
                  <a:pt x="871856" y="820132"/>
                </a:lnTo>
                <a:cubicBezTo>
                  <a:pt x="847626" y="898694"/>
                  <a:pt x="774204" y="951559"/>
                  <a:pt x="690502" y="951559"/>
                </a:cubicBezTo>
                <a:lnTo>
                  <a:pt x="542922" y="951559"/>
                </a:lnTo>
                <a:cubicBezTo>
                  <a:pt x="575962" y="921455"/>
                  <a:pt x="601660" y="882541"/>
                  <a:pt x="615610" y="837753"/>
                </a:cubicBezTo>
                <a:cubicBezTo>
                  <a:pt x="634700" y="774610"/>
                  <a:pt x="658196" y="697516"/>
                  <a:pt x="683159" y="617485"/>
                </a:cubicBezTo>
                <a:lnTo>
                  <a:pt x="701515" y="559481"/>
                </a:lnTo>
                <a:cubicBezTo>
                  <a:pt x="725745" y="480919"/>
                  <a:pt x="799167" y="428055"/>
                  <a:pt x="882869" y="428055"/>
                </a:cubicBezTo>
                <a:lnTo>
                  <a:pt x="1030449" y="428055"/>
                </a:lnTo>
                <a:close/>
                <a:moveTo>
                  <a:pt x="99449" y="899429"/>
                </a:moveTo>
                <a:cubicBezTo>
                  <a:pt x="33368" y="808384"/>
                  <a:pt x="101651" y="598395"/>
                  <a:pt x="150845" y="444942"/>
                </a:cubicBezTo>
                <a:cubicBezTo>
                  <a:pt x="232344" y="193836"/>
                  <a:pt x="326325" y="71954"/>
                  <a:pt x="438662" y="71954"/>
                </a:cubicBezTo>
                <a:lnTo>
                  <a:pt x="800636" y="71954"/>
                </a:lnTo>
                <a:cubicBezTo>
                  <a:pt x="763190" y="124819"/>
                  <a:pt x="738226" y="201913"/>
                  <a:pt x="710326" y="290754"/>
                </a:cubicBezTo>
                <a:lnTo>
                  <a:pt x="707389" y="300299"/>
                </a:lnTo>
                <a:cubicBezTo>
                  <a:pt x="678754" y="391343"/>
                  <a:pt x="645714" y="496338"/>
                  <a:pt x="614876" y="596193"/>
                </a:cubicBezTo>
                <a:lnTo>
                  <a:pt x="611205" y="608675"/>
                </a:lnTo>
                <a:cubicBezTo>
                  <a:pt x="611205" y="608675"/>
                  <a:pt x="611205" y="609409"/>
                  <a:pt x="611205" y="610143"/>
                </a:cubicBezTo>
                <a:cubicBezTo>
                  <a:pt x="587710" y="685034"/>
                  <a:pt x="565683" y="756988"/>
                  <a:pt x="548062" y="816461"/>
                </a:cubicBezTo>
                <a:cubicBezTo>
                  <a:pt x="523832" y="895757"/>
                  <a:pt x="450409" y="948622"/>
                  <a:pt x="365973" y="948622"/>
                </a:cubicBezTo>
                <a:lnTo>
                  <a:pt x="229407" y="948622"/>
                </a:lnTo>
                <a:cubicBezTo>
                  <a:pt x="166263" y="948622"/>
                  <a:pt x="123678" y="932469"/>
                  <a:pt x="99449" y="899429"/>
                </a:cubicBezTo>
                <a:close/>
                <a:moveTo>
                  <a:pt x="633966" y="1307659"/>
                </a:moveTo>
                <a:cubicBezTo>
                  <a:pt x="523832" y="1307659"/>
                  <a:pt x="501071" y="1246718"/>
                  <a:pt x="472436" y="1146129"/>
                </a:cubicBezTo>
                <a:cubicBezTo>
                  <a:pt x="460689" y="1105747"/>
                  <a:pt x="447472" y="1060224"/>
                  <a:pt x="422509" y="1023513"/>
                </a:cubicBezTo>
                <a:lnTo>
                  <a:pt x="691236" y="1023513"/>
                </a:lnTo>
                <a:cubicBezTo>
                  <a:pt x="737492" y="1023513"/>
                  <a:pt x="781546" y="1011765"/>
                  <a:pt x="819726" y="990473"/>
                </a:cubicBezTo>
                <a:cubicBezTo>
                  <a:pt x="812383" y="1013234"/>
                  <a:pt x="805775" y="1035995"/>
                  <a:pt x="798433" y="1057287"/>
                </a:cubicBezTo>
                <a:lnTo>
                  <a:pt x="795496" y="1066098"/>
                </a:lnTo>
                <a:cubicBezTo>
                  <a:pt x="768330" y="1152003"/>
                  <a:pt x="744834" y="1226160"/>
                  <a:pt x="711794" y="1269479"/>
                </a:cubicBezTo>
                <a:cubicBezTo>
                  <a:pt x="698578" y="1286366"/>
                  <a:pt x="675083" y="1306925"/>
                  <a:pt x="633966" y="1306925"/>
                </a:cubicBezTo>
                <a:close/>
                <a:moveTo>
                  <a:pt x="1423260" y="934671"/>
                </a:moveTo>
                <a:cubicBezTo>
                  <a:pt x="1341761" y="1185777"/>
                  <a:pt x="1247780" y="1307659"/>
                  <a:pt x="1135443" y="1307659"/>
                </a:cubicBezTo>
                <a:lnTo>
                  <a:pt x="773469" y="1307659"/>
                </a:lnTo>
                <a:cubicBezTo>
                  <a:pt x="810915" y="1254795"/>
                  <a:pt x="835879" y="1177701"/>
                  <a:pt x="863779" y="1088859"/>
                </a:cubicBezTo>
                <a:lnTo>
                  <a:pt x="866716" y="1080049"/>
                </a:lnTo>
                <a:cubicBezTo>
                  <a:pt x="895351" y="989004"/>
                  <a:pt x="928391" y="884010"/>
                  <a:pt x="959229" y="784155"/>
                </a:cubicBezTo>
                <a:lnTo>
                  <a:pt x="962900" y="771673"/>
                </a:lnTo>
                <a:lnTo>
                  <a:pt x="962900" y="770205"/>
                </a:lnTo>
                <a:cubicBezTo>
                  <a:pt x="986395" y="695313"/>
                  <a:pt x="1008422" y="623359"/>
                  <a:pt x="1026778" y="563887"/>
                </a:cubicBezTo>
                <a:cubicBezTo>
                  <a:pt x="1051007" y="484590"/>
                  <a:pt x="1123696" y="431726"/>
                  <a:pt x="1208132" y="431726"/>
                </a:cubicBezTo>
                <a:lnTo>
                  <a:pt x="1344698" y="431726"/>
                </a:lnTo>
                <a:cubicBezTo>
                  <a:pt x="1407842" y="431726"/>
                  <a:pt x="1450427" y="447879"/>
                  <a:pt x="1474656" y="480919"/>
                </a:cubicBezTo>
                <a:cubicBezTo>
                  <a:pt x="1540737" y="571963"/>
                  <a:pt x="1472454" y="781952"/>
                  <a:pt x="1423260" y="935406"/>
                </a:cubicBezTo>
                <a:close/>
              </a:path>
            </a:pathLst>
          </a:custGeom>
          <a:solidFill>
            <a:srgbClr val="FFFFFF"/>
          </a:solidFill>
          <a:ln w="19050" cap="flat" cmpd="sng" algn="ctr">
            <a:noFill/>
            <a:prstDash val="solid"/>
            <a:headEnd type="none" w="med" len="med"/>
            <a:tailEnd type="none" w="med" len="med"/>
          </a:ln>
          <a:effectLst/>
          <a:scene3d>
            <a:camera prst="orthographicFront">
              <a:rot lat="1080000" lon="3000000" rev="0"/>
            </a:camera>
            <a:lightRig rig="threePt" dir="t"/>
          </a:scene3d>
        </p:spPr>
        <p:txBody>
          <a:bodyPr rot="0" spcFirstLastPara="0" vertOverflow="overflow" horzOverflow="overflow" vert="horz" wrap="square" lIns="261190" tIns="208950" rIns="261190" bIns="208950" numCol="1" spcCol="0" rtlCol="0" fromWordArt="0" anchor="t" anchorCtr="0" forceAA="0" compatLnSpc="1">
            <a:prstTxWarp prst="textNoShape">
              <a:avLst/>
            </a:prstTxWarp>
            <a:noAutofit/>
          </a:bodyPr>
          <a:lstStyle/>
          <a:p>
            <a:pPr marL="0" marR="0" lvl="0" indent="0" algn="l" defTabSz="1330972" rtl="0" eaLnBrk="1" fontAlgn="base" latinLnBrk="0" hangingPunct="1">
              <a:lnSpc>
                <a:spcPct val="100000"/>
              </a:lnSpc>
              <a:spcBef>
                <a:spcPct val="0"/>
              </a:spcBef>
              <a:spcAft>
                <a:spcPct val="0"/>
              </a:spcAft>
              <a:buClrTx/>
              <a:buSzTx/>
              <a:buFontTx/>
              <a:buNone/>
              <a:tabLst/>
              <a:defRPr/>
            </a:pPr>
            <a:endParaRPr kumimoji="0" lang="en-US" sz="2799"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318" name="Rounded Rectangle 62">
            <a:extLst>
              <a:ext uri="{FF2B5EF4-FFF2-40B4-BE49-F238E27FC236}">
                <a16:creationId xmlns:a16="http://schemas.microsoft.com/office/drawing/2014/main" id="{C6A66535-2145-38AA-5ED9-B67F460CE85F}"/>
              </a:ext>
              <a:ext uri="{C183D7F6-B498-43B3-948B-1728B52AA6E4}">
                <adec:decorative xmlns:adec="http://schemas.microsoft.com/office/drawing/2017/decorative" val="0"/>
              </a:ext>
            </a:extLst>
          </p:cNvPr>
          <p:cNvSpPr/>
          <p:nvPr/>
        </p:nvSpPr>
        <p:spPr bwMode="auto">
          <a:xfrm>
            <a:off x="7974210" y="1966945"/>
            <a:ext cx="1733503" cy="276999"/>
          </a:xfrm>
          <a:prstGeom prst="rect">
            <a:avLst/>
          </a:prstGeom>
          <a:noFill/>
          <a:ln w="9525" cap="flat" cmpd="sng" algn="ctr">
            <a:noFill/>
            <a:prstDash val="solid"/>
            <a:headEnd type="none" w="med" len="med"/>
            <a:tailEnd type="none" w="med" len="med"/>
          </a:ln>
          <a:effectLst>
            <a:softEdge rad="165100"/>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821996" rtl="0" eaLnBrk="1" fontAlgn="base" latinLnBrk="0" hangingPunct="1">
              <a:lnSpc>
                <a:spcPct val="100000"/>
              </a:lnSpc>
              <a:spcBef>
                <a:spcPct val="0"/>
              </a:spcBef>
              <a:spcAft>
                <a:spcPct val="0"/>
              </a:spcAft>
              <a:buClrTx/>
              <a:buSzTx/>
              <a:buFontTx/>
              <a:buNone/>
              <a:tabLst>
                <a:tab pos="920076" algn="l"/>
              </a:tabLst>
              <a:defRPr/>
            </a:pPr>
            <a:r>
              <a:rPr kumimoji="0" lang="en-US" sz="1800" b="0" i="0" u="none" strike="noStrike" kern="0" cap="none" spc="0" normalizeH="0" baseline="0" noProof="0">
                <a:ln>
                  <a:noFill/>
                </a:ln>
                <a:solidFill>
                  <a:srgbClr val="000000"/>
                </a:solidFill>
                <a:effectLst/>
                <a:uLnTx/>
                <a:uFillTx/>
                <a:latin typeface="Segoe UI Semibold"/>
                <a:ea typeface="+mn-ea"/>
                <a:cs typeface="Segoe Sans Display Semibold" pitchFamily="2" charset="0"/>
              </a:rPr>
              <a:t>Agents</a:t>
            </a:r>
          </a:p>
        </p:txBody>
      </p:sp>
      <p:grpSp>
        <p:nvGrpSpPr>
          <p:cNvPr id="40" name="!!NetworkLines">
            <a:extLst>
              <a:ext uri="{FF2B5EF4-FFF2-40B4-BE49-F238E27FC236}">
                <a16:creationId xmlns:a16="http://schemas.microsoft.com/office/drawing/2014/main" id="{473945FA-8B77-8348-BD38-FDB8B1AE8592}"/>
              </a:ext>
              <a:ext uri="{C183D7F6-B498-43B3-948B-1728B52AA6E4}">
                <adec:decorative xmlns:adec="http://schemas.microsoft.com/office/drawing/2017/decorative" val="1"/>
              </a:ext>
            </a:extLst>
          </p:cNvPr>
          <p:cNvGrpSpPr/>
          <p:nvPr/>
        </p:nvGrpSpPr>
        <p:grpSpPr>
          <a:xfrm>
            <a:off x="6385393" y="2660575"/>
            <a:ext cx="4203031" cy="2452391"/>
            <a:chOff x="26278919" y="7127751"/>
            <a:chExt cx="11858730" cy="6919351"/>
          </a:xfrm>
        </p:grpSpPr>
        <p:sp>
          <p:nvSpPr>
            <p:cNvPr id="41" name="Freeform: Shape 22">
              <a:extLst>
                <a:ext uri="{FF2B5EF4-FFF2-40B4-BE49-F238E27FC236}">
                  <a16:creationId xmlns:a16="http://schemas.microsoft.com/office/drawing/2014/main" id="{1956D224-CB50-6AA2-B5C6-B53043A6CE1F}"/>
                </a:ext>
                <a:ext uri="{C183D7F6-B498-43B3-948B-1728B52AA6E4}">
                  <adec:decorative xmlns:adec="http://schemas.microsoft.com/office/drawing/2017/decorative" val="1"/>
                </a:ext>
              </a:extLst>
            </p:cNvPr>
            <p:cNvSpPr/>
            <p:nvPr/>
          </p:nvSpPr>
          <p:spPr>
            <a:xfrm>
              <a:off x="26278919" y="7130936"/>
              <a:ext cx="4299641" cy="3471138"/>
            </a:xfrm>
            <a:custGeom>
              <a:avLst/>
              <a:gdLst>
                <a:gd name="connsiteX0" fmla="*/ 0 w 4010353"/>
                <a:gd name="connsiteY0" fmla="*/ 2428280 h 2428280"/>
                <a:gd name="connsiteX1" fmla="*/ 4010354 w 4010353"/>
                <a:gd name="connsiteY1" fmla="*/ 0 h 2428280"/>
              </a:gdLst>
              <a:ahLst/>
              <a:cxnLst>
                <a:cxn ang="0">
                  <a:pos x="connsiteX0" y="connsiteY0"/>
                </a:cxn>
                <a:cxn ang="0">
                  <a:pos x="connsiteX1" y="connsiteY1"/>
                </a:cxn>
              </a:cxnLst>
              <a:rect l="l" t="t" r="r" b="b"/>
              <a:pathLst>
                <a:path w="4010353" h="2428280">
                  <a:moveTo>
                    <a:pt x="0" y="2428280"/>
                  </a:moveTo>
                  <a:lnTo>
                    <a:pt x="4010354" y="0"/>
                  </a:lnTo>
                </a:path>
              </a:pathLst>
            </a:custGeom>
            <a:ln w="1905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42" name="Freeform: Shape 23">
              <a:extLst>
                <a:ext uri="{FF2B5EF4-FFF2-40B4-BE49-F238E27FC236}">
                  <a16:creationId xmlns:a16="http://schemas.microsoft.com/office/drawing/2014/main" id="{670BE6E8-25A5-4B64-DAEC-158A6657CE70}"/>
                </a:ext>
                <a:ext uri="{C183D7F6-B498-43B3-948B-1728B52AA6E4}">
                  <adec:decorative xmlns:adec="http://schemas.microsoft.com/office/drawing/2017/decorative" val="1"/>
                </a:ext>
              </a:extLst>
            </p:cNvPr>
            <p:cNvSpPr/>
            <p:nvPr/>
          </p:nvSpPr>
          <p:spPr>
            <a:xfrm>
              <a:off x="26278919" y="8893798"/>
              <a:ext cx="6723610" cy="1708275"/>
            </a:xfrm>
            <a:custGeom>
              <a:avLst/>
              <a:gdLst>
                <a:gd name="connsiteX0" fmla="*/ 0 w 6271233"/>
                <a:gd name="connsiteY0" fmla="*/ 1397819 h 1397819"/>
                <a:gd name="connsiteX1" fmla="*/ 6271234 w 6271233"/>
                <a:gd name="connsiteY1" fmla="*/ 0 h 1397819"/>
              </a:gdLst>
              <a:ahLst/>
              <a:cxnLst>
                <a:cxn ang="0">
                  <a:pos x="connsiteX0" y="connsiteY0"/>
                </a:cxn>
                <a:cxn ang="0">
                  <a:pos x="connsiteX1" y="connsiteY1"/>
                </a:cxn>
              </a:cxnLst>
              <a:rect l="l" t="t" r="r" b="b"/>
              <a:pathLst>
                <a:path w="6271233" h="1397819">
                  <a:moveTo>
                    <a:pt x="0" y="1397819"/>
                  </a:moveTo>
                  <a:lnTo>
                    <a:pt x="6271234" y="0"/>
                  </a:lnTo>
                </a:path>
              </a:pathLst>
            </a:custGeom>
            <a:ln w="1905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43" name="Freeform: Shape 28">
              <a:extLst>
                <a:ext uri="{FF2B5EF4-FFF2-40B4-BE49-F238E27FC236}">
                  <a16:creationId xmlns:a16="http://schemas.microsoft.com/office/drawing/2014/main" id="{4589C652-EA61-BF55-0FA6-025E8B70FAEC}"/>
                </a:ext>
                <a:ext uri="{C183D7F6-B498-43B3-948B-1728B52AA6E4}">
                  <adec:decorative xmlns:adec="http://schemas.microsoft.com/office/drawing/2017/decorative" val="1"/>
                </a:ext>
              </a:extLst>
            </p:cNvPr>
            <p:cNvSpPr/>
            <p:nvPr/>
          </p:nvSpPr>
          <p:spPr>
            <a:xfrm>
              <a:off x="26278919" y="10602074"/>
              <a:ext cx="4090583" cy="352768"/>
            </a:xfrm>
            <a:custGeom>
              <a:avLst/>
              <a:gdLst>
                <a:gd name="connsiteX0" fmla="*/ 0 w 5237844"/>
                <a:gd name="connsiteY0" fmla="*/ 0 h 601528"/>
                <a:gd name="connsiteX1" fmla="*/ 5237845 w 5237844"/>
                <a:gd name="connsiteY1" fmla="*/ 601528 h 601528"/>
              </a:gdLst>
              <a:ahLst/>
              <a:cxnLst>
                <a:cxn ang="0">
                  <a:pos x="connsiteX0" y="connsiteY0"/>
                </a:cxn>
                <a:cxn ang="0">
                  <a:pos x="connsiteX1" y="connsiteY1"/>
                </a:cxn>
              </a:cxnLst>
              <a:rect l="l" t="t" r="r" b="b"/>
              <a:pathLst>
                <a:path w="5237844" h="601528">
                  <a:moveTo>
                    <a:pt x="0" y="0"/>
                  </a:moveTo>
                  <a:lnTo>
                    <a:pt x="5237845" y="601528"/>
                  </a:lnTo>
                </a:path>
              </a:pathLst>
            </a:custGeom>
            <a:ln w="1905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44" name="Freeform: Shape 29">
              <a:extLst>
                <a:ext uri="{FF2B5EF4-FFF2-40B4-BE49-F238E27FC236}">
                  <a16:creationId xmlns:a16="http://schemas.microsoft.com/office/drawing/2014/main" id="{52D89BC7-57F7-C478-7464-41DFC7EE422E}"/>
                </a:ext>
                <a:ext uri="{C183D7F6-B498-43B3-948B-1728B52AA6E4}">
                  <adec:decorative xmlns:adec="http://schemas.microsoft.com/office/drawing/2017/decorative" val="1"/>
                </a:ext>
              </a:extLst>
            </p:cNvPr>
            <p:cNvSpPr/>
            <p:nvPr/>
          </p:nvSpPr>
          <p:spPr>
            <a:xfrm>
              <a:off x="26278919" y="10602073"/>
              <a:ext cx="3725726" cy="3405436"/>
            </a:xfrm>
            <a:custGeom>
              <a:avLst/>
              <a:gdLst>
                <a:gd name="connsiteX0" fmla="*/ 0 w 3475052"/>
                <a:gd name="connsiteY0" fmla="*/ 0 h 2786544"/>
                <a:gd name="connsiteX1" fmla="*/ 3475052 w 3475052"/>
                <a:gd name="connsiteY1" fmla="*/ 2786545 h 2786544"/>
              </a:gdLst>
              <a:ahLst/>
              <a:cxnLst>
                <a:cxn ang="0">
                  <a:pos x="connsiteX0" y="connsiteY0"/>
                </a:cxn>
                <a:cxn ang="0">
                  <a:pos x="connsiteX1" y="connsiteY1"/>
                </a:cxn>
              </a:cxnLst>
              <a:rect l="l" t="t" r="r" b="b"/>
              <a:pathLst>
                <a:path w="3475052" h="2786544">
                  <a:moveTo>
                    <a:pt x="0" y="0"/>
                  </a:moveTo>
                  <a:lnTo>
                    <a:pt x="3475052" y="2786545"/>
                  </a:lnTo>
                </a:path>
              </a:pathLst>
            </a:custGeom>
            <a:ln w="1905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45" name="Freeform: Shape 30">
              <a:extLst>
                <a:ext uri="{FF2B5EF4-FFF2-40B4-BE49-F238E27FC236}">
                  <a16:creationId xmlns:a16="http://schemas.microsoft.com/office/drawing/2014/main" id="{121E3C7C-D6EB-A6FB-A13C-397491A10B89}"/>
                </a:ext>
                <a:ext uri="{C183D7F6-B498-43B3-948B-1728B52AA6E4}">
                  <adec:decorative xmlns:adec="http://schemas.microsoft.com/office/drawing/2017/decorative" val="1"/>
                </a:ext>
              </a:extLst>
            </p:cNvPr>
            <p:cNvSpPr/>
            <p:nvPr/>
          </p:nvSpPr>
          <p:spPr>
            <a:xfrm>
              <a:off x="26278919" y="10602073"/>
              <a:ext cx="6894546" cy="3445028"/>
            </a:xfrm>
            <a:custGeom>
              <a:avLst/>
              <a:gdLst>
                <a:gd name="connsiteX0" fmla="*/ 0 w 6430668"/>
                <a:gd name="connsiteY0" fmla="*/ 0 h 2818941"/>
                <a:gd name="connsiteX1" fmla="*/ 6430669 w 6430668"/>
                <a:gd name="connsiteY1" fmla="*/ 2818942 h 2818941"/>
              </a:gdLst>
              <a:ahLst/>
              <a:cxnLst>
                <a:cxn ang="0">
                  <a:pos x="connsiteX0" y="connsiteY0"/>
                </a:cxn>
                <a:cxn ang="0">
                  <a:pos x="connsiteX1" y="connsiteY1"/>
                </a:cxn>
              </a:cxnLst>
              <a:rect l="l" t="t" r="r" b="b"/>
              <a:pathLst>
                <a:path w="6430668" h="2818941">
                  <a:moveTo>
                    <a:pt x="0" y="0"/>
                  </a:moveTo>
                  <a:lnTo>
                    <a:pt x="6430669" y="2818942"/>
                  </a:lnTo>
                </a:path>
              </a:pathLst>
            </a:custGeom>
            <a:ln w="19050" cap="flat">
              <a:solidFill>
                <a:srgbClr val="454142">
                  <a:alpha val="50000"/>
                </a:srgbClr>
              </a:solidFill>
              <a:prstDash val="dash"/>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46" name="Freeform: Shape 31">
              <a:extLst>
                <a:ext uri="{FF2B5EF4-FFF2-40B4-BE49-F238E27FC236}">
                  <a16:creationId xmlns:a16="http://schemas.microsoft.com/office/drawing/2014/main" id="{7C1E0904-6D50-756F-11AC-7C9836B67704}"/>
                </a:ext>
                <a:ext uri="{C183D7F6-B498-43B3-948B-1728B52AA6E4}">
                  <adec:decorative xmlns:adec="http://schemas.microsoft.com/office/drawing/2017/decorative" val="1"/>
                </a:ext>
              </a:extLst>
            </p:cNvPr>
            <p:cNvSpPr/>
            <p:nvPr/>
          </p:nvSpPr>
          <p:spPr>
            <a:xfrm>
              <a:off x="30391111" y="10961209"/>
              <a:ext cx="2782355" cy="3085893"/>
            </a:xfrm>
            <a:custGeom>
              <a:avLst/>
              <a:gdLst>
                <a:gd name="connsiteX0" fmla="*/ 0 w 1192823"/>
                <a:gd name="connsiteY0" fmla="*/ 0 h 2217413"/>
                <a:gd name="connsiteX1" fmla="*/ 1192823 w 1192823"/>
                <a:gd name="connsiteY1" fmla="*/ 2217414 h 2217413"/>
              </a:gdLst>
              <a:ahLst/>
              <a:cxnLst>
                <a:cxn ang="0">
                  <a:pos x="connsiteX0" y="connsiteY0"/>
                </a:cxn>
                <a:cxn ang="0">
                  <a:pos x="connsiteX1" y="connsiteY1"/>
                </a:cxn>
              </a:cxnLst>
              <a:rect l="l" t="t" r="r" b="b"/>
              <a:pathLst>
                <a:path w="1192823" h="2217413">
                  <a:moveTo>
                    <a:pt x="0" y="0"/>
                  </a:moveTo>
                  <a:lnTo>
                    <a:pt x="1192823" y="2217414"/>
                  </a:lnTo>
                </a:path>
              </a:pathLst>
            </a:custGeom>
            <a:ln w="19050" cap="flat">
              <a:solidFill>
                <a:srgbClr val="454142">
                  <a:alpha val="50000"/>
                </a:srgbClr>
              </a:solidFill>
              <a:prstDash val="dash"/>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47" name="Freeform: Shape 32">
              <a:extLst>
                <a:ext uri="{FF2B5EF4-FFF2-40B4-BE49-F238E27FC236}">
                  <a16:creationId xmlns:a16="http://schemas.microsoft.com/office/drawing/2014/main" id="{6E44CC1F-99EE-8CEB-89F6-E66FE4074AF1}"/>
                </a:ext>
                <a:ext uri="{C183D7F6-B498-43B3-948B-1728B52AA6E4}">
                  <adec:decorative xmlns:adec="http://schemas.microsoft.com/office/drawing/2017/decorative" val="1"/>
                </a:ext>
              </a:extLst>
            </p:cNvPr>
            <p:cNvSpPr/>
            <p:nvPr/>
          </p:nvSpPr>
          <p:spPr>
            <a:xfrm>
              <a:off x="30004646" y="10961209"/>
              <a:ext cx="374168" cy="3046300"/>
            </a:xfrm>
            <a:custGeom>
              <a:avLst/>
              <a:gdLst>
                <a:gd name="connsiteX0" fmla="*/ 0 w 1762792"/>
                <a:gd name="connsiteY0" fmla="*/ 2185017 h 2185016"/>
                <a:gd name="connsiteX1" fmla="*/ 1762793 w 1762792"/>
                <a:gd name="connsiteY1" fmla="*/ 0 h 2185016"/>
              </a:gdLst>
              <a:ahLst/>
              <a:cxnLst>
                <a:cxn ang="0">
                  <a:pos x="connsiteX0" y="connsiteY0"/>
                </a:cxn>
                <a:cxn ang="0">
                  <a:pos x="connsiteX1" y="connsiteY1"/>
                </a:cxn>
              </a:cxnLst>
              <a:rect l="l" t="t" r="r" b="b"/>
              <a:pathLst>
                <a:path w="1762792" h="2185016">
                  <a:moveTo>
                    <a:pt x="0" y="2185017"/>
                  </a:moveTo>
                  <a:lnTo>
                    <a:pt x="1762793" y="0"/>
                  </a:lnTo>
                </a:path>
              </a:pathLst>
            </a:custGeom>
            <a:ln w="1905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48" name="Freeform: Shape 33">
              <a:extLst>
                <a:ext uri="{FF2B5EF4-FFF2-40B4-BE49-F238E27FC236}">
                  <a16:creationId xmlns:a16="http://schemas.microsoft.com/office/drawing/2014/main" id="{0DD3EA4A-72BB-87E3-0F12-1C44E3E0BFE6}"/>
                </a:ext>
                <a:ext uri="{C183D7F6-B498-43B3-948B-1728B52AA6E4}">
                  <adec:decorative xmlns:adec="http://schemas.microsoft.com/office/drawing/2017/decorative" val="1"/>
                </a:ext>
              </a:extLst>
            </p:cNvPr>
            <p:cNvSpPr/>
            <p:nvPr/>
          </p:nvSpPr>
          <p:spPr>
            <a:xfrm>
              <a:off x="30004645" y="14007510"/>
              <a:ext cx="3168819" cy="39592"/>
            </a:xfrm>
            <a:custGeom>
              <a:avLst/>
              <a:gdLst>
                <a:gd name="connsiteX0" fmla="*/ 0 w 2955615"/>
                <a:gd name="connsiteY0" fmla="*/ 0 h 32397"/>
                <a:gd name="connsiteX1" fmla="*/ 2955616 w 2955615"/>
                <a:gd name="connsiteY1" fmla="*/ 32397 h 32397"/>
              </a:gdLst>
              <a:ahLst/>
              <a:cxnLst>
                <a:cxn ang="0">
                  <a:pos x="connsiteX0" y="connsiteY0"/>
                </a:cxn>
                <a:cxn ang="0">
                  <a:pos x="connsiteX1" y="connsiteY1"/>
                </a:cxn>
              </a:cxnLst>
              <a:rect l="l" t="t" r="r" b="b"/>
              <a:pathLst>
                <a:path w="2955615" h="32397">
                  <a:moveTo>
                    <a:pt x="0" y="0"/>
                  </a:moveTo>
                  <a:lnTo>
                    <a:pt x="2955616" y="32397"/>
                  </a:lnTo>
                </a:path>
              </a:pathLst>
            </a:custGeom>
            <a:ln w="1905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49" name="Freeform: Shape 42">
              <a:extLst>
                <a:ext uri="{FF2B5EF4-FFF2-40B4-BE49-F238E27FC236}">
                  <a16:creationId xmlns:a16="http://schemas.microsoft.com/office/drawing/2014/main" id="{D4669EBB-FD48-2033-856D-C320A9C4547F}"/>
                </a:ext>
                <a:ext uri="{C183D7F6-B498-43B3-948B-1728B52AA6E4}">
                  <adec:decorative xmlns:adec="http://schemas.microsoft.com/office/drawing/2017/decorative" val="1"/>
                </a:ext>
              </a:extLst>
            </p:cNvPr>
            <p:cNvSpPr/>
            <p:nvPr/>
          </p:nvSpPr>
          <p:spPr>
            <a:xfrm flipH="1">
              <a:off x="30391111" y="7134121"/>
              <a:ext cx="197436" cy="3820720"/>
            </a:xfrm>
            <a:custGeom>
              <a:avLst/>
              <a:gdLst>
                <a:gd name="connsiteX0" fmla="*/ 1227491 w 1227491"/>
                <a:gd name="connsiteY0" fmla="*/ 3029809 h 3029808"/>
                <a:gd name="connsiteX1" fmla="*/ 0 w 1227491"/>
                <a:gd name="connsiteY1" fmla="*/ 0 h 3029808"/>
              </a:gdLst>
              <a:ahLst/>
              <a:cxnLst>
                <a:cxn ang="0">
                  <a:pos x="connsiteX0" y="connsiteY0"/>
                </a:cxn>
                <a:cxn ang="0">
                  <a:pos x="connsiteX1" y="connsiteY1"/>
                </a:cxn>
              </a:cxnLst>
              <a:rect l="l" t="t" r="r" b="b"/>
              <a:pathLst>
                <a:path w="1227491" h="3029808">
                  <a:moveTo>
                    <a:pt x="1227491" y="3029809"/>
                  </a:moveTo>
                  <a:lnTo>
                    <a:pt x="0" y="0"/>
                  </a:lnTo>
                </a:path>
              </a:pathLst>
            </a:custGeom>
            <a:ln w="19050" cap="flat">
              <a:solidFill>
                <a:srgbClr val="454142">
                  <a:alpha val="50000"/>
                </a:srgbClr>
              </a:solidFill>
              <a:prstDash val="dash"/>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50" name="Freeform: Shape 44">
              <a:extLst>
                <a:ext uri="{FF2B5EF4-FFF2-40B4-BE49-F238E27FC236}">
                  <a16:creationId xmlns:a16="http://schemas.microsoft.com/office/drawing/2014/main" id="{3B5170B4-838D-778A-01EA-C54BB896B2B1}"/>
                </a:ext>
                <a:ext uri="{C183D7F6-B498-43B3-948B-1728B52AA6E4}">
                  <adec:decorative xmlns:adec="http://schemas.microsoft.com/office/drawing/2017/decorative" val="1"/>
                </a:ext>
              </a:extLst>
            </p:cNvPr>
            <p:cNvSpPr/>
            <p:nvPr/>
          </p:nvSpPr>
          <p:spPr>
            <a:xfrm flipV="1">
              <a:off x="30600169" y="7127752"/>
              <a:ext cx="5043463" cy="174465"/>
            </a:xfrm>
            <a:custGeom>
              <a:avLst/>
              <a:gdLst>
                <a:gd name="connsiteX0" fmla="*/ 0 w 4724284"/>
                <a:gd name="connsiteY0" fmla="*/ 271872 h 271871"/>
                <a:gd name="connsiteX1" fmla="*/ 4724285 w 4724284"/>
                <a:gd name="connsiteY1" fmla="*/ 0 h 271871"/>
              </a:gdLst>
              <a:ahLst/>
              <a:cxnLst>
                <a:cxn ang="0">
                  <a:pos x="connsiteX0" y="connsiteY0"/>
                </a:cxn>
                <a:cxn ang="0">
                  <a:pos x="connsiteX1" y="connsiteY1"/>
                </a:cxn>
              </a:cxnLst>
              <a:rect l="l" t="t" r="r" b="b"/>
              <a:pathLst>
                <a:path w="4724284" h="271871">
                  <a:moveTo>
                    <a:pt x="0" y="271872"/>
                  </a:moveTo>
                  <a:lnTo>
                    <a:pt x="4724285" y="0"/>
                  </a:lnTo>
                </a:path>
              </a:pathLst>
            </a:custGeom>
            <a:ln w="1905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51" name="Freeform: Shape 54">
              <a:extLst>
                <a:ext uri="{FF2B5EF4-FFF2-40B4-BE49-F238E27FC236}">
                  <a16:creationId xmlns:a16="http://schemas.microsoft.com/office/drawing/2014/main" id="{BE11F562-BCE9-7BF4-94B3-9D198C197F82}"/>
                </a:ext>
                <a:ext uri="{C183D7F6-B498-43B3-948B-1728B52AA6E4}">
                  <adec:decorative xmlns:adec="http://schemas.microsoft.com/office/drawing/2017/decorative" val="1"/>
                </a:ext>
              </a:extLst>
            </p:cNvPr>
            <p:cNvSpPr/>
            <p:nvPr/>
          </p:nvSpPr>
          <p:spPr>
            <a:xfrm>
              <a:off x="33002529" y="7302217"/>
              <a:ext cx="2641102" cy="1591580"/>
            </a:xfrm>
            <a:custGeom>
              <a:avLst/>
              <a:gdLst>
                <a:gd name="connsiteX0" fmla="*/ 2463405 w 2463404"/>
                <a:gd name="connsiteY0" fmla="*/ 0 h 1302332"/>
                <a:gd name="connsiteX1" fmla="*/ 0 w 2463404"/>
                <a:gd name="connsiteY1" fmla="*/ 1302333 h 1302332"/>
              </a:gdLst>
              <a:ahLst/>
              <a:cxnLst>
                <a:cxn ang="0">
                  <a:pos x="connsiteX0" y="connsiteY0"/>
                </a:cxn>
                <a:cxn ang="0">
                  <a:pos x="connsiteX1" y="connsiteY1"/>
                </a:cxn>
              </a:cxnLst>
              <a:rect l="l" t="t" r="r" b="b"/>
              <a:pathLst>
                <a:path w="2463404" h="1302332">
                  <a:moveTo>
                    <a:pt x="2463405" y="0"/>
                  </a:moveTo>
                  <a:lnTo>
                    <a:pt x="0" y="1302333"/>
                  </a:lnTo>
                </a:path>
              </a:pathLst>
            </a:custGeom>
            <a:ln w="1905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52" name="Freeform: Shape 55">
              <a:extLst>
                <a:ext uri="{FF2B5EF4-FFF2-40B4-BE49-F238E27FC236}">
                  <a16:creationId xmlns:a16="http://schemas.microsoft.com/office/drawing/2014/main" id="{886EDDE2-6804-7A03-A752-94B3017A0F1B}"/>
                </a:ext>
                <a:ext uri="{C183D7F6-B498-43B3-948B-1728B52AA6E4}">
                  <adec:decorative xmlns:adec="http://schemas.microsoft.com/office/drawing/2017/decorative" val="1"/>
                </a:ext>
              </a:extLst>
            </p:cNvPr>
            <p:cNvSpPr/>
            <p:nvPr/>
          </p:nvSpPr>
          <p:spPr>
            <a:xfrm>
              <a:off x="30578560" y="7127751"/>
              <a:ext cx="2423969" cy="1766046"/>
            </a:xfrm>
            <a:custGeom>
              <a:avLst/>
              <a:gdLst>
                <a:gd name="connsiteX0" fmla="*/ 0 w 2260879"/>
                <a:gd name="connsiteY0" fmla="*/ 0 h 1030460"/>
                <a:gd name="connsiteX1" fmla="*/ 2260880 w 2260879"/>
                <a:gd name="connsiteY1" fmla="*/ 1030461 h 1030460"/>
              </a:gdLst>
              <a:ahLst/>
              <a:cxnLst>
                <a:cxn ang="0">
                  <a:pos x="connsiteX0" y="connsiteY0"/>
                </a:cxn>
                <a:cxn ang="0">
                  <a:pos x="connsiteX1" y="connsiteY1"/>
                </a:cxn>
              </a:cxnLst>
              <a:rect l="l" t="t" r="r" b="b"/>
              <a:pathLst>
                <a:path w="2260879" h="1030460">
                  <a:moveTo>
                    <a:pt x="0" y="0"/>
                  </a:moveTo>
                  <a:lnTo>
                    <a:pt x="2260880" y="1030461"/>
                  </a:lnTo>
                </a:path>
              </a:pathLst>
            </a:custGeom>
            <a:ln w="1905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53" name="Freeform: Shape 56">
              <a:extLst>
                <a:ext uri="{FF2B5EF4-FFF2-40B4-BE49-F238E27FC236}">
                  <a16:creationId xmlns:a16="http://schemas.microsoft.com/office/drawing/2014/main" id="{C5C28014-7EC7-4F6C-591F-54A3053F70CC}"/>
                </a:ext>
                <a:ext uri="{C183D7F6-B498-43B3-948B-1728B52AA6E4}">
                  <adec:decorative xmlns:adec="http://schemas.microsoft.com/office/drawing/2017/decorative" val="1"/>
                </a:ext>
              </a:extLst>
            </p:cNvPr>
            <p:cNvSpPr/>
            <p:nvPr/>
          </p:nvSpPr>
          <p:spPr>
            <a:xfrm>
              <a:off x="33002529" y="8893798"/>
              <a:ext cx="1992850" cy="2493414"/>
            </a:xfrm>
            <a:custGeom>
              <a:avLst/>
              <a:gdLst>
                <a:gd name="connsiteX0" fmla="*/ 0 w 1858767"/>
                <a:gd name="connsiteY0" fmla="*/ 0 h 2040270"/>
                <a:gd name="connsiteX1" fmla="*/ 1858767 w 1858767"/>
                <a:gd name="connsiteY1" fmla="*/ 2040271 h 2040270"/>
              </a:gdLst>
              <a:ahLst/>
              <a:cxnLst>
                <a:cxn ang="0">
                  <a:pos x="connsiteX0" y="connsiteY0"/>
                </a:cxn>
                <a:cxn ang="0">
                  <a:pos x="connsiteX1" y="connsiteY1"/>
                </a:cxn>
              </a:cxnLst>
              <a:rect l="l" t="t" r="r" b="b"/>
              <a:pathLst>
                <a:path w="1858767" h="2040270">
                  <a:moveTo>
                    <a:pt x="0" y="0"/>
                  </a:moveTo>
                  <a:lnTo>
                    <a:pt x="1858767" y="2040271"/>
                  </a:lnTo>
                </a:path>
              </a:pathLst>
            </a:custGeom>
            <a:ln w="1905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54" name="Freeform: Shape 57">
              <a:extLst>
                <a:ext uri="{FF2B5EF4-FFF2-40B4-BE49-F238E27FC236}">
                  <a16:creationId xmlns:a16="http://schemas.microsoft.com/office/drawing/2014/main" id="{FDFFD7AD-F6EF-D9F9-9BC5-298B87903847}"/>
                </a:ext>
                <a:ext uri="{C183D7F6-B498-43B3-948B-1728B52AA6E4}">
                  <adec:decorative xmlns:adec="http://schemas.microsoft.com/office/drawing/2017/decorative" val="1"/>
                </a:ext>
              </a:extLst>
            </p:cNvPr>
            <p:cNvSpPr/>
            <p:nvPr/>
          </p:nvSpPr>
          <p:spPr>
            <a:xfrm>
              <a:off x="30388728" y="8893798"/>
              <a:ext cx="2613802" cy="2067413"/>
            </a:xfrm>
            <a:custGeom>
              <a:avLst/>
              <a:gdLst>
                <a:gd name="connsiteX0" fmla="*/ 1033388 w 1033388"/>
                <a:gd name="connsiteY0" fmla="*/ 0 h 1999347"/>
                <a:gd name="connsiteX1" fmla="*/ 0 w 1033388"/>
                <a:gd name="connsiteY1" fmla="*/ 1999348 h 1999347"/>
              </a:gdLst>
              <a:ahLst/>
              <a:cxnLst>
                <a:cxn ang="0">
                  <a:pos x="connsiteX0" y="connsiteY0"/>
                </a:cxn>
                <a:cxn ang="0">
                  <a:pos x="connsiteX1" y="connsiteY1"/>
                </a:cxn>
              </a:cxnLst>
              <a:rect l="l" t="t" r="r" b="b"/>
              <a:pathLst>
                <a:path w="1033388" h="1999347">
                  <a:moveTo>
                    <a:pt x="1033388" y="0"/>
                  </a:moveTo>
                  <a:lnTo>
                    <a:pt x="0" y="1999348"/>
                  </a:lnTo>
                </a:path>
              </a:pathLst>
            </a:custGeom>
            <a:ln w="1905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55" name="Freeform: Shape 59">
              <a:extLst>
                <a:ext uri="{FF2B5EF4-FFF2-40B4-BE49-F238E27FC236}">
                  <a16:creationId xmlns:a16="http://schemas.microsoft.com/office/drawing/2014/main" id="{93C94ACA-9B2E-5F5E-F7D9-87AA9852425E}"/>
                </a:ext>
                <a:ext uri="{C183D7F6-B498-43B3-948B-1728B52AA6E4}">
                  <adec:decorative xmlns:adec="http://schemas.microsoft.com/office/drawing/2017/decorative" val="1"/>
                </a:ext>
              </a:extLst>
            </p:cNvPr>
            <p:cNvSpPr/>
            <p:nvPr/>
          </p:nvSpPr>
          <p:spPr>
            <a:xfrm>
              <a:off x="33173465" y="11387213"/>
              <a:ext cx="1821914" cy="2659889"/>
            </a:xfrm>
            <a:custGeom>
              <a:avLst/>
              <a:gdLst>
                <a:gd name="connsiteX0" fmla="*/ 1699332 w 1699332"/>
                <a:gd name="connsiteY0" fmla="*/ 0 h 2176490"/>
                <a:gd name="connsiteX1" fmla="*/ 0 w 1699332"/>
                <a:gd name="connsiteY1" fmla="*/ 2176491 h 2176490"/>
              </a:gdLst>
              <a:ahLst/>
              <a:cxnLst>
                <a:cxn ang="0">
                  <a:pos x="connsiteX0" y="connsiteY0"/>
                </a:cxn>
                <a:cxn ang="0">
                  <a:pos x="connsiteX1" y="connsiteY1"/>
                </a:cxn>
              </a:cxnLst>
              <a:rect l="l" t="t" r="r" b="b"/>
              <a:pathLst>
                <a:path w="1699332" h="2176490">
                  <a:moveTo>
                    <a:pt x="1699332" y="0"/>
                  </a:moveTo>
                  <a:lnTo>
                    <a:pt x="0" y="2176491"/>
                  </a:lnTo>
                </a:path>
              </a:pathLst>
            </a:custGeom>
            <a:ln w="1905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56" name="Freeform: Shape 60">
              <a:extLst>
                <a:ext uri="{FF2B5EF4-FFF2-40B4-BE49-F238E27FC236}">
                  <a16:creationId xmlns:a16="http://schemas.microsoft.com/office/drawing/2014/main" id="{31475431-36BF-81BD-6933-F299124113DF}"/>
                </a:ext>
                <a:ext uri="{C183D7F6-B498-43B3-948B-1728B52AA6E4}">
                  <adec:decorative xmlns:adec="http://schemas.microsoft.com/office/drawing/2017/decorative" val="1"/>
                </a:ext>
              </a:extLst>
            </p:cNvPr>
            <p:cNvSpPr/>
            <p:nvPr/>
          </p:nvSpPr>
          <p:spPr>
            <a:xfrm>
              <a:off x="34995379" y="11387213"/>
              <a:ext cx="1456811" cy="2235399"/>
            </a:xfrm>
            <a:custGeom>
              <a:avLst/>
              <a:gdLst>
                <a:gd name="connsiteX0" fmla="*/ 0 w 943485"/>
                <a:gd name="connsiteY0" fmla="*/ 0 h 2305132"/>
                <a:gd name="connsiteX1" fmla="*/ 943486 w 943485"/>
                <a:gd name="connsiteY1" fmla="*/ 2305133 h 2305132"/>
              </a:gdLst>
              <a:ahLst/>
              <a:cxnLst>
                <a:cxn ang="0">
                  <a:pos x="connsiteX0" y="connsiteY0"/>
                </a:cxn>
                <a:cxn ang="0">
                  <a:pos x="connsiteX1" y="connsiteY1"/>
                </a:cxn>
              </a:cxnLst>
              <a:rect l="l" t="t" r="r" b="b"/>
              <a:pathLst>
                <a:path w="943485" h="2305132">
                  <a:moveTo>
                    <a:pt x="0" y="0"/>
                  </a:moveTo>
                  <a:lnTo>
                    <a:pt x="943486" y="2305133"/>
                  </a:lnTo>
                </a:path>
              </a:pathLst>
            </a:custGeom>
            <a:ln w="1905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57" name="Freeform: Shape 64">
              <a:extLst>
                <a:ext uri="{FF2B5EF4-FFF2-40B4-BE49-F238E27FC236}">
                  <a16:creationId xmlns:a16="http://schemas.microsoft.com/office/drawing/2014/main" id="{FBABD3A6-589E-2746-6B55-ED3CA8ABEF00}"/>
                </a:ext>
                <a:ext uri="{C183D7F6-B498-43B3-948B-1728B52AA6E4}">
                  <adec:decorative xmlns:adec="http://schemas.microsoft.com/office/drawing/2017/decorative" val="1"/>
                </a:ext>
              </a:extLst>
            </p:cNvPr>
            <p:cNvSpPr/>
            <p:nvPr/>
          </p:nvSpPr>
          <p:spPr>
            <a:xfrm>
              <a:off x="34995380" y="10450945"/>
              <a:ext cx="3142263" cy="936268"/>
            </a:xfrm>
            <a:custGeom>
              <a:avLst/>
              <a:gdLst>
                <a:gd name="connsiteX0" fmla="*/ 0 w 2841426"/>
                <a:gd name="connsiteY0" fmla="*/ 171080 h 171080"/>
                <a:gd name="connsiteX1" fmla="*/ 2841426 w 2841426"/>
                <a:gd name="connsiteY1" fmla="*/ 0 h 171080"/>
              </a:gdLst>
              <a:ahLst/>
              <a:cxnLst>
                <a:cxn ang="0">
                  <a:pos x="connsiteX0" y="connsiteY0"/>
                </a:cxn>
                <a:cxn ang="0">
                  <a:pos x="connsiteX1" y="connsiteY1"/>
                </a:cxn>
              </a:cxnLst>
              <a:rect l="l" t="t" r="r" b="b"/>
              <a:pathLst>
                <a:path w="2841426" h="171080">
                  <a:moveTo>
                    <a:pt x="0" y="171080"/>
                  </a:moveTo>
                  <a:lnTo>
                    <a:pt x="2841426" y="0"/>
                  </a:lnTo>
                </a:path>
              </a:pathLst>
            </a:custGeom>
            <a:ln w="1905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58" name="Freeform: Shape 65">
              <a:extLst>
                <a:ext uri="{FF2B5EF4-FFF2-40B4-BE49-F238E27FC236}">
                  <a16:creationId xmlns:a16="http://schemas.microsoft.com/office/drawing/2014/main" id="{B3A8D05C-21C8-7BD5-228E-BF51DA9BC57D}"/>
                </a:ext>
                <a:ext uri="{C183D7F6-B498-43B3-948B-1728B52AA6E4}">
                  <adec:decorative xmlns:adec="http://schemas.microsoft.com/office/drawing/2017/decorative" val="1"/>
                </a:ext>
              </a:extLst>
            </p:cNvPr>
            <p:cNvSpPr/>
            <p:nvPr/>
          </p:nvSpPr>
          <p:spPr>
            <a:xfrm>
              <a:off x="35643634" y="7302218"/>
              <a:ext cx="2494008" cy="3135278"/>
            </a:xfrm>
            <a:custGeom>
              <a:avLst/>
              <a:gdLst>
                <a:gd name="connsiteX0" fmla="*/ 0 w 2236788"/>
                <a:gd name="connsiteY0" fmla="*/ 0 h 3171522"/>
                <a:gd name="connsiteX1" fmla="*/ 2236788 w 2236788"/>
                <a:gd name="connsiteY1" fmla="*/ 3171523 h 3171522"/>
              </a:gdLst>
              <a:ahLst/>
              <a:cxnLst>
                <a:cxn ang="0">
                  <a:pos x="connsiteX0" y="connsiteY0"/>
                </a:cxn>
                <a:cxn ang="0">
                  <a:pos x="connsiteX1" y="connsiteY1"/>
                </a:cxn>
              </a:cxnLst>
              <a:rect l="l" t="t" r="r" b="b"/>
              <a:pathLst>
                <a:path w="2236788" h="3171522">
                  <a:moveTo>
                    <a:pt x="0" y="0"/>
                  </a:moveTo>
                  <a:lnTo>
                    <a:pt x="2236788" y="3171523"/>
                  </a:lnTo>
                </a:path>
              </a:pathLst>
            </a:custGeom>
            <a:ln w="1905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59" name="Freeform: Shape 66">
              <a:extLst>
                <a:ext uri="{FF2B5EF4-FFF2-40B4-BE49-F238E27FC236}">
                  <a16:creationId xmlns:a16="http://schemas.microsoft.com/office/drawing/2014/main" id="{10277C0B-B356-D916-520D-235B5D2CF99C}"/>
                </a:ext>
                <a:ext uri="{C183D7F6-B498-43B3-948B-1728B52AA6E4}">
                  <adec:decorative xmlns:adec="http://schemas.microsoft.com/office/drawing/2017/decorative" val="1"/>
                </a:ext>
              </a:extLst>
            </p:cNvPr>
            <p:cNvSpPr/>
            <p:nvPr/>
          </p:nvSpPr>
          <p:spPr>
            <a:xfrm>
              <a:off x="34995380" y="7302217"/>
              <a:ext cx="648253" cy="4084995"/>
            </a:xfrm>
            <a:custGeom>
              <a:avLst/>
              <a:gdLst>
                <a:gd name="connsiteX0" fmla="*/ 604638 w 604637"/>
                <a:gd name="connsiteY0" fmla="*/ 0 h 3342603"/>
                <a:gd name="connsiteX1" fmla="*/ 0 w 604637"/>
                <a:gd name="connsiteY1" fmla="*/ 3342603 h 3342603"/>
              </a:gdLst>
              <a:ahLst/>
              <a:cxnLst>
                <a:cxn ang="0">
                  <a:pos x="connsiteX0" y="connsiteY0"/>
                </a:cxn>
                <a:cxn ang="0">
                  <a:pos x="connsiteX1" y="connsiteY1"/>
                </a:cxn>
              </a:cxnLst>
              <a:rect l="l" t="t" r="r" b="b"/>
              <a:pathLst>
                <a:path w="604637" h="3342603">
                  <a:moveTo>
                    <a:pt x="604638" y="0"/>
                  </a:moveTo>
                  <a:lnTo>
                    <a:pt x="0" y="3342603"/>
                  </a:lnTo>
                </a:path>
              </a:pathLst>
            </a:custGeom>
            <a:ln w="19050" cap="flat">
              <a:solidFill>
                <a:srgbClr val="454142">
                  <a:alpha val="50000"/>
                </a:srgbClr>
              </a:solidFill>
              <a:prstDash val="dash"/>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60" name="Freeform: Shape 67">
              <a:extLst>
                <a:ext uri="{FF2B5EF4-FFF2-40B4-BE49-F238E27FC236}">
                  <a16:creationId xmlns:a16="http://schemas.microsoft.com/office/drawing/2014/main" id="{7D2C02BE-D0E0-B95C-7AF7-9B7CEC7A7FCB}"/>
                </a:ext>
                <a:ext uri="{C183D7F6-B498-43B3-948B-1728B52AA6E4}">
                  <adec:decorative xmlns:adec="http://schemas.microsoft.com/office/drawing/2017/decorative" val="1"/>
                </a:ext>
              </a:extLst>
            </p:cNvPr>
            <p:cNvSpPr/>
            <p:nvPr/>
          </p:nvSpPr>
          <p:spPr>
            <a:xfrm>
              <a:off x="33002529" y="8893799"/>
              <a:ext cx="5135120" cy="1557146"/>
            </a:xfrm>
            <a:custGeom>
              <a:avLst/>
              <a:gdLst>
                <a:gd name="connsiteX0" fmla="*/ 0 w 4700193"/>
                <a:gd name="connsiteY0" fmla="*/ 0 h 1869190"/>
                <a:gd name="connsiteX1" fmla="*/ 4700193 w 4700193"/>
                <a:gd name="connsiteY1" fmla="*/ 1869190 h 1869190"/>
              </a:gdLst>
              <a:ahLst/>
              <a:cxnLst>
                <a:cxn ang="0">
                  <a:pos x="connsiteX0" y="connsiteY0"/>
                </a:cxn>
                <a:cxn ang="0">
                  <a:pos x="connsiteX1" y="connsiteY1"/>
                </a:cxn>
              </a:cxnLst>
              <a:rect l="l" t="t" r="r" b="b"/>
              <a:pathLst>
                <a:path w="4700193" h="1869190">
                  <a:moveTo>
                    <a:pt x="0" y="0"/>
                  </a:moveTo>
                  <a:lnTo>
                    <a:pt x="4700193" y="1869190"/>
                  </a:lnTo>
                </a:path>
              </a:pathLst>
            </a:custGeom>
            <a:ln w="1905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61" name="Freeform: Shape 68">
              <a:extLst>
                <a:ext uri="{FF2B5EF4-FFF2-40B4-BE49-F238E27FC236}">
                  <a16:creationId xmlns:a16="http://schemas.microsoft.com/office/drawing/2014/main" id="{A2576F51-C069-765B-0B12-533AE4CA9AE4}"/>
                </a:ext>
                <a:ext uri="{C183D7F6-B498-43B3-948B-1728B52AA6E4}">
                  <adec:decorative xmlns:adec="http://schemas.microsoft.com/office/drawing/2017/decorative" val="1"/>
                </a:ext>
              </a:extLst>
            </p:cNvPr>
            <p:cNvSpPr/>
            <p:nvPr/>
          </p:nvSpPr>
          <p:spPr>
            <a:xfrm>
              <a:off x="30376853" y="10961211"/>
              <a:ext cx="4618527" cy="482093"/>
            </a:xfrm>
            <a:custGeom>
              <a:avLst/>
              <a:gdLst>
                <a:gd name="connsiteX0" fmla="*/ 0 w 2892155"/>
                <a:gd name="connsiteY0" fmla="*/ 0 h 40922"/>
                <a:gd name="connsiteX1" fmla="*/ 2892155 w 2892155"/>
                <a:gd name="connsiteY1" fmla="*/ 40923 h 40922"/>
              </a:gdLst>
              <a:ahLst/>
              <a:cxnLst>
                <a:cxn ang="0">
                  <a:pos x="connsiteX0" y="connsiteY0"/>
                </a:cxn>
                <a:cxn ang="0">
                  <a:pos x="connsiteX1" y="connsiteY1"/>
                </a:cxn>
              </a:cxnLst>
              <a:rect l="l" t="t" r="r" b="b"/>
              <a:pathLst>
                <a:path w="2892155" h="40922">
                  <a:moveTo>
                    <a:pt x="0" y="0"/>
                  </a:moveTo>
                  <a:lnTo>
                    <a:pt x="2892155" y="40923"/>
                  </a:lnTo>
                </a:path>
              </a:pathLst>
            </a:custGeom>
            <a:ln w="19050" cap="flat">
              <a:solidFill>
                <a:srgbClr val="454142">
                  <a:alpha val="50000"/>
                </a:srgbClr>
              </a:solidFill>
              <a:prstDash val="dash"/>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62" name="Freeform: Shape 98">
              <a:extLst>
                <a:ext uri="{FF2B5EF4-FFF2-40B4-BE49-F238E27FC236}">
                  <a16:creationId xmlns:a16="http://schemas.microsoft.com/office/drawing/2014/main" id="{8084FBAF-9A59-7C18-AEB1-E323D6EA08AC}"/>
                </a:ext>
                <a:ext uri="{C183D7F6-B498-43B3-948B-1728B52AA6E4}">
                  <adec:decorative xmlns:adec="http://schemas.microsoft.com/office/drawing/2017/decorative" val="1"/>
                </a:ext>
              </a:extLst>
            </p:cNvPr>
            <p:cNvSpPr/>
            <p:nvPr/>
          </p:nvSpPr>
          <p:spPr>
            <a:xfrm>
              <a:off x="33002529" y="8893798"/>
              <a:ext cx="170935" cy="5153304"/>
            </a:xfrm>
            <a:custGeom>
              <a:avLst/>
              <a:gdLst>
                <a:gd name="connsiteX0" fmla="*/ 0 w 159434"/>
                <a:gd name="connsiteY0" fmla="*/ 0 h 4216761"/>
                <a:gd name="connsiteX1" fmla="*/ 159435 w 159434"/>
                <a:gd name="connsiteY1" fmla="*/ 4216762 h 4216761"/>
              </a:gdLst>
              <a:ahLst/>
              <a:cxnLst>
                <a:cxn ang="0">
                  <a:pos x="connsiteX0" y="connsiteY0"/>
                </a:cxn>
                <a:cxn ang="0">
                  <a:pos x="connsiteX1" y="connsiteY1"/>
                </a:cxn>
              </a:cxnLst>
              <a:rect l="l" t="t" r="r" b="b"/>
              <a:pathLst>
                <a:path w="159434" h="4216761">
                  <a:moveTo>
                    <a:pt x="0" y="0"/>
                  </a:moveTo>
                  <a:lnTo>
                    <a:pt x="159435" y="4216762"/>
                  </a:lnTo>
                </a:path>
              </a:pathLst>
            </a:custGeom>
            <a:ln w="1905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63" name="Freeform: Shape 99">
              <a:extLst>
                <a:ext uri="{FF2B5EF4-FFF2-40B4-BE49-F238E27FC236}">
                  <a16:creationId xmlns:a16="http://schemas.microsoft.com/office/drawing/2014/main" id="{6326A70A-4259-AFAC-B2EB-1934FB230AB0}"/>
                </a:ext>
                <a:ext uri="{C183D7F6-B498-43B3-948B-1728B52AA6E4}">
                  <adec:decorative xmlns:adec="http://schemas.microsoft.com/office/drawing/2017/decorative" val="1"/>
                </a:ext>
              </a:extLst>
            </p:cNvPr>
            <p:cNvSpPr/>
            <p:nvPr/>
          </p:nvSpPr>
          <p:spPr>
            <a:xfrm>
              <a:off x="36452194" y="10450945"/>
              <a:ext cx="1685447" cy="3165222"/>
            </a:xfrm>
            <a:custGeom>
              <a:avLst/>
              <a:gdLst>
                <a:gd name="connsiteX0" fmla="*/ 1897940 w 1897940"/>
                <a:gd name="connsiteY0" fmla="*/ 0 h 2476212"/>
                <a:gd name="connsiteX1" fmla="*/ 0 w 1897940"/>
                <a:gd name="connsiteY1" fmla="*/ 2476213 h 2476212"/>
              </a:gdLst>
              <a:ahLst/>
              <a:cxnLst>
                <a:cxn ang="0">
                  <a:pos x="connsiteX0" y="connsiteY0"/>
                </a:cxn>
                <a:cxn ang="0">
                  <a:pos x="connsiteX1" y="connsiteY1"/>
                </a:cxn>
              </a:cxnLst>
              <a:rect l="l" t="t" r="r" b="b"/>
              <a:pathLst>
                <a:path w="1897940" h="2476212">
                  <a:moveTo>
                    <a:pt x="1897940" y="0"/>
                  </a:moveTo>
                  <a:lnTo>
                    <a:pt x="0" y="2476213"/>
                  </a:lnTo>
                </a:path>
              </a:pathLst>
            </a:custGeom>
            <a:ln w="1905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192" name="Freeform: Shape 100">
              <a:extLst>
                <a:ext uri="{FF2B5EF4-FFF2-40B4-BE49-F238E27FC236}">
                  <a16:creationId xmlns:a16="http://schemas.microsoft.com/office/drawing/2014/main" id="{3BFC9071-B328-341C-2B58-419E93ACECFB}"/>
                </a:ext>
                <a:ext uri="{C183D7F6-B498-43B3-948B-1728B52AA6E4}">
                  <adec:decorative xmlns:adec="http://schemas.microsoft.com/office/drawing/2017/decorative" val="1"/>
                </a:ext>
              </a:extLst>
            </p:cNvPr>
            <p:cNvSpPr/>
            <p:nvPr/>
          </p:nvSpPr>
          <p:spPr>
            <a:xfrm flipV="1">
              <a:off x="33173464" y="13622612"/>
              <a:ext cx="3278721" cy="424490"/>
            </a:xfrm>
            <a:custGeom>
              <a:avLst/>
              <a:gdLst>
                <a:gd name="connsiteX0" fmla="*/ 0 w 2642818"/>
                <a:gd name="connsiteY0" fmla="*/ 0 h 128641"/>
                <a:gd name="connsiteX1" fmla="*/ 2642818 w 2642818"/>
                <a:gd name="connsiteY1" fmla="*/ 128642 h 128641"/>
              </a:gdLst>
              <a:ahLst/>
              <a:cxnLst>
                <a:cxn ang="0">
                  <a:pos x="connsiteX0" y="connsiteY0"/>
                </a:cxn>
                <a:cxn ang="0">
                  <a:pos x="connsiteX1" y="connsiteY1"/>
                </a:cxn>
              </a:cxnLst>
              <a:rect l="l" t="t" r="r" b="b"/>
              <a:pathLst>
                <a:path w="2642818" h="128641">
                  <a:moveTo>
                    <a:pt x="0" y="0"/>
                  </a:moveTo>
                  <a:lnTo>
                    <a:pt x="2642818" y="128642"/>
                  </a:lnTo>
                </a:path>
              </a:pathLst>
            </a:custGeom>
            <a:ln w="1905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193" name="Freeform: Shape 101">
              <a:extLst>
                <a:ext uri="{FF2B5EF4-FFF2-40B4-BE49-F238E27FC236}">
                  <a16:creationId xmlns:a16="http://schemas.microsoft.com/office/drawing/2014/main" id="{F0007131-DBF9-5518-47BB-FA07F5EA95D7}"/>
                </a:ext>
                <a:ext uri="{C183D7F6-B498-43B3-948B-1728B52AA6E4}">
                  <adec:decorative xmlns:adec="http://schemas.microsoft.com/office/drawing/2017/decorative" val="1"/>
                </a:ext>
              </a:extLst>
            </p:cNvPr>
            <p:cNvSpPr/>
            <p:nvPr/>
          </p:nvSpPr>
          <p:spPr>
            <a:xfrm>
              <a:off x="35643633" y="7302218"/>
              <a:ext cx="808560" cy="6313945"/>
            </a:xfrm>
            <a:custGeom>
              <a:avLst/>
              <a:gdLst>
                <a:gd name="connsiteX0" fmla="*/ 0 w 338847"/>
                <a:gd name="connsiteY0" fmla="*/ 0 h 5647735"/>
                <a:gd name="connsiteX1" fmla="*/ 338848 w 338847"/>
                <a:gd name="connsiteY1" fmla="*/ 5647736 h 5647735"/>
              </a:gdLst>
              <a:ahLst/>
              <a:cxnLst>
                <a:cxn ang="0">
                  <a:pos x="connsiteX0" y="connsiteY0"/>
                </a:cxn>
                <a:cxn ang="0">
                  <a:pos x="connsiteX1" y="connsiteY1"/>
                </a:cxn>
              </a:cxnLst>
              <a:rect l="l" t="t" r="r" b="b"/>
              <a:pathLst>
                <a:path w="338847" h="5647735">
                  <a:moveTo>
                    <a:pt x="0" y="0"/>
                  </a:moveTo>
                  <a:lnTo>
                    <a:pt x="338848" y="5647736"/>
                  </a:lnTo>
                </a:path>
              </a:pathLst>
            </a:custGeom>
            <a:ln w="19050" cap="flat">
              <a:solidFill>
                <a:srgbClr val="454142">
                  <a:alpha val="50000"/>
                </a:srgbClr>
              </a:solidFill>
              <a:prstDash val="dash"/>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sp>
          <p:nvSpPr>
            <p:cNvPr id="194" name="Freeform: Shape 102">
              <a:extLst>
                <a:ext uri="{FF2B5EF4-FFF2-40B4-BE49-F238E27FC236}">
                  <a16:creationId xmlns:a16="http://schemas.microsoft.com/office/drawing/2014/main" id="{A54B6A56-07A7-DF47-A347-63583A5ADD61}"/>
                </a:ext>
                <a:ext uri="{C183D7F6-B498-43B3-948B-1728B52AA6E4}">
                  <adec:decorative xmlns:adec="http://schemas.microsoft.com/office/drawing/2017/decorative" val="1"/>
                </a:ext>
              </a:extLst>
            </p:cNvPr>
            <p:cNvSpPr/>
            <p:nvPr/>
          </p:nvSpPr>
          <p:spPr>
            <a:xfrm>
              <a:off x="33173465" y="10437494"/>
              <a:ext cx="4964177" cy="3609607"/>
            </a:xfrm>
            <a:custGeom>
              <a:avLst/>
              <a:gdLst>
                <a:gd name="connsiteX0" fmla="*/ 4540758 w 4540758"/>
                <a:gd name="connsiteY0" fmla="*/ 0 h 2347571"/>
                <a:gd name="connsiteX1" fmla="*/ 0 w 4540758"/>
                <a:gd name="connsiteY1" fmla="*/ 2347571 h 2347571"/>
              </a:gdLst>
              <a:ahLst/>
              <a:cxnLst>
                <a:cxn ang="0">
                  <a:pos x="connsiteX0" y="connsiteY0"/>
                </a:cxn>
                <a:cxn ang="0">
                  <a:pos x="connsiteX1" y="connsiteY1"/>
                </a:cxn>
              </a:cxnLst>
              <a:rect l="l" t="t" r="r" b="b"/>
              <a:pathLst>
                <a:path w="4540758" h="2347571">
                  <a:moveTo>
                    <a:pt x="4540758" y="0"/>
                  </a:moveTo>
                  <a:lnTo>
                    <a:pt x="0" y="2347571"/>
                  </a:lnTo>
                </a:path>
              </a:pathLst>
            </a:custGeom>
            <a:ln w="19050" cap="flat">
              <a:solidFill>
                <a:srgbClr val="454142">
                  <a:alpha val="50000"/>
                </a:srgbClr>
              </a:solidFill>
              <a:prstDash val="dash"/>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95" name="Group 194">
            <a:extLst>
              <a:ext uri="{FF2B5EF4-FFF2-40B4-BE49-F238E27FC236}">
                <a16:creationId xmlns:a16="http://schemas.microsoft.com/office/drawing/2014/main" id="{5ADBE242-1BF6-B367-1843-D5CBFBC07289}"/>
              </a:ext>
              <a:ext uri="{C183D7F6-B498-43B3-948B-1728B52AA6E4}">
                <adec:decorative xmlns:adec="http://schemas.microsoft.com/office/drawing/2017/decorative" val="1"/>
              </a:ext>
            </a:extLst>
          </p:cNvPr>
          <p:cNvGrpSpPr/>
          <p:nvPr/>
        </p:nvGrpSpPr>
        <p:grpSpPr>
          <a:xfrm>
            <a:off x="7698954" y="2447241"/>
            <a:ext cx="429790" cy="429790"/>
            <a:chOff x="36782287" y="9539321"/>
            <a:chExt cx="1796350" cy="1796350"/>
          </a:xfrm>
        </p:grpSpPr>
        <p:sp>
          <p:nvSpPr>
            <p:cNvPr id="196" name="Box">
              <a:extLst>
                <a:ext uri="{FF2B5EF4-FFF2-40B4-BE49-F238E27FC236}">
                  <a16:creationId xmlns:a16="http://schemas.microsoft.com/office/drawing/2014/main" id="{7D23AA2D-C02F-F25B-429F-1A4ECFEE47A8}"/>
                </a:ext>
                <a:ext uri="{C183D7F6-B498-43B3-948B-1728B52AA6E4}">
                  <adec:decorative xmlns:adec="http://schemas.microsoft.com/office/drawing/2017/decorative" val="1"/>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B43FC5"/>
                </a:gs>
                <a:gs pos="80000">
                  <a:srgbClr val="0078D4"/>
                </a:gs>
              </a:gsLst>
              <a:path path="circle">
                <a:fillToRect l="100000" t="100000"/>
              </a:path>
              <a:tileRect r="-100000" b="-100000"/>
            </a:gradFill>
            <a:ln w="19050" cap="flat" cmpd="sng" algn="ctr">
              <a:noFill/>
              <a:prstDash val="solid"/>
              <a:headEnd type="none" w="med" len="med"/>
              <a:tailEnd type="none" w="med" len="med"/>
            </a:ln>
            <a:effectLst/>
          </p:spPr>
          <p:txBody>
            <a:bodyPr rot="0" spcFirstLastPara="0" vertOverflow="overflow" horzOverflow="overflow" vert="horz" wrap="square" lIns="261190" tIns="208950" rIns="261190" bIns="208950" numCol="1" spcCol="0" rtlCol="0" fromWordArt="0" anchor="t" anchorCtr="0" forceAA="0" compatLnSpc="1">
              <a:prstTxWarp prst="textNoShape">
                <a:avLst/>
              </a:prstTxWarp>
              <a:noAutofit/>
            </a:bodyPr>
            <a:lstStyle/>
            <a:p>
              <a:pPr marL="0" marR="0" lvl="0" indent="0" algn="l" defTabSz="1330972" rtl="0" eaLnBrk="1" fontAlgn="base" latinLnBrk="0" hangingPunct="1">
                <a:lnSpc>
                  <a:spcPct val="100000"/>
                </a:lnSpc>
                <a:spcBef>
                  <a:spcPct val="0"/>
                </a:spcBef>
                <a:spcAft>
                  <a:spcPct val="0"/>
                </a:spcAft>
                <a:buClrTx/>
                <a:buSzTx/>
                <a:buFontTx/>
                <a:buNone/>
                <a:tabLst/>
                <a:defRPr/>
              </a:pPr>
              <a:endParaRPr kumimoji="0" lang="en-US" sz="2799"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97" name="Graphic 82">
              <a:extLst>
                <a:ext uri="{FF2B5EF4-FFF2-40B4-BE49-F238E27FC236}">
                  <a16:creationId xmlns:a16="http://schemas.microsoft.com/office/drawing/2014/main" id="{63127BB5-7F5D-AE19-E9FE-9A621DF61EEF}"/>
                </a:ext>
                <a:ext uri="{C183D7F6-B498-43B3-948B-1728B52AA6E4}">
                  <adec:decorative xmlns:adec="http://schemas.microsoft.com/office/drawing/2017/decorative" val="1"/>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130595" tIns="65302" rIns="130595" bIns="65302" numCol="1" spcCol="0" rtlCol="0" fromWordArt="0" anchor="ctr" anchorCtr="0" forceAA="0" compatLnSpc="1">
              <a:prstTxWarp prst="textNoShape">
                <a:avLst/>
              </a:prstTxWarp>
              <a:noAutofit/>
            </a:bodyPr>
            <a:lstStyle/>
            <a:p>
              <a:pPr marL="0" marR="0" lvl="0" indent="0" algn="l" defTabSz="1024543" rtl="0" eaLnBrk="1" fontAlgn="auto" latinLnBrk="0" hangingPunct="1">
                <a:lnSpc>
                  <a:spcPct val="100000"/>
                </a:lnSpc>
                <a:spcBef>
                  <a:spcPts val="0"/>
                </a:spcBef>
                <a:spcAft>
                  <a:spcPts val="0"/>
                </a:spcAft>
                <a:buClrTx/>
                <a:buSzTx/>
                <a:buFontTx/>
                <a:buNone/>
                <a:tabLst/>
                <a:defRPr/>
              </a:pPr>
              <a:endParaRPr kumimoji="0" lang="en-US" sz="3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198" name="Group 197">
            <a:extLst>
              <a:ext uri="{FF2B5EF4-FFF2-40B4-BE49-F238E27FC236}">
                <a16:creationId xmlns:a16="http://schemas.microsoft.com/office/drawing/2014/main" id="{F00F0A82-EC28-CF50-D7E6-1F3946E9EF04}"/>
              </a:ext>
              <a:ext uri="{C183D7F6-B498-43B3-948B-1728B52AA6E4}">
                <adec:decorative xmlns:adec="http://schemas.microsoft.com/office/drawing/2017/decorative" val="1"/>
              </a:ext>
            </a:extLst>
          </p:cNvPr>
          <p:cNvGrpSpPr/>
          <p:nvPr/>
        </p:nvGrpSpPr>
        <p:grpSpPr>
          <a:xfrm>
            <a:off x="9486987" y="2577025"/>
            <a:ext cx="429790" cy="429790"/>
            <a:chOff x="36782287" y="9539321"/>
            <a:chExt cx="1796350" cy="1796350"/>
          </a:xfrm>
        </p:grpSpPr>
        <p:sp>
          <p:nvSpPr>
            <p:cNvPr id="199" name="Box">
              <a:extLst>
                <a:ext uri="{FF2B5EF4-FFF2-40B4-BE49-F238E27FC236}">
                  <a16:creationId xmlns:a16="http://schemas.microsoft.com/office/drawing/2014/main" id="{6C5C5ED3-0D21-2C34-9F7C-788CDD2437EF}"/>
                </a:ext>
                <a:ext uri="{C183D7F6-B498-43B3-948B-1728B52AA6E4}">
                  <adec:decorative xmlns:adec="http://schemas.microsoft.com/office/drawing/2017/decorative" val="1"/>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B43FC5"/>
                </a:gs>
                <a:gs pos="80000">
                  <a:srgbClr val="0078D4"/>
                </a:gs>
              </a:gsLst>
              <a:path path="circle">
                <a:fillToRect l="100000" t="100000"/>
              </a:path>
              <a:tileRect r="-100000" b="-100000"/>
            </a:gradFill>
            <a:ln w="19050" cap="flat" cmpd="sng" algn="ctr">
              <a:noFill/>
              <a:prstDash val="solid"/>
              <a:headEnd type="none" w="med" len="med"/>
              <a:tailEnd type="none" w="med" len="med"/>
            </a:ln>
            <a:effectLst/>
          </p:spPr>
          <p:txBody>
            <a:bodyPr rot="0" spcFirstLastPara="0" vertOverflow="overflow" horzOverflow="overflow" vert="horz" wrap="square" lIns="261190" tIns="208950" rIns="261190" bIns="208950" numCol="1" spcCol="0" rtlCol="0" fromWordArt="0" anchor="t" anchorCtr="0" forceAA="0" compatLnSpc="1">
              <a:prstTxWarp prst="textNoShape">
                <a:avLst/>
              </a:prstTxWarp>
              <a:noAutofit/>
            </a:bodyPr>
            <a:lstStyle/>
            <a:p>
              <a:pPr marL="0" marR="0" lvl="0" indent="0" algn="l" defTabSz="1330972" rtl="0" eaLnBrk="1" fontAlgn="base" latinLnBrk="0" hangingPunct="1">
                <a:lnSpc>
                  <a:spcPct val="100000"/>
                </a:lnSpc>
                <a:spcBef>
                  <a:spcPct val="0"/>
                </a:spcBef>
                <a:spcAft>
                  <a:spcPct val="0"/>
                </a:spcAft>
                <a:buClrTx/>
                <a:buSzTx/>
                <a:buFontTx/>
                <a:buNone/>
                <a:tabLst/>
                <a:defRPr/>
              </a:pPr>
              <a:endParaRPr kumimoji="0" lang="en-US" sz="2799"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00" name="Graphic 82">
              <a:extLst>
                <a:ext uri="{FF2B5EF4-FFF2-40B4-BE49-F238E27FC236}">
                  <a16:creationId xmlns:a16="http://schemas.microsoft.com/office/drawing/2014/main" id="{1AD97D3D-7F59-B463-6407-E205C4556C0F}"/>
                </a:ext>
                <a:ext uri="{C183D7F6-B498-43B3-948B-1728B52AA6E4}">
                  <adec:decorative xmlns:adec="http://schemas.microsoft.com/office/drawing/2017/decorative" val="1"/>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130595" tIns="65302" rIns="130595" bIns="65302" numCol="1" spcCol="0" rtlCol="0" fromWordArt="0" anchor="ctr" anchorCtr="0" forceAA="0" compatLnSpc="1">
              <a:prstTxWarp prst="textNoShape">
                <a:avLst/>
              </a:prstTxWarp>
              <a:noAutofit/>
            </a:bodyPr>
            <a:lstStyle/>
            <a:p>
              <a:pPr marL="0" marR="0" lvl="0" indent="0" algn="l" defTabSz="1024543" rtl="0" eaLnBrk="1" fontAlgn="auto" latinLnBrk="0" hangingPunct="1">
                <a:lnSpc>
                  <a:spcPct val="100000"/>
                </a:lnSpc>
                <a:spcBef>
                  <a:spcPts val="0"/>
                </a:spcBef>
                <a:spcAft>
                  <a:spcPts val="0"/>
                </a:spcAft>
                <a:buClrTx/>
                <a:buSzTx/>
                <a:buFontTx/>
                <a:buNone/>
                <a:tabLst/>
                <a:defRPr/>
              </a:pPr>
              <a:endParaRPr kumimoji="0" lang="en-US" sz="3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01" name="Group 200">
            <a:extLst>
              <a:ext uri="{FF2B5EF4-FFF2-40B4-BE49-F238E27FC236}">
                <a16:creationId xmlns:a16="http://schemas.microsoft.com/office/drawing/2014/main" id="{B99AAD27-05EA-4878-0411-C91058083A73}"/>
              </a:ext>
              <a:ext uri="{C183D7F6-B498-43B3-948B-1728B52AA6E4}">
                <adec:decorative xmlns:adec="http://schemas.microsoft.com/office/drawing/2017/decorative" val="1"/>
              </a:ext>
            </a:extLst>
          </p:cNvPr>
          <p:cNvGrpSpPr/>
          <p:nvPr/>
        </p:nvGrpSpPr>
        <p:grpSpPr>
          <a:xfrm>
            <a:off x="8634941" y="3158650"/>
            <a:ext cx="258498" cy="258498"/>
            <a:chOff x="36782287" y="9539321"/>
            <a:chExt cx="1796350" cy="1796350"/>
          </a:xfrm>
        </p:grpSpPr>
        <p:sp>
          <p:nvSpPr>
            <p:cNvPr id="202" name="Box">
              <a:extLst>
                <a:ext uri="{FF2B5EF4-FFF2-40B4-BE49-F238E27FC236}">
                  <a16:creationId xmlns:a16="http://schemas.microsoft.com/office/drawing/2014/main" id="{4E051C30-760F-B635-EB5A-0B7971E20625}"/>
                </a:ext>
                <a:ext uri="{C183D7F6-B498-43B3-948B-1728B52AA6E4}">
                  <adec:decorative xmlns:adec="http://schemas.microsoft.com/office/drawing/2017/decorative" val="1"/>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B43FC5"/>
                </a:gs>
                <a:gs pos="80000">
                  <a:srgbClr val="0078D4"/>
                </a:gs>
              </a:gsLst>
              <a:path path="circle">
                <a:fillToRect l="100000" t="100000"/>
              </a:path>
              <a:tileRect r="-100000" b="-100000"/>
            </a:gradFill>
            <a:ln w="19050" cap="flat" cmpd="sng" algn="ctr">
              <a:noFill/>
              <a:prstDash val="solid"/>
              <a:headEnd type="none" w="med" len="med"/>
              <a:tailEnd type="none" w="med" len="med"/>
            </a:ln>
            <a:effectLst/>
          </p:spPr>
          <p:txBody>
            <a:bodyPr rot="0" spcFirstLastPara="0" vertOverflow="overflow" horzOverflow="overflow" vert="horz" wrap="square" lIns="261190" tIns="208950" rIns="261190" bIns="208950" numCol="1" spcCol="0" rtlCol="0" fromWordArt="0" anchor="t" anchorCtr="0" forceAA="0" compatLnSpc="1">
              <a:prstTxWarp prst="textNoShape">
                <a:avLst/>
              </a:prstTxWarp>
              <a:noAutofit/>
            </a:bodyPr>
            <a:lstStyle/>
            <a:p>
              <a:pPr marL="0" marR="0" lvl="0" indent="0" algn="l" defTabSz="1330972" rtl="0" eaLnBrk="1" fontAlgn="base" latinLnBrk="0" hangingPunct="1">
                <a:lnSpc>
                  <a:spcPct val="100000"/>
                </a:lnSpc>
                <a:spcBef>
                  <a:spcPct val="0"/>
                </a:spcBef>
                <a:spcAft>
                  <a:spcPct val="0"/>
                </a:spcAft>
                <a:buClrTx/>
                <a:buSzTx/>
                <a:buFontTx/>
                <a:buNone/>
                <a:tabLst/>
                <a:defRPr/>
              </a:pPr>
              <a:endParaRPr kumimoji="0" lang="en-US" sz="2799"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03" name="Graphic 82">
              <a:extLst>
                <a:ext uri="{FF2B5EF4-FFF2-40B4-BE49-F238E27FC236}">
                  <a16:creationId xmlns:a16="http://schemas.microsoft.com/office/drawing/2014/main" id="{8EC09126-5231-6C29-1B67-1450B297F175}"/>
                </a:ext>
                <a:ext uri="{C183D7F6-B498-43B3-948B-1728B52AA6E4}">
                  <adec:decorative xmlns:adec="http://schemas.microsoft.com/office/drawing/2017/decorative" val="1"/>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130595" tIns="65302" rIns="130595" bIns="65302" numCol="1" spcCol="0" rtlCol="0" fromWordArt="0" anchor="ctr" anchorCtr="0" forceAA="0" compatLnSpc="1">
              <a:prstTxWarp prst="textNoShape">
                <a:avLst/>
              </a:prstTxWarp>
              <a:noAutofit/>
            </a:bodyPr>
            <a:lstStyle/>
            <a:p>
              <a:pPr marL="0" marR="0" lvl="0" indent="0" algn="l" defTabSz="1024543" rtl="0" eaLnBrk="1" fontAlgn="auto" latinLnBrk="0" hangingPunct="1">
                <a:lnSpc>
                  <a:spcPct val="100000"/>
                </a:lnSpc>
                <a:spcBef>
                  <a:spcPts val="0"/>
                </a:spcBef>
                <a:spcAft>
                  <a:spcPts val="0"/>
                </a:spcAft>
                <a:buClrTx/>
                <a:buSzTx/>
                <a:buFontTx/>
                <a:buNone/>
                <a:tabLst/>
                <a:defRPr/>
              </a:pPr>
              <a:endParaRPr kumimoji="0" lang="en-US" sz="3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04" name="Group 203" descr="An infographic depicting a network featuring organizational chart icons.">
            <a:extLst>
              <a:ext uri="{FF2B5EF4-FFF2-40B4-BE49-F238E27FC236}">
                <a16:creationId xmlns:a16="http://schemas.microsoft.com/office/drawing/2014/main" id="{567F0979-9D11-2DF1-A46D-27B3807B1A62}"/>
              </a:ext>
              <a:ext uri="{C183D7F6-B498-43B3-948B-1728B52AA6E4}">
                <adec:decorative xmlns:adec="http://schemas.microsoft.com/office/drawing/2017/decorative" val="0"/>
              </a:ext>
            </a:extLst>
          </p:cNvPr>
          <p:cNvGrpSpPr/>
          <p:nvPr/>
        </p:nvGrpSpPr>
        <p:grpSpPr>
          <a:xfrm>
            <a:off x="7533996" y="3711073"/>
            <a:ext cx="611830" cy="611830"/>
            <a:chOff x="36782287" y="9539321"/>
            <a:chExt cx="1796350" cy="1796350"/>
          </a:xfrm>
        </p:grpSpPr>
        <p:sp>
          <p:nvSpPr>
            <p:cNvPr id="205" name="Box">
              <a:extLst>
                <a:ext uri="{FF2B5EF4-FFF2-40B4-BE49-F238E27FC236}">
                  <a16:creationId xmlns:a16="http://schemas.microsoft.com/office/drawing/2014/main" id="{861C238F-39C6-A6D2-59CD-553FFFF098B9}"/>
                </a:ext>
                <a:ext uri="{C183D7F6-B498-43B3-948B-1728B52AA6E4}">
                  <adec:decorative xmlns:adec="http://schemas.microsoft.com/office/drawing/2017/decorative" val="1"/>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B43FC5"/>
                </a:gs>
                <a:gs pos="80000">
                  <a:srgbClr val="0078D4"/>
                </a:gs>
              </a:gsLst>
              <a:path path="circle">
                <a:fillToRect l="100000" t="100000"/>
              </a:path>
              <a:tileRect r="-100000" b="-100000"/>
            </a:gradFill>
            <a:ln w="19050" cap="flat" cmpd="sng" algn="ctr">
              <a:noFill/>
              <a:prstDash val="solid"/>
              <a:headEnd type="none" w="med" len="med"/>
              <a:tailEnd type="none" w="med" len="med"/>
            </a:ln>
            <a:effectLst/>
          </p:spPr>
          <p:txBody>
            <a:bodyPr rot="0" spcFirstLastPara="0" vertOverflow="overflow" horzOverflow="overflow" vert="horz" wrap="square" lIns="261190" tIns="208950" rIns="261190" bIns="208950" numCol="1" spcCol="0" rtlCol="0" fromWordArt="0" anchor="t" anchorCtr="0" forceAA="0" compatLnSpc="1">
              <a:prstTxWarp prst="textNoShape">
                <a:avLst/>
              </a:prstTxWarp>
              <a:noAutofit/>
            </a:bodyPr>
            <a:lstStyle/>
            <a:p>
              <a:pPr marL="0" marR="0" lvl="0" indent="0" algn="l" defTabSz="1330972" rtl="0" eaLnBrk="1" fontAlgn="base" latinLnBrk="0" hangingPunct="1">
                <a:lnSpc>
                  <a:spcPct val="100000"/>
                </a:lnSpc>
                <a:spcBef>
                  <a:spcPct val="0"/>
                </a:spcBef>
                <a:spcAft>
                  <a:spcPct val="0"/>
                </a:spcAft>
                <a:buClrTx/>
                <a:buSzTx/>
                <a:buFontTx/>
                <a:buNone/>
                <a:tabLst/>
                <a:defRPr/>
              </a:pPr>
              <a:endParaRPr kumimoji="0" lang="en-US" sz="2799"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06" name="Graphic 82">
              <a:extLst>
                <a:ext uri="{FF2B5EF4-FFF2-40B4-BE49-F238E27FC236}">
                  <a16:creationId xmlns:a16="http://schemas.microsoft.com/office/drawing/2014/main" id="{AE1EC4BD-FAC9-6F86-4CC0-B64F74E4166C}"/>
                </a:ext>
                <a:ext uri="{C183D7F6-B498-43B3-948B-1728B52AA6E4}">
                  <adec:decorative xmlns:adec="http://schemas.microsoft.com/office/drawing/2017/decorative" val="1"/>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130595" tIns="65302" rIns="130595" bIns="65302" numCol="1" spcCol="0" rtlCol="0" fromWordArt="0" anchor="ctr" anchorCtr="0" forceAA="0" compatLnSpc="1">
              <a:prstTxWarp prst="textNoShape">
                <a:avLst/>
              </a:prstTxWarp>
              <a:noAutofit/>
            </a:bodyPr>
            <a:lstStyle/>
            <a:p>
              <a:pPr marL="0" marR="0" lvl="0" indent="0" algn="l" defTabSz="1024543" rtl="0" eaLnBrk="1" fontAlgn="auto" latinLnBrk="0" hangingPunct="1">
                <a:lnSpc>
                  <a:spcPct val="100000"/>
                </a:lnSpc>
                <a:spcBef>
                  <a:spcPts val="0"/>
                </a:spcBef>
                <a:spcAft>
                  <a:spcPts val="0"/>
                </a:spcAft>
                <a:buClrTx/>
                <a:buSzTx/>
                <a:buFontTx/>
                <a:buNone/>
                <a:tabLst/>
                <a:defRPr/>
              </a:pPr>
              <a:endParaRPr kumimoji="0" lang="en-US" sz="3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07" name="Group 206">
            <a:extLst>
              <a:ext uri="{FF2B5EF4-FFF2-40B4-BE49-F238E27FC236}">
                <a16:creationId xmlns:a16="http://schemas.microsoft.com/office/drawing/2014/main" id="{57329C39-6764-2EC0-8F14-215D2897F856}"/>
              </a:ext>
              <a:ext uri="{C183D7F6-B498-43B3-948B-1728B52AA6E4}">
                <adec:decorative xmlns:adec="http://schemas.microsoft.com/office/drawing/2017/decorative" val="1"/>
              </a:ext>
            </a:extLst>
          </p:cNvPr>
          <p:cNvGrpSpPr/>
          <p:nvPr/>
        </p:nvGrpSpPr>
        <p:grpSpPr>
          <a:xfrm>
            <a:off x="10282518" y="3527713"/>
            <a:ext cx="611830" cy="611830"/>
            <a:chOff x="36782287" y="9539321"/>
            <a:chExt cx="1796350" cy="1796350"/>
          </a:xfrm>
        </p:grpSpPr>
        <p:sp>
          <p:nvSpPr>
            <p:cNvPr id="208" name="Box">
              <a:extLst>
                <a:ext uri="{FF2B5EF4-FFF2-40B4-BE49-F238E27FC236}">
                  <a16:creationId xmlns:a16="http://schemas.microsoft.com/office/drawing/2014/main" id="{8D9DBFEA-778A-2D44-C23E-4A3B6F62BB17}"/>
                </a:ext>
                <a:ext uri="{C183D7F6-B498-43B3-948B-1728B52AA6E4}">
                  <adec:decorative xmlns:adec="http://schemas.microsoft.com/office/drawing/2017/decorative" val="1"/>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B43FC5"/>
                </a:gs>
                <a:gs pos="80000">
                  <a:srgbClr val="0078D4"/>
                </a:gs>
              </a:gsLst>
              <a:path path="circle">
                <a:fillToRect l="100000" t="100000"/>
              </a:path>
              <a:tileRect r="-100000" b="-100000"/>
            </a:gradFill>
            <a:ln w="19050" cap="flat" cmpd="sng" algn="ctr">
              <a:noFill/>
              <a:prstDash val="solid"/>
              <a:headEnd type="none" w="med" len="med"/>
              <a:tailEnd type="none" w="med" len="med"/>
            </a:ln>
            <a:effectLst/>
          </p:spPr>
          <p:txBody>
            <a:bodyPr rot="0" spcFirstLastPara="0" vertOverflow="overflow" horzOverflow="overflow" vert="horz" wrap="square" lIns="261190" tIns="208950" rIns="261190" bIns="208950" numCol="1" spcCol="0" rtlCol="0" fromWordArt="0" anchor="t" anchorCtr="0" forceAA="0" compatLnSpc="1">
              <a:prstTxWarp prst="textNoShape">
                <a:avLst/>
              </a:prstTxWarp>
              <a:noAutofit/>
            </a:bodyPr>
            <a:lstStyle/>
            <a:p>
              <a:pPr marL="0" marR="0" lvl="0" indent="0" algn="l" defTabSz="1330972" rtl="0" eaLnBrk="1" fontAlgn="base" latinLnBrk="0" hangingPunct="1">
                <a:lnSpc>
                  <a:spcPct val="100000"/>
                </a:lnSpc>
                <a:spcBef>
                  <a:spcPct val="0"/>
                </a:spcBef>
                <a:spcAft>
                  <a:spcPct val="0"/>
                </a:spcAft>
                <a:buClrTx/>
                <a:buSzTx/>
                <a:buFontTx/>
                <a:buNone/>
                <a:tabLst/>
                <a:defRPr/>
              </a:pPr>
              <a:endParaRPr kumimoji="0" lang="en-US" sz="2799"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09" name="Graphic 82">
              <a:extLst>
                <a:ext uri="{FF2B5EF4-FFF2-40B4-BE49-F238E27FC236}">
                  <a16:creationId xmlns:a16="http://schemas.microsoft.com/office/drawing/2014/main" id="{2D683CFE-C31C-8D54-109A-7C52DF1DEF52}"/>
                </a:ext>
                <a:ext uri="{C183D7F6-B498-43B3-948B-1728B52AA6E4}">
                  <adec:decorative xmlns:adec="http://schemas.microsoft.com/office/drawing/2017/decorative" val="1"/>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130595" tIns="65302" rIns="130595" bIns="65302" numCol="1" spcCol="0" rtlCol="0" fromWordArt="0" anchor="ctr" anchorCtr="0" forceAA="0" compatLnSpc="1">
              <a:prstTxWarp prst="textNoShape">
                <a:avLst/>
              </a:prstTxWarp>
              <a:noAutofit/>
            </a:bodyPr>
            <a:lstStyle/>
            <a:p>
              <a:pPr marL="0" marR="0" lvl="0" indent="0" algn="l" defTabSz="1024543" rtl="0" eaLnBrk="1" fontAlgn="auto" latinLnBrk="0" hangingPunct="1">
                <a:lnSpc>
                  <a:spcPct val="100000"/>
                </a:lnSpc>
                <a:spcBef>
                  <a:spcPts val="0"/>
                </a:spcBef>
                <a:spcAft>
                  <a:spcPts val="0"/>
                </a:spcAft>
                <a:buClrTx/>
                <a:buSzTx/>
                <a:buFontTx/>
                <a:buNone/>
                <a:tabLst/>
                <a:defRPr/>
              </a:pPr>
              <a:endParaRPr kumimoji="0" lang="en-US" sz="3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10" name="Group 209">
            <a:extLst>
              <a:ext uri="{FF2B5EF4-FFF2-40B4-BE49-F238E27FC236}">
                <a16:creationId xmlns:a16="http://schemas.microsoft.com/office/drawing/2014/main" id="{6BACF9B8-5375-D1DA-82A0-E7350C085CF5}"/>
              </a:ext>
              <a:ext uri="{C183D7F6-B498-43B3-948B-1728B52AA6E4}">
                <adec:decorative xmlns:adec="http://schemas.microsoft.com/office/drawing/2017/decorative" val="1"/>
              </a:ext>
            </a:extLst>
          </p:cNvPr>
          <p:cNvGrpSpPr/>
          <p:nvPr/>
        </p:nvGrpSpPr>
        <p:grpSpPr>
          <a:xfrm>
            <a:off x="9341564" y="4043852"/>
            <a:ext cx="258498" cy="258498"/>
            <a:chOff x="36782287" y="9539321"/>
            <a:chExt cx="1796350" cy="1796350"/>
          </a:xfrm>
        </p:grpSpPr>
        <p:sp>
          <p:nvSpPr>
            <p:cNvPr id="211" name="Box">
              <a:extLst>
                <a:ext uri="{FF2B5EF4-FFF2-40B4-BE49-F238E27FC236}">
                  <a16:creationId xmlns:a16="http://schemas.microsoft.com/office/drawing/2014/main" id="{19B30438-EEE4-7AB5-88C6-16410771DA36}"/>
                </a:ext>
                <a:ext uri="{C183D7F6-B498-43B3-948B-1728B52AA6E4}">
                  <adec:decorative xmlns:adec="http://schemas.microsoft.com/office/drawing/2017/decorative" val="1"/>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B43FC5"/>
                </a:gs>
                <a:gs pos="80000">
                  <a:srgbClr val="0078D4"/>
                </a:gs>
              </a:gsLst>
              <a:path path="circle">
                <a:fillToRect l="100000" t="100000"/>
              </a:path>
              <a:tileRect r="-100000" b="-100000"/>
            </a:gradFill>
            <a:ln w="19050" cap="flat" cmpd="sng" algn="ctr">
              <a:noFill/>
              <a:prstDash val="solid"/>
              <a:headEnd type="none" w="med" len="med"/>
              <a:tailEnd type="none" w="med" len="med"/>
            </a:ln>
            <a:effectLst/>
          </p:spPr>
          <p:txBody>
            <a:bodyPr rot="0" spcFirstLastPara="0" vertOverflow="overflow" horzOverflow="overflow" vert="horz" wrap="square" lIns="261190" tIns="208950" rIns="261190" bIns="208950" numCol="1" spcCol="0" rtlCol="0" fromWordArt="0" anchor="t" anchorCtr="0" forceAA="0" compatLnSpc="1">
              <a:prstTxWarp prst="textNoShape">
                <a:avLst/>
              </a:prstTxWarp>
              <a:noAutofit/>
            </a:bodyPr>
            <a:lstStyle/>
            <a:p>
              <a:pPr marL="0" marR="0" lvl="0" indent="0" algn="l" defTabSz="1330972" rtl="0" eaLnBrk="1" fontAlgn="base" latinLnBrk="0" hangingPunct="1">
                <a:lnSpc>
                  <a:spcPct val="100000"/>
                </a:lnSpc>
                <a:spcBef>
                  <a:spcPct val="0"/>
                </a:spcBef>
                <a:spcAft>
                  <a:spcPct val="0"/>
                </a:spcAft>
                <a:buClrTx/>
                <a:buSzTx/>
                <a:buFontTx/>
                <a:buNone/>
                <a:tabLst/>
                <a:defRPr/>
              </a:pPr>
              <a:endParaRPr kumimoji="0" lang="en-US" sz="2799"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12" name="Graphic 82">
              <a:extLst>
                <a:ext uri="{FF2B5EF4-FFF2-40B4-BE49-F238E27FC236}">
                  <a16:creationId xmlns:a16="http://schemas.microsoft.com/office/drawing/2014/main" id="{C65CDD7E-CF0B-71B4-835C-51EC94E101BD}"/>
                </a:ext>
                <a:ext uri="{C183D7F6-B498-43B3-948B-1728B52AA6E4}">
                  <adec:decorative xmlns:adec="http://schemas.microsoft.com/office/drawing/2017/decorative" val="1"/>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130595" tIns="65302" rIns="130595" bIns="65302" numCol="1" spcCol="0" rtlCol="0" fromWordArt="0" anchor="ctr" anchorCtr="0" forceAA="0" compatLnSpc="1">
              <a:prstTxWarp prst="textNoShape">
                <a:avLst/>
              </a:prstTxWarp>
              <a:noAutofit/>
            </a:bodyPr>
            <a:lstStyle/>
            <a:p>
              <a:pPr marL="0" marR="0" lvl="0" indent="0" algn="l" defTabSz="1024543" rtl="0" eaLnBrk="1" fontAlgn="auto" latinLnBrk="0" hangingPunct="1">
                <a:lnSpc>
                  <a:spcPct val="100000"/>
                </a:lnSpc>
                <a:spcBef>
                  <a:spcPts val="0"/>
                </a:spcBef>
                <a:spcAft>
                  <a:spcPts val="0"/>
                </a:spcAft>
                <a:buClrTx/>
                <a:buSzTx/>
                <a:buFontTx/>
                <a:buNone/>
                <a:tabLst/>
                <a:defRPr/>
              </a:pPr>
              <a:endParaRPr kumimoji="0" lang="en-US" sz="3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13" name="Group 212">
            <a:extLst>
              <a:ext uri="{FF2B5EF4-FFF2-40B4-BE49-F238E27FC236}">
                <a16:creationId xmlns:a16="http://schemas.microsoft.com/office/drawing/2014/main" id="{2C234E68-64C3-20C7-367E-5F791BC4CE72}"/>
              </a:ext>
              <a:ext uri="{C183D7F6-B498-43B3-948B-1728B52AA6E4}">
                <adec:decorative xmlns:adec="http://schemas.microsoft.com/office/drawing/2017/decorative" val="1"/>
              </a:ext>
            </a:extLst>
          </p:cNvPr>
          <p:cNvGrpSpPr/>
          <p:nvPr/>
        </p:nvGrpSpPr>
        <p:grpSpPr>
          <a:xfrm>
            <a:off x="7575929" y="4957245"/>
            <a:ext cx="258498" cy="258498"/>
            <a:chOff x="36782287" y="9539321"/>
            <a:chExt cx="1796350" cy="1796350"/>
          </a:xfrm>
        </p:grpSpPr>
        <p:sp>
          <p:nvSpPr>
            <p:cNvPr id="214" name="Box">
              <a:extLst>
                <a:ext uri="{FF2B5EF4-FFF2-40B4-BE49-F238E27FC236}">
                  <a16:creationId xmlns:a16="http://schemas.microsoft.com/office/drawing/2014/main" id="{0AC7DF0F-C9E4-138A-AE67-B849EE5978D1}"/>
                </a:ext>
                <a:ext uri="{C183D7F6-B498-43B3-948B-1728B52AA6E4}">
                  <adec:decorative xmlns:adec="http://schemas.microsoft.com/office/drawing/2017/decorative" val="1"/>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B43FC5"/>
                </a:gs>
                <a:gs pos="80000">
                  <a:srgbClr val="0078D4"/>
                </a:gs>
              </a:gsLst>
              <a:path path="circle">
                <a:fillToRect l="100000" t="100000"/>
              </a:path>
              <a:tileRect r="-100000" b="-100000"/>
            </a:gradFill>
            <a:ln w="19050" cap="flat" cmpd="sng" algn="ctr">
              <a:noFill/>
              <a:prstDash val="solid"/>
              <a:headEnd type="none" w="med" len="med"/>
              <a:tailEnd type="none" w="med" len="med"/>
            </a:ln>
            <a:effectLst/>
          </p:spPr>
          <p:txBody>
            <a:bodyPr rot="0" spcFirstLastPara="0" vertOverflow="overflow" horzOverflow="overflow" vert="horz" wrap="square" lIns="261190" tIns="208950" rIns="261190" bIns="208950" numCol="1" spcCol="0" rtlCol="0" fromWordArt="0" anchor="t" anchorCtr="0" forceAA="0" compatLnSpc="1">
              <a:prstTxWarp prst="textNoShape">
                <a:avLst/>
              </a:prstTxWarp>
              <a:noAutofit/>
            </a:bodyPr>
            <a:lstStyle/>
            <a:p>
              <a:pPr marL="0" marR="0" lvl="0" indent="0" algn="l" defTabSz="1330972" rtl="0" eaLnBrk="1" fontAlgn="base" latinLnBrk="0" hangingPunct="1">
                <a:lnSpc>
                  <a:spcPct val="100000"/>
                </a:lnSpc>
                <a:spcBef>
                  <a:spcPct val="0"/>
                </a:spcBef>
                <a:spcAft>
                  <a:spcPct val="0"/>
                </a:spcAft>
                <a:buClrTx/>
                <a:buSzTx/>
                <a:buFontTx/>
                <a:buNone/>
                <a:tabLst/>
                <a:defRPr/>
              </a:pPr>
              <a:endParaRPr kumimoji="0" lang="en-US" sz="2799"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15" name="Graphic 82">
              <a:extLst>
                <a:ext uri="{FF2B5EF4-FFF2-40B4-BE49-F238E27FC236}">
                  <a16:creationId xmlns:a16="http://schemas.microsoft.com/office/drawing/2014/main" id="{7FD58D1F-09C3-159C-FCDC-53F528A60F3B}"/>
                </a:ext>
                <a:ext uri="{C183D7F6-B498-43B3-948B-1728B52AA6E4}">
                  <adec:decorative xmlns:adec="http://schemas.microsoft.com/office/drawing/2017/decorative" val="1"/>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130595" tIns="65302" rIns="130595" bIns="65302" numCol="1" spcCol="0" rtlCol="0" fromWordArt="0" anchor="ctr" anchorCtr="0" forceAA="0" compatLnSpc="1">
              <a:prstTxWarp prst="textNoShape">
                <a:avLst/>
              </a:prstTxWarp>
              <a:noAutofit/>
            </a:bodyPr>
            <a:lstStyle/>
            <a:p>
              <a:pPr marL="0" marR="0" lvl="0" indent="0" algn="l" defTabSz="1024543" rtl="0" eaLnBrk="1" fontAlgn="auto" latinLnBrk="0" hangingPunct="1">
                <a:lnSpc>
                  <a:spcPct val="100000"/>
                </a:lnSpc>
                <a:spcBef>
                  <a:spcPts val="0"/>
                </a:spcBef>
                <a:spcAft>
                  <a:spcPts val="0"/>
                </a:spcAft>
                <a:buClrTx/>
                <a:buSzTx/>
                <a:buFontTx/>
                <a:buNone/>
                <a:tabLst/>
                <a:defRPr/>
              </a:pPr>
              <a:endParaRPr kumimoji="0" lang="en-US" sz="3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16" name="Group 215">
            <a:extLst>
              <a:ext uri="{FF2B5EF4-FFF2-40B4-BE49-F238E27FC236}">
                <a16:creationId xmlns:a16="http://schemas.microsoft.com/office/drawing/2014/main" id="{EA789CBA-380E-3210-4B47-1BB686832F79}"/>
              </a:ext>
              <a:ext uri="{C183D7F6-B498-43B3-948B-1728B52AA6E4}">
                <adec:decorative xmlns:adec="http://schemas.microsoft.com/office/drawing/2017/decorative" val="1"/>
              </a:ext>
            </a:extLst>
          </p:cNvPr>
          <p:cNvGrpSpPr/>
          <p:nvPr/>
        </p:nvGrpSpPr>
        <p:grpSpPr>
          <a:xfrm>
            <a:off x="8613184" y="4881985"/>
            <a:ext cx="429790" cy="429790"/>
            <a:chOff x="36782287" y="9539321"/>
            <a:chExt cx="1796350" cy="1796350"/>
          </a:xfrm>
        </p:grpSpPr>
        <p:sp>
          <p:nvSpPr>
            <p:cNvPr id="217" name="Box">
              <a:extLst>
                <a:ext uri="{FF2B5EF4-FFF2-40B4-BE49-F238E27FC236}">
                  <a16:creationId xmlns:a16="http://schemas.microsoft.com/office/drawing/2014/main" id="{A0B097D0-9E0E-A8D8-0BDF-8AC5F16D65DC}"/>
                </a:ext>
                <a:ext uri="{C183D7F6-B498-43B3-948B-1728B52AA6E4}">
                  <adec:decorative xmlns:adec="http://schemas.microsoft.com/office/drawing/2017/decorative" val="1"/>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B43FC5"/>
                </a:gs>
                <a:gs pos="80000">
                  <a:srgbClr val="0078D4"/>
                </a:gs>
              </a:gsLst>
              <a:path path="circle">
                <a:fillToRect l="100000" t="100000"/>
              </a:path>
              <a:tileRect r="-100000" b="-100000"/>
            </a:gradFill>
            <a:ln w="19050" cap="flat" cmpd="sng" algn="ctr">
              <a:noFill/>
              <a:prstDash val="solid"/>
              <a:headEnd type="none" w="med" len="med"/>
              <a:tailEnd type="none" w="med" len="med"/>
            </a:ln>
            <a:effectLst/>
          </p:spPr>
          <p:txBody>
            <a:bodyPr rot="0" spcFirstLastPara="0" vertOverflow="overflow" horzOverflow="overflow" vert="horz" wrap="square" lIns="261190" tIns="208950" rIns="261190" bIns="208950" numCol="1" spcCol="0" rtlCol="0" fromWordArt="0" anchor="t" anchorCtr="0" forceAA="0" compatLnSpc="1">
              <a:prstTxWarp prst="textNoShape">
                <a:avLst/>
              </a:prstTxWarp>
              <a:noAutofit/>
            </a:bodyPr>
            <a:lstStyle/>
            <a:p>
              <a:pPr marL="0" marR="0" lvl="0" indent="0" algn="l" defTabSz="1330972" rtl="0" eaLnBrk="1" fontAlgn="base" latinLnBrk="0" hangingPunct="1">
                <a:lnSpc>
                  <a:spcPct val="100000"/>
                </a:lnSpc>
                <a:spcBef>
                  <a:spcPct val="0"/>
                </a:spcBef>
                <a:spcAft>
                  <a:spcPct val="0"/>
                </a:spcAft>
                <a:buClrTx/>
                <a:buSzTx/>
                <a:buFontTx/>
                <a:buNone/>
                <a:tabLst/>
                <a:defRPr/>
              </a:pPr>
              <a:endParaRPr kumimoji="0" lang="en-US" sz="2799"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18" name="Graphic 82">
              <a:extLst>
                <a:ext uri="{FF2B5EF4-FFF2-40B4-BE49-F238E27FC236}">
                  <a16:creationId xmlns:a16="http://schemas.microsoft.com/office/drawing/2014/main" id="{BB1DDEC2-362F-1451-3E74-016EB8B3118A}"/>
                </a:ext>
                <a:ext uri="{C183D7F6-B498-43B3-948B-1728B52AA6E4}">
                  <adec:decorative xmlns:adec="http://schemas.microsoft.com/office/drawing/2017/decorative" val="1"/>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130595" tIns="65302" rIns="130595" bIns="65302" numCol="1" spcCol="0" rtlCol="0" fromWordArt="0" anchor="ctr" anchorCtr="0" forceAA="0" compatLnSpc="1">
              <a:prstTxWarp prst="textNoShape">
                <a:avLst/>
              </a:prstTxWarp>
              <a:noAutofit/>
            </a:bodyPr>
            <a:lstStyle/>
            <a:p>
              <a:pPr marL="0" marR="0" lvl="0" indent="0" algn="l" defTabSz="1024543" rtl="0" eaLnBrk="1" fontAlgn="auto" latinLnBrk="0" hangingPunct="1">
                <a:lnSpc>
                  <a:spcPct val="100000"/>
                </a:lnSpc>
                <a:spcBef>
                  <a:spcPts val="0"/>
                </a:spcBef>
                <a:spcAft>
                  <a:spcPts val="0"/>
                </a:spcAft>
                <a:buClrTx/>
                <a:buSzTx/>
                <a:buFontTx/>
                <a:buNone/>
                <a:tabLst/>
                <a:defRPr/>
              </a:pPr>
              <a:endParaRPr kumimoji="0" lang="en-US" sz="3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19" name="Group 218">
            <a:extLst>
              <a:ext uri="{FF2B5EF4-FFF2-40B4-BE49-F238E27FC236}">
                <a16:creationId xmlns:a16="http://schemas.microsoft.com/office/drawing/2014/main" id="{B66E083F-92D1-8597-694B-24925B0C12F7}"/>
              </a:ext>
              <a:ext uri="{C183D7F6-B498-43B3-948B-1728B52AA6E4}">
                <adec:decorative xmlns:adec="http://schemas.microsoft.com/office/drawing/2017/decorative" val="1"/>
              </a:ext>
            </a:extLst>
          </p:cNvPr>
          <p:cNvGrpSpPr/>
          <p:nvPr/>
        </p:nvGrpSpPr>
        <p:grpSpPr>
          <a:xfrm>
            <a:off x="9862398" y="4830383"/>
            <a:ext cx="258498" cy="258498"/>
            <a:chOff x="36782287" y="9539321"/>
            <a:chExt cx="1796350" cy="1796350"/>
          </a:xfrm>
        </p:grpSpPr>
        <p:sp>
          <p:nvSpPr>
            <p:cNvPr id="220" name="Box">
              <a:extLst>
                <a:ext uri="{FF2B5EF4-FFF2-40B4-BE49-F238E27FC236}">
                  <a16:creationId xmlns:a16="http://schemas.microsoft.com/office/drawing/2014/main" id="{002C8147-F034-2451-0C47-111C686843D8}"/>
                </a:ext>
                <a:ext uri="{C183D7F6-B498-43B3-948B-1728B52AA6E4}">
                  <adec:decorative xmlns:adec="http://schemas.microsoft.com/office/drawing/2017/decorative" val="1"/>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B43FC5"/>
                </a:gs>
                <a:gs pos="80000">
                  <a:srgbClr val="0078D4"/>
                </a:gs>
              </a:gsLst>
              <a:path path="circle">
                <a:fillToRect l="100000" t="100000"/>
              </a:path>
              <a:tileRect r="-100000" b="-100000"/>
            </a:gradFill>
            <a:ln w="19050" cap="flat" cmpd="sng" algn="ctr">
              <a:noFill/>
              <a:prstDash val="solid"/>
              <a:headEnd type="none" w="med" len="med"/>
              <a:tailEnd type="none" w="med" len="med"/>
            </a:ln>
            <a:effectLst/>
          </p:spPr>
          <p:txBody>
            <a:bodyPr rot="0" spcFirstLastPara="0" vertOverflow="overflow" horzOverflow="overflow" vert="horz" wrap="square" lIns="261190" tIns="208950" rIns="261190" bIns="208950" numCol="1" spcCol="0" rtlCol="0" fromWordArt="0" anchor="t" anchorCtr="0" forceAA="0" compatLnSpc="1">
              <a:prstTxWarp prst="textNoShape">
                <a:avLst/>
              </a:prstTxWarp>
              <a:noAutofit/>
            </a:bodyPr>
            <a:lstStyle/>
            <a:p>
              <a:pPr marL="0" marR="0" lvl="0" indent="0" algn="l" defTabSz="1330972" rtl="0" eaLnBrk="1" fontAlgn="base" latinLnBrk="0" hangingPunct="1">
                <a:lnSpc>
                  <a:spcPct val="100000"/>
                </a:lnSpc>
                <a:spcBef>
                  <a:spcPct val="0"/>
                </a:spcBef>
                <a:spcAft>
                  <a:spcPct val="0"/>
                </a:spcAft>
                <a:buClrTx/>
                <a:buSzTx/>
                <a:buFontTx/>
                <a:buNone/>
                <a:tabLst/>
                <a:defRPr/>
              </a:pPr>
              <a:endParaRPr kumimoji="0" lang="en-US" sz="2799"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21" name="Graphic 82">
              <a:extLst>
                <a:ext uri="{FF2B5EF4-FFF2-40B4-BE49-F238E27FC236}">
                  <a16:creationId xmlns:a16="http://schemas.microsoft.com/office/drawing/2014/main" id="{C6F8394F-9FEA-31E5-4D14-6B9BEB1A3E25}"/>
                </a:ext>
                <a:ext uri="{C183D7F6-B498-43B3-948B-1728B52AA6E4}">
                  <adec:decorative xmlns:adec="http://schemas.microsoft.com/office/drawing/2017/decorative" val="1"/>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130595" tIns="65302" rIns="130595" bIns="65302" numCol="1" spcCol="0" rtlCol="0" fromWordArt="0" anchor="ctr" anchorCtr="0" forceAA="0" compatLnSpc="1">
              <a:prstTxWarp prst="textNoShape">
                <a:avLst/>
              </a:prstTxWarp>
              <a:noAutofit/>
            </a:bodyPr>
            <a:lstStyle/>
            <a:p>
              <a:pPr marL="0" marR="0" lvl="0" indent="0" algn="l" defTabSz="1024543" rtl="0" eaLnBrk="1" fontAlgn="auto" latinLnBrk="0" hangingPunct="1">
                <a:lnSpc>
                  <a:spcPct val="100000"/>
                </a:lnSpc>
                <a:spcBef>
                  <a:spcPts val="0"/>
                </a:spcBef>
                <a:spcAft>
                  <a:spcPts val="0"/>
                </a:spcAft>
                <a:buClrTx/>
                <a:buSzTx/>
                <a:buFontTx/>
                <a:buNone/>
                <a:tabLst/>
                <a:defRPr/>
              </a:pPr>
              <a:endParaRPr kumimoji="0" lang="en-US" sz="3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spTree>
    <p:extLst>
      <p:ext uri="{BB962C8B-B14F-4D97-AF65-F5344CB8AC3E}">
        <p14:creationId xmlns:p14="http://schemas.microsoft.com/office/powerpoint/2010/main" val="2710415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200"/>
                                  </p:stCondLst>
                                  <p:childTnLst>
                                    <p:set>
                                      <p:cBhvr>
                                        <p:cTn id="6" dur="1" fill="hold">
                                          <p:stCondLst>
                                            <p:cond delay="0"/>
                                          </p:stCondLst>
                                        </p:cTn>
                                        <p:tgtEl>
                                          <p:spTgt spid="229"/>
                                        </p:tgtEl>
                                        <p:attrNameLst>
                                          <p:attrName>style.visibility</p:attrName>
                                        </p:attrNameLst>
                                      </p:cBhvr>
                                      <p:to>
                                        <p:strVal val="visible"/>
                                      </p:to>
                                    </p:set>
                                    <p:animEffect transition="in" filter="barn(outVertical)">
                                      <p:cBhvr>
                                        <p:cTn id="7" dur="500"/>
                                        <p:tgtEl>
                                          <p:spTgt spid="229"/>
                                        </p:tgtEl>
                                      </p:cBhvr>
                                    </p:animEffect>
                                  </p:childTnLst>
                                </p:cTn>
                              </p:par>
                              <p:par>
                                <p:cTn id="8" presetID="42" presetClass="path" presetSubtype="0" decel="100000" fill="hold" nodeType="withEffect">
                                  <p:stCondLst>
                                    <p:cond delay="200"/>
                                  </p:stCondLst>
                                  <p:childTnLst>
                                    <p:animMotion origin="layout" path="M -4.16667E-6 4.07407E-6 L -4.16667E-6 0.03541 " pathEditMode="relative" rAng="0" ptsTypes="AA">
                                      <p:cBhvr>
                                        <p:cTn id="9" dur="700" spd="-100000" fill="hold"/>
                                        <p:tgtEl>
                                          <p:spTgt spid="229"/>
                                        </p:tgtEl>
                                        <p:attrNameLst>
                                          <p:attrName>ppt_x</p:attrName>
                                          <p:attrName>ppt_y</p:attrName>
                                        </p:attrNameLst>
                                      </p:cBhvr>
                                      <p:rCtr x="0" y="1759"/>
                                    </p:animMotion>
                                  </p:childTnLst>
                                </p:cTn>
                              </p:par>
                              <p:par>
                                <p:cTn id="10" presetID="10" presetClass="entr" presetSubtype="0" fill="hold" grpId="0" nodeType="withEffect">
                                  <p:stCondLst>
                                    <p:cond delay="300"/>
                                  </p:stCondLst>
                                  <p:childTnLst>
                                    <p:set>
                                      <p:cBhvr>
                                        <p:cTn id="11" dur="1" fill="hold">
                                          <p:stCondLst>
                                            <p:cond delay="0"/>
                                          </p:stCondLst>
                                        </p:cTn>
                                        <p:tgtEl>
                                          <p:spTgt spid="225"/>
                                        </p:tgtEl>
                                        <p:attrNameLst>
                                          <p:attrName>style.visibility</p:attrName>
                                        </p:attrNameLst>
                                      </p:cBhvr>
                                      <p:to>
                                        <p:strVal val="visible"/>
                                      </p:to>
                                    </p:set>
                                    <p:animEffect transition="in" filter="fade">
                                      <p:cBhvr>
                                        <p:cTn id="12" dur="500"/>
                                        <p:tgtEl>
                                          <p:spTgt spid="225"/>
                                        </p:tgtEl>
                                      </p:cBhvr>
                                    </p:animEffect>
                                  </p:childTnLst>
                                </p:cTn>
                              </p:par>
                              <p:par>
                                <p:cTn id="13" presetID="42" presetClass="path" presetSubtype="0" decel="100000" fill="hold" grpId="1" nodeType="withEffect">
                                  <p:stCondLst>
                                    <p:cond delay="300"/>
                                  </p:stCondLst>
                                  <p:childTnLst>
                                    <p:animMotion origin="layout" path="M 4.16667E-6 4.07407E-6 L 4.16667E-6 0.03541 " pathEditMode="relative" rAng="0" ptsTypes="AA">
                                      <p:cBhvr>
                                        <p:cTn id="14" dur="700" spd="-100000" fill="hold"/>
                                        <p:tgtEl>
                                          <p:spTgt spid="225"/>
                                        </p:tgtEl>
                                        <p:attrNameLst>
                                          <p:attrName>ppt_x</p:attrName>
                                          <p:attrName>ppt_y</p:attrName>
                                        </p:attrNameLst>
                                      </p:cBhvr>
                                      <p:rCtr x="0" y="1759"/>
                                    </p:animMotion>
                                  </p:childTnLst>
                                </p:cTn>
                              </p:par>
                              <p:par>
                                <p:cTn id="15" presetID="10" presetClass="entr" presetSubtype="0" fill="hold" grpId="0" nodeType="withEffect">
                                  <p:stCondLst>
                                    <p:cond delay="300"/>
                                  </p:stCondLst>
                                  <p:childTnLst>
                                    <p:set>
                                      <p:cBhvr>
                                        <p:cTn id="16" dur="1" fill="hold">
                                          <p:stCondLst>
                                            <p:cond delay="0"/>
                                          </p:stCondLst>
                                        </p:cTn>
                                        <p:tgtEl>
                                          <p:spTgt spid="226"/>
                                        </p:tgtEl>
                                        <p:attrNameLst>
                                          <p:attrName>style.visibility</p:attrName>
                                        </p:attrNameLst>
                                      </p:cBhvr>
                                      <p:to>
                                        <p:strVal val="visible"/>
                                      </p:to>
                                    </p:set>
                                    <p:animEffect transition="in" filter="fade">
                                      <p:cBhvr>
                                        <p:cTn id="17" dur="500"/>
                                        <p:tgtEl>
                                          <p:spTgt spid="226"/>
                                        </p:tgtEl>
                                      </p:cBhvr>
                                    </p:animEffect>
                                  </p:childTnLst>
                                </p:cTn>
                              </p:par>
                              <p:par>
                                <p:cTn id="18" presetID="42" presetClass="path" presetSubtype="0" decel="100000" fill="hold" grpId="1" nodeType="withEffect">
                                  <p:stCondLst>
                                    <p:cond delay="300"/>
                                  </p:stCondLst>
                                  <p:childTnLst>
                                    <p:animMotion origin="layout" path="M 4.16667E-6 4.07407E-6 L 4.16667E-6 0.03541 " pathEditMode="relative" rAng="0" ptsTypes="AA">
                                      <p:cBhvr>
                                        <p:cTn id="19" dur="700" spd="-100000" fill="hold"/>
                                        <p:tgtEl>
                                          <p:spTgt spid="226"/>
                                        </p:tgtEl>
                                        <p:attrNameLst>
                                          <p:attrName>ppt_x</p:attrName>
                                          <p:attrName>ppt_y</p:attrName>
                                        </p:attrNameLst>
                                      </p:cBhvr>
                                      <p:rCtr x="0" y="1759"/>
                                    </p:animMotion>
                                  </p:childTnLst>
                                </p:cTn>
                              </p:par>
                              <p:par>
                                <p:cTn id="20" presetID="10" presetClass="entr" presetSubtype="0" fill="hold" grpId="0" nodeType="withEffect">
                                  <p:stCondLst>
                                    <p:cond delay="300"/>
                                  </p:stCondLst>
                                  <p:childTnLst>
                                    <p:set>
                                      <p:cBhvr>
                                        <p:cTn id="21" dur="1" fill="hold">
                                          <p:stCondLst>
                                            <p:cond delay="0"/>
                                          </p:stCondLst>
                                        </p:cTn>
                                        <p:tgtEl>
                                          <p:spTgt spid="227"/>
                                        </p:tgtEl>
                                        <p:attrNameLst>
                                          <p:attrName>style.visibility</p:attrName>
                                        </p:attrNameLst>
                                      </p:cBhvr>
                                      <p:to>
                                        <p:strVal val="visible"/>
                                      </p:to>
                                    </p:set>
                                    <p:animEffect transition="in" filter="fade">
                                      <p:cBhvr>
                                        <p:cTn id="22" dur="500"/>
                                        <p:tgtEl>
                                          <p:spTgt spid="227"/>
                                        </p:tgtEl>
                                      </p:cBhvr>
                                    </p:animEffect>
                                  </p:childTnLst>
                                </p:cTn>
                              </p:par>
                              <p:par>
                                <p:cTn id="23" presetID="42" presetClass="path" presetSubtype="0" decel="100000" fill="hold" grpId="1" nodeType="withEffect">
                                  <p:stCondLst>
                                    <p:cond delay="300"/>
                                  </p:stCondLst>
                                  <p:childTnLst>
                                    <p:animMotion origin="layout" path="M 8.33333E-7 -4.44444E-6 L 8.33333E-7 0.03542 " pathEditMode="relative" rAng="0" ptsTypes="AA">
                                      <p:cBhvr>
                                        <p:cTn id="24" dur="700" spd="-100000" fill="hold"/>
                                        <p:tgtEl>
                                          <p:spTgt spid="227"/>
                                        </p:tgtEl>
                                        <p:attrNameLst>
                                          <p:attrName>ppt_x</p:attrName>
                                          <p:attrName>ppt_y</p:attrName>
                                        </p:attrNameLst>
                                      </p:cBhvr>
                                      <p:rCtr x="0" y="1759"/>
                                    </p:animMotion>
                                  </p:childTnLst>
                                </p:cTn>
                              </p:par>
                              <p:par>
                                <p:cTn id="25" presetID="22" presetClass="entr" presetSubtype="8" fill="hold" nodeType="withEffect">
                                  <p:stCondLst>
                                    <p:cond delay="700"/>
                                  </p:stCondLst>
                                  <p:childTnLst>
                                    <p:set>
                                      <p:cBhvr>
                                        <p:cTn id="26" dur="1" fill="hold">
                                          <p:stCondLst>
                                            <p:cond delay="0"/>
                                          </p:stCondLst>
                                        </p:cTn>
                                        <p:tgtEl>
                                          <p:spTgt spid="40"/>
                                        </p:tgtEl>
                                        <p:attrNameLst>
                                          <p:attrName>style.visibility</p:attrName>
                                        </p:attrNameLst>
                                      </p:cBhvr>
                                      <p:to>
                                        <p:strVal val="visible"/>
                                      </p:to>
                                    </p:set>
                                    <p:animEffect transition="in" filter="wipe(left)">
                                      <p:cBhvr>
                                        <p:cTn id="27" dur="750"/>
                                        <p:tgtEl>
                                          <p:spTgt spid="40"/>
                                        </p:tgtEl>
                                      </p:cBhvr>
                                    </p:animEffect>
                                  </p:childTnLst>
                                </p:cTn>
                              </p:par>
                              <p:par>
                                <p:cTn id="28" presetID="42" presetClass="path" presetSubtype="0" decel="100000" fill="hold" nodeType="withEffect">
                                  <p:stCondLst>
                                    <p:cond delay="200"/>
                                  </p:stCondLst>
                                  <p:childTnLst>
                                    <p:animMotion origin="layout" path="M -3.75E-6 3.33333E-6 L -3.75E-6 0.03541 " pathEditMode="relative" rAng="0" ptsTypes="AA">
                                      <p:cBhvr>
                                        <p:cTn id="29" dur="1000" spd="-100000" fill="hold"/>
                                        <p:tgtEl>
                                          <p:spTgt spid="40"/>
                                        </p:tgtEl>
                                        <p:attrNameLst>
                                          <p:attrName>ppt_x</p:attrName>
                                          <p:attrName>ppt_y</p:attrName>
                                        </p:attrNameLst>
                                      </p:cBhvr>
                                      <p:rCtr x="0" y="1759"/>
                                    </p:animMotion>
                                  </p:childTnLst>
                                </p:cTn>
                              </p:par>
                              <p:par>
                                <p:cTn id="30" presetID="10" presetClass="entr" presetSubtype="0" fill="hold" nodeType="withEffect">
                                  <p:stCondLst>
                                    <p:cond delay="850"/>
                                  </p:stCondLst>
                                  <p:childTnLst>
                                    <p:set>
                                      <p:cBhvr>
                                        <p:cTn id="31" dur="1" fill="hold">
                                          <p:stCondLst>
                                            <p:cond delay="0"/>
                                          </p:stCondLst>
                                        </p:cTn>
                                        <p:tgtEl>
                                          <p:spTgt spid="195"/>
                                        </p:tgtEl>
                                        <p:attrNameLst>
                                          <p:attrName>style.visibility</p:attrName>
                                        </p:attrNameLst>
                                      </p:cBhvr>
                                      <p:to>
                                        <p:strVal val="visible"/>
                                      </p:to>
                                    </p:set>
                                    <p:animEffect transition="in" filter="fade">
                                      <p:cBhvr>
                                        <p:cTn id="32" dur="500"/>
                                        <p:tgtEl>
                                          <p:spTgt spid="195"/>
                                        </p:tgtEl>
                                      </p:cBhvr>
                                    </p:animEffect>
                                  </p:childTnLst>
                                </p:cTn>
                              </p:par>
                              <p:par>
                                <p:cTn id="33" presetID="6" presetClass="emph" presetSubtype="0" accel="100000" autoRev="1" fill="hold" nodeType="withEffect">
                                  <p:stCondLst>
                                    <p:cond delay="350"/>
                                  </p:stCondLst>
                                  <p:childTnLst>
                                    <p:animScale>
                                      <p:cBhvr>
                                        <p:cTn id="34" dur="500" fill="hold"/>
                                        <p:tgtEl>
                                          <p:spTgt spid="195"/>
                                        </p:tgtEl>
                                      </p:cBhvr>
                                      <p:by x="80000" y="80000"/>
                                    </p:animScale>
                                  </p:childTnLst>
                                </p:cTn>
                              </p:par>
                              <p:par>
                                <p:cTn id="35" presetID="10" presetClass="entr" presetSubtype="0" fill="hold" nodeType="withEffect">
                                  <p:stCondLst>
                                    <p:cond delay="950"/>
                                  </p:stCondLst>
                                  <p:childTnLst>
                                    <p:set>
                                      <p:cBhvr>
                                        <p:cTn id="36" dur="1" fill="hold">
                                          <p:stCondLst>
                                            <p:cond delay="0"/>
                                          </p:stCondLst>
                                        </p:cTn>
                                        <p:tgtEl>
                                          <p:spTgt spid="198"/>
                                        </p:tgtEl>
                                        <p:attrNameLst>
                                          <p:attrName>style.visibility</p:attrName>
                                        </p:attrNameLst>
                                      </p:cBhvr>
                                      <p:to>
                                        <p:strVal val="visible"/>
                                      </p:to>
                                    </p:set>
                                    <p:animEffect transition="in" filter="fade">
                                      <p:cBhvr>
                                        <p:cTn id="37" dur="500"/>
                                        <p:tgtEl>
                                          <p:spTgt spid="198"/>
                                        </p:tgtEl>
                                      </p:cBhvr>
                                    </p:animEffect>
                                  </p:childTnLst>
                                </p:cTn>
                              </p:par>
                              <p:par>
                                <p:cTn id="38" presetID="6" presetClass="emph" presetSubtype="0" accel="100000" autoRev="1" fill="hold" nodeType="withEffect">
                                  <p:stCondLst>
                                    <p:cond delay="450"/>
                                  </p:stCondLst>
                                  <p:childTnLst>
                                    <p:animScale>
                                      <p:cBhvr>
                                        <p:cTn id="39" dur="500" fill="hold"/>
                                        <p:tgtEl>
                                          <p:spTgt spid="198"/>
                                        </p:tgtEl>
                                      </p:cBhvr>
                                      <p:by x="80000" y="80000"/>
                                    </p:animScale>
                                  </p:childTnLst>
                                </p:cTn>
                              </p:par>
                              <p:par>
                                <p:cTn id="40" presetID="10" presetClass="entr" presetSubtype="0" fill="hold" nodeType="withEffect">
                                  <p:stCondLst>
                                    <p:cond delay="1100"/>
                                  </p:stCondLst>
                                  <p:childTnLst>
                                    <p:set>
                                      <p:cBhvr>
                                        <p:cTn id="41" dur="1" fill="hold">
                                          <p:stCondLst>
                                            <p:cond delay="0"/>
                                          </p:stCondLst>
                                        </p:cTn>
                                        <p:tgtEl>
                                          <p:spTgt spid="201"/>
                                        </p:tgtEl>
                                        <p:attrNameLst>
                                          <p:attrName>style.visibility</p:attrName>
                                        </p:attrNameLst>
                                      </p:cBhvr>
                                      <p:to>
                                        <p:strVal val="visible"/>
                                      </p:to>
                                    </p:set>
                                    <p:animEffect transition="in" filter="fade">
                                      <p:cBhvr>
                                        <p:cTn id="42" dur="500"/>
                                        <p:tgtEl>
                                          <p:spTgt spid="201"/>
                                        </p:tgtEl>
                                      </p:cBhvr>
                                    </p:animEffect>
                                  </p:childTnLst>
                                </p:cTn>
                              </p:par>
                              <p:par>
                                <p:cTn id="43" presetID="6" presetClass="emph" presetSubtype="0" accel="100000" autoRev="1" fill="hold" nodeType="withEffect">
                                  <p:stCondLst>
                                    <p:cond delay="600"/>
                                  </p:stCondLst>
                                  <p:childTnLst>
                                    <p:animScale>
                                      <p:cBhvr>
                                        <p:cTn id="44" dur="500" fill="hold"/>
                                        <p:tgtEl>
                                          <p:spTgt spid="201"/>
                                        </p:tgtEl>
                                      </p:cBhvr>
                                      <p:by x="80000" y="80000"/>
                                    </p:animScale>
                                  </p:childTnLst>
                                </p:cTn>
                              </p:par>
                              <p:par>
                                <p:cTn id="45" presetID="10" presetClass="entr" presetSubtype="0" fill="hold" nodeType="withEffect">
                                  <p:stCondLst>
                                    <p:cond delay="1000"/>
                                  </p:stCondLst>
                                  <p:childTnLst>
                                    <p:set>
                                      <p:cBhvr>
                                        <p:cTn id="46" dur="1" fill="hold">
                                          <p:stCondLst>
                                            <p:cond delay="0"/>
                                          </p:stCondLst>
                                        </p:cTn>
                                        <p:tgtEl>
                                          <p:spTgt spid="204"/>
                                        </p:tgtEl>
                                        <p:attrNameLst>
                                          <p:attrName>style.visibility</p:attrName>
                                        </p:attrNameLst>
                                      </p:cBhvr>
                                      <p:to>
                                        <p:strVal val="visible"/>
                                      </p:to>
                                    </p:set>
                                    <p:animEffect transition="in" filter="fade">
                                      <p:cBhvr>
                                        <p:cTn id="47" dur="500"/>
                                        <p:tgtEl>
                                          <p:spTgt spid="204"/>
                                        </p:tgtEl>
                                      </p:cBhvr>
                                    </p:animEffect>
                                  </p:childTnLst>
                                </p:cTn>
                              </p:par>
                              <p:par>
                                <p:cTn id="48" presetID="6" presetClass="emph" presetSubtype="0" accel="100000" autoRev="1" fill="hold" nodeType="withEffect">
                                  <p:stCondLst>
                                    <p:cond delay="500"/>
                                  </p:stCondLst>
                                  <p:childTnLst>
                                    <p:animScale>
                                      <p:cBhvr>
                                        <p:cTn id="49" dur="500" fill="hold"/>
                                        <p:tgtEl>
                                          <p:spTgt spid="204"/>
                                        </p:tgtEl>
                                      </p:cBhvr>
                                      <p:by x="80000" y="80000"/>
                                    </p:animScale>
                                  </p:childTnLst>
                                </p:cTn>
                              </p:par>
                              <p:par>
                                <p:cTn id="50" presetID="10" presetClass="entr" presetSubtype="0" fill="hold" nodeType="withEffect">
                                  <p:stCondLst>
                                    <p:cond delay="900"/>
                                  </p:stCondLst>
                                  <p:childTnLst>
                                    <p:set>
                                      <p:cBhvr>
                                        <p:cTn id="51" dur="1" fill="hold">
                                          <p:stCondLst>
                                            <p:cond delay="0"/>
                                          </p:stCondLst>
                                        </p:cTn>
                                        <p:tgtEl>
                                          <p:spTgt spid="210"/>
                                        </p:tgtEl>
                                        <p:attrNameLst>
                                          <p:attrName>style.visibility</p:attrName>
                                        </p:attrNameLst>
                                      </p:cBhvr>
                                      <p:to>
                                        <p:strVal val="visible"/>
                                      </p:to>
                                    </p:set>
                                    <p:animEffect transition="in" filter="fade">
                                      <p:cBhvr>
                                        <p:cTn id="52" dur="500"/>
                                        <p:tgtEl>
                                          <p:spTgt spid="210"/>
                                        </p:tgtEl>
                                      </p:cBhvr>
                                    </p:animEffect>
                                  </p:childTnLst>
                                </p:cTn>
                              </p:par>
                              <p:par>
                                <p:cTn id="53" presetID="6" presetClass="emph" presetSubtype="0" accel="100000" autoRev="1" fill="hold" nodeType="withEffect">
                                  <p:stCondLst>
                                    <p:cond delay="400"/>
                                  </p:stCondLst>
                                  <p:childTnLst>
                                    <p:animScale>
                                      <p:cBhvr>
                                        <p:cTn id="54" dur="500" fill="hold"/>
                                        <p:tgtEl>
                                          <p:spTgt spid="210"/>
                                        </p:tgtEl>
                                      </p:cBhvr>
                                      <p:by x="80000" y="80000"/>
                                    </p:animScale>
                                  </p:childTnLst>
                                </p:cTn>
                              </p:par>
                              <p:par>
                                <p:cTn id="55" presetID="10" presetClass="entr" presetSubtype="0" fill="hold" nodeType="withEffect">
                                  <p:stCondLst>
                                    <p:cond delay="1150"/>
                                  </p:stCondLst>
                                  <p:childTnLst>
                                    <p:set>
                                      <p:cBhvr>
                                        <p:cTn id="56" dur="1" fill="hold">
                                          <p:stCondLst>
                                            <p:cond delay="0"/>
                                          </p:stCondLst>
                                        </p:cTn>
                                        <p:tgtEl>
                                          <p:spTgt spid="207"/>
                                        </p:tgtEl>
                                        <p:attrNameLst>
                                          <p:attrName>style.visibility</p:attrName>
                                        </p:attrNameLst>
                                      </p:cBhvr>
                                      <p:to>
                                        <p:strVal val="visible"/>
                                      </p:to>
                                    </p:set>
                                    <p:animEffect transition="in" filter="fade">
                                      <p:cBhvr>
                                        <p:cTn id="57" dur="500"/>
                                        <p:tgtEl>
                                          <p:spTgt spid="207"/>
                                        </p:tgtEl>
                                      </p:cBhvr>
                                    </p:animEffect>
                                  </p:childTnLst>
                                </p:cTn>
                              </p:par>
                              <p:par>
                                <p:cTn id="58" presetID="6" presetClass="emph" presetSubtype="0" accel="100000" autoRev="1" fill="hold" nodeType="withEffect">
                                  <p:stCondLst>
                                    <p:cond delay="650"/>
                                  </p:stCondLst>
                                  <p:childTnLst>
                                    <p:animScale>
                                      <p:cBhvr>
                                        <p:cTn id="59" dur="500" fill="hold"/>
                                        <p:tgtEl>
                                          <p:spTgt spid="207"/>
                                        </p:tgtEl>
                                      </p:cBhvr>
                                      <p:by x="80000" y="80000"/>
                                    </p:animScale>
                                  </p:childTnLst>
                                </p:cTn>
                              </p:par>
                              <p:par>
                                <p:cTn id="60" presetID="10" presetClass="entr" presetSubtype="0" fill="hold" nodeType="withEffect">
                                  <p:stCondLst>
                                    <p:cond delay="1200"/>
                                  </p:stCondLst>
                                  <p:childTnLst>
                                    <p:set>
                                      <p:cBhvr>
                                        <p:cTn id="61" dur="1" fill="hold">
                                          <p:stCondLst>
                                            <p:cond delay="0"/>
                                          </p:stCondLst>
                                        </p:cTn>
                                        <p:tgtEl>
                                          <p:spTgt spid="213"/>
                                        </p:tgtEl>
                                        <p:attrNameLst>
                                          <p:attrName>style.visibility</p:attrName>
                                        </p:attrNameLst>
                                      </p:cBhvr>
                                      <p:to>
                                        <p:strVal val="visible"/>
                                      </p:to>
                                    </p:set>
                                    <p:animEffect transition="in" filter="fade">
                                      <p:cBhvr>
                                        <p:cTn id="62" dur="500"/>
                                        <p:tgtEl>
                                          <p:spTgt spid="213"/>
                                        </p:tgtEl>
                                      </p:cBhvr>
                                    </p:animEffect>
                                  </p:childTnLst>
                                </p:cTn>
                              </p:par>
                              <p:par>
                                <p:cTn id="63" presetID="6" presetClass="emph" presetSubtype="0" accel="100000" autoRev="1" fill="hold" nodeType="withEffect">
                                  <p:stCondLst>
                                    <p:cond delay="700"/>
                                  </p:stCondLst>
                                  <p:childTnLst>
                                    <p:animScale>
                                      <p:cBhvr>
                                        <p:cTn id="64" dur="500" fill="hold"/>
                                        <p:tgtEl>
                                          <p:spTgt spid="213"/>
                                        </p:tgtEl>
                                      </p:cBhvr>
                                      <p:by x="80000" y="80000"/>
                                    </p:animScale>
                                  </p:childTnLst>
                                </p:cTn>
                              </p:par>
                              <p:par>
                                <p:cTn id="65" presetID="10" presetClass="entr" presetSubtype="0" fill="hold" nodeType="withEffect">
                                  <p:stCondLst>
                                    <p:cond delay="1250"/>
                                  </p:stCondLst>
                                  <p:childTnLst>
                                    <p:set>
                                      <p:cBhvr>
                                        <p:cTn id="66" dur="1" fill="hold">
                                          <p:stCondLst>
                                            <p:cond delay="0"/>
                                          </p:stCondLst>
                                        </p:cTn>
                                        <p:tgtEl>
                                          <p:spTgt spid="216"/>
                                        </p:tgtEl>
                                        <p:attrNameLst>
                                          <p:attrName>style.visibility</p:attrName>
                                        </p:attrNameLst>
                                      </p:cBhvr>
                                      <p:to>
                                        <p:strVal val="visible"/>
                                      </p:to>
                                    </p:set>
                                    <p:animEffect transition="in" filter="fade">
                                      <p:cBhvr>
                                        <p:cTn id="67" dur="500"/>
                                        <p:tgtEl>
                                          <p:spTgt spid="216"/>
                                        </p:tgtEl>
                                      </p:cBhvr>
                                    </p:animEffect>
                                  </p:childTnLst>
                                </p:cTn>
                              </p:par>
                              <p:par>
                                <p:cTn id="68" presetID="6" presetClass="emph" presetSubtype="0" accel="100000" autoRev="1" fill="hold" nodeType="withEffect">
                                  <p:stCondLst>
                                    <p:cond delay="750"/>
                                  </p:stCondLst>
                                  <p:childTnLst>
                                    <p:animScale>
                                      <p:cBhvr>
                                        <p:cTn id="69" dur="500" fill="hold"/>
                                        <p:tgtEl>
                                          <p:spTgt spid="216"/>
                                        </p:tgtEl>
                                      </p:cBhvr>
                                      <p:by x="80000" y="80000"/>
                                    </p:animScale>
                                  </p:childTnLst>
                                </p:cTn>
                              </p:par>
                              <p:par>
                                <p:cTn id="70" presetID="10" presetClass="entr" presetSubtype="0" fill="hold" nodeType="withEffect">
                                  <p:stCondLst>
                                    <p:cond delay="1050"/>
                                  </p:stCondLst>
                                  <p:childTnLst>
                                    <p:set>
                                      <p:cBhvr>
                                        <p:cTn id="71" dur="1" fill="hold">
                                          <p:stCondLst>
                                            <p:cond delay="0"/>
                                          </p:stCondLst>
                                        </p:cTn>
                                        <p:tgtEl>
                                          <p:spTgt spid="219"/>
                                        </p:tgtEl>
                                        <p:attrNameLst>
                                          <p:attrName>style.visibility</p:attrName>
                                        </p:attrNameLst>
                                      </p:cBhvr>
                                      <p:to>
                                        <p:strVal val="visible"/>
                                      </p:to>
                                    </p:set>
                                    <p:animEffect transition="in" filter="fade">
                                      <p:cBhvr>
                                        <p:cTn id="72" dur="500"/>
                                        <p:tgtEl>
                                          <p:spTgt spid="219"/>
                                        </p:tgtEl>
                                      </p:cBhvr>
                                    </p:animEffect>
                                  </p:childTnLst>
                                </p:cTn>
                              </p:par>
                              <p:par>
                                <p:cTn id="73" presetID="6" presetClass="emph" presetSubtype="0" accel="100000" autoRev="1" fill="hold" nodeType="withEffect">
                                  <p:stCondLst>
                                    <p:cond delay="550"/>
                                  </p:stCondLst>
                                  <p:childTnLst>
                                    <p:animScale>
                                      <p:cBhvr>
                                        <p:cTn id="74" dur="500" fill="hold"/>
                                        <p:tgtEl>
                                          <p:spTgt spid="219"/>
                                        </p:tgtEl>
                                      </p:cBhvr>
                                      <p:by x="80000" y="80000"/>
                                    </p:animScale>
                                  </p:childTnLst>
                                </p:cTn>
                              </p:par>
                              <p:par>
                                <p:cTn id="75" presetID="10" presetClass="entr" presetSubtype="0" fill="hold" grpId="0" nodeType="withEffect">
                                  <p:stCondLst>
                                    <p:cond delay="850"/>
                                  </p:stCondLst>
                                  <p:childTnLst>
                                    <p:set>
                                      <p:cBhvr>
                                        <p:cTn id="76" dur="1" fill="hold">
                                          <p:stCondLst>
                                            <p:cond delay="0"/>
                                          </p:stCondLst>
                                        </p:cTn>
                                        <p:tgtEl>
                                          <p:spTgt spid="318"/>
                                        </p:tgtEl>
                                        <p:attrNameLst>
                                          <p:attrName>style.visibility</p:attrName>
                                        </p:attrNameLst>
                                      </p:cBhvr>
                                      <p:to>
                                        <p:strVal val="visible"/>
                                      </p:to>
                                    </p:set>
                                    <p:animEffect transition="in" filter="fade">
                                      <p:cBhvr>
                                        <p:cTn id="77" dur="500"/>
                                        <p:tgtEl>
                                          <p:spTgt spid="318"/>
                                        </p:tgtEl>
                                      </p:cBhvr>
                                    </p:animEffect>
                                  </p:childTnLst>
                                </p:cTn>
                              </p:par>
                              <p:par>
                                <p:cTn id="78" presetID="6" presetClass="emph" presetSubtype="0" accel="100000" autoRev="1" fill="hold" grpId="1" nodeType="withEffect">
                                  <p:stCondLst>
                                    <p:cond delay="350"/>
                                  </p:stCondLst>
                                  <p:childTnLst>
                                    <p:animScale>
                                      <p:cBhvr>
                                        <p:cTn id="79" dur="500" fill="hold"/>
                                        <p:tgtEl>
                                          <p:spTgt spid="318"/>
                                        </p:tgtEl>
                                      </p:cBhvr>
                                      <p:by x="80000" y="80000"/>
                                    </p:animScale>
                                  </p:childTnLst>
                                </p:cTn>
                              </p:par>
                              <p:par>
                                <p:cTn id="80" presetID="16" presetClass="entr" presetSubtype="37" fill="hold" nodeType="withEffect">
                                  <p:stCondLst>
                                    <p:cond delay="1300"/>
                                  </p:stCondLst>
                                  <p:childTnLst>
                                    <p:set>
                                      <p:cBhvr>
                                        <p:cTn id="81" dur="1" fill="hold">
                                          <p:stCondLst>
                                            <p:cond delay="0"/>
                                          </p:stCondLst>
                                        </p:cTn>
                                        <p:tgtEl>
                                          <p:spTgt spid="319"/>
                                        </p:tgtEl>
                                        <p:attrNameLst>
                                          <p:attrName>style.visibility</p:attrName>
                                        </p:attrNameLst>
                                      </p:cBhvr>
                                      <p:to>
                                        <p:strVal val="visible"/>
                                      </p:to>
                                    </p:set>
                                    <p:animEffect transition="in" filter="barn(outVertical)">
                                      <p:cBhvr>
                                        <p:cTn id="82" dur="500"/>
                                        <p:tgtEl>
                                          <p:spTgt spid="319"/>
                                        </p:tgtEl>
                                      </p:cBhvr>
                                    </p:animEffect>
                                  </p:childTnLst>
                                </p:cTn>
                              </p:par>
                              <p:par>
                                <p:cTn id="83" presetID="42" presetClass="path" presetSubtype="0" decel="100000" fill="hold" nodeType="withEffect">
                                  <p:stCondLst>
                                    <p:cond delay="1300"/>
                                  </p:stCondLst>
                                  <p:childTnLst>
                                    <p:animMotion origin="layout" path="M 0 5.65476E-7 L 0 0.03543 " pathEditMode="relative" rAng="0" ptsTypes="AA">
                                      <p:cBhvr>
                                        <p:cTn id="84" dur="700" spd="-100000" fill="hold"/>
                                        <p:tgtEl>
                                          <p:spTgt spid="319"/>
                                        </p:tgtEl>
                                        <p:attrNameLst>
                                          <p:attrName>ppt_x</p:attrName>
                                          <p:attrName>ppt_y</p:attrName>
                                        </p:attrNameLst>
                                      </p:cBhvr>
                                      <p:rCtr x="0" y="1767"/>
                                    </p:animMotion>
                                  </p:childTnLst>
                                </p:cTn>
                              </p:par>
                              <p:par>
                                <p:cTn id="85" presetID="10" presetClass="entr" presetSubtype="0" fill="hold" nodeType="withEffect">
                                  <p:stCondLst>
                                    <p:cond delay="100"/>
                                  </p:stCondLst>
                                  <p:childTnLst>
                                    <p:set>
                                      <p:cBhvr>
                                        <p:cTn id="86" dur="1" fill="hold">
                                          <p:stCondLst>
                                            <p:cond delay="0"/>
                                          </p:stCondLst>
                                        </p:cTn>
                                        <p:tgtEl>
                                          <p:spTgt spid="228"/>
                                        </p:tgtEl>
                                        <p:attrNameLst>
                                          <p:attrName>style.visibility</p:attrName>
                                        </p:attrNameLst>
                                      </p:cBhvr>
                                      <p:to>
                                        <p:strVal val="visible"/>
                                      </p:to>
                                    </p:set>
                                    <p:animEffect transition="in" filter="fade">
                                      <p:cBhvr>
                                        <p:cTn id="87" dur="500"/>
                                        <p:tgtEl>
                                          <p:spTgt spid="228"/>
                                        </p:tgtEl>
                                      </p:cBhvr>
                                    </p:animEffect>
                                  </p:childTnLst>
                                </p:cTn>
                              </p:par>
                              <p:par>
                                <p:cTn id="88" presetID="42" presetClass="path" presetSubtype="0" decel="100000" fill="hold" nodeType="withEffect">
                                  <p:stCondLst>
                                    <p:cond delay="100"/>
                                  </p:stCondLst>
                                  <p:childTnLst>
                                    <p:animMotion origin="layout" path="M 3.125E-6 2.96296E-6 L 3.125E-6 0.03541 " pathEditMode="relative" rAng="0" ptsTypes="AA">
                                      <p:cBhvr>
                                        <p:cTn id="89" dur="700" spd="-100000" fill="hold"/>
                                        <p:tgtEl>
                                          <p:spTgt spid="22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7" grpId="0"/>
      <p:bldP spid="227" grpId="1"/>
      <p:bldP spid="225" grpId="0" animBg="1"/>
      <p:bldP spid="225" grpId="1" animBg="1"/>
      <p:bldP spid="226" grpId="0" animBg="1"/>
      <p:bldP spid="226" grpId="1" animBg="1"/>
      <p:bldP spid="318" grpId="0"/>
      <p:bldP spid="318"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D56073-5A57-E95D-8AC9-3B7F787D2B4A}"/>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7E60477-AE56-87CE-6FCE-CDDCED91B21C}"/>
              </a:ext>
            </a:extLst>
          </p:cNvPr>
          <p:cNvSpPr>
            <a:spLocks noGrp="1"/>
          </p:cNvSpPr>
          <p:nvPr>
            <p:ph type="title"/>
          </p:nvPr>
        </p:nvSpPr>
        <p:spPr>
          <a:xfrm>
            <a:off x="389859" y="365126"/>
            <a:ext cx="11601511" cy="1072072"/>
          </a:xfrm>
        </p:spPr>
        <p:txBody>
          <a:bodyPr/>
          <a:lstStyle/>
          <a:p>
            <a:r>
              <a:rPr lang="en-US"/>
              <a:t>Copilot </a:t>
            </a:r>
            <a:r>
              <a:rPr lang="en-US">
                <a:gradFill>
                  <a:gsLst>
                    <a:gs pos="2000">
                      <a:srgbClr val="0179D4"/>
                    </a:gs>
                    <a:gs pos="32000">
                      <a:srgbClr val="2CB6FF"/>
                    </a:gs>
                    <a:gs pos="44000">
                      <a:srgbClr val="2DB6FF"/>
                    </a:gs>
                    <a:gs pos="81000">
                      <a:srgbClr val="D962FA"/>
                    </a:gs>
                    <a:gs pos="96000">
                      <a:srgbClr val="F69991"/>
                    </a:gs>
                  </a:gsLst>
                  <a:lin ang="3600000" scaled="0"/>
                </a:gradFill>
              </a:rPr>
              <a:t>hub</a:t>
            </a:r>
            <a:r>
              <a:rPr lang="en-US"/>
              <a:t> &amp; </a:t>
            </a:r>
            <a:r>
              <a:rPr lang="en-US">
                <a:gradFill>
                  <a:gsLst>
                    <a:gs pos="2000">
                      <a:srgbClr val="0179D4"/>
                    </a:gs>
                    <a:gs pos="32000">
                      <a:srgbClr val="2CB6FF"/>
                    </a:gs>
                    <a:gs pos="44000">
                      <a:srgbClr val="2DB6FF"/>
                    </a:gs>
                    <a:gs pos="81000">
                      <a:srgbClr val="D962FA"/>
                    </a:gs>
                    <a:gs pos="96000">
                      <a:srgbClr val="F69991"/>
                    </a:gs>
                  </a:gsLst>
                  <a:lin ang="3600000" scaled="0"/>
                </a:gradFill>
              </a:rPr>
              <a:t>community</a:t>
            </a:r>
            <a:endParaRPr lang="en-IN">
              <a:gradFill>
                <a:gsLst>
                  <a:gs pos="2000">
                    <a:srgbClr val="0179D4"/>
                  </a:gs>
                  <a:gs pos="32000">
                    <a:srgbClr val="2CB6FF"/>
                  </a:gs>
                  <a:gs pos="44000">
                    <a:srgbClr val="2DB6FF"/>
                  </a:gs>
                  <a:gs pos="81000">
                    <a:srgbClr val="D962FA"/>
                  </a:gs>
                  <a:gs pos="96000">
                    <a:srgbClr val="F69991"/>
                  </a:gs>
                </a:gsLst>
                <a:lin ang="3600000" scaled="0"/>
              </a:gradFill>
            </a:endParaRPr>
          </a:p>
        </p:txBody>
      </p:sp>
      <p:sp>
        <p:nvSpPr>
          <p:cNvPr id="8" name="Rectangle: Rounded Corners 7">
            <a:extLst>
              <a:ext uri="{FF2B5EF4-FFF2-40B4-BE49-F238E27FC236}">
                <a16:creationId xmlns:a16="http://schemas.microsoft.com/office/drawing/2014/main" id="{BA862167-133E-1DC3-75A1-E26C47E1F3CF}"/>
              </a:ext>
              <a:ext uri="{C183D7F6-B498-43B3-948B-1728B52AA6E4}">
                <adec:decorative xmlns:adec="http://schemas.microsoft.com/office/drawing/2017/decorative" val="1"/>
              </a:ext>
            </a:extLst>
          </p:cNvPr>
          <p:cNvSpPr/>
          <p:nvPr/>
        </p:nvSpPr>
        <p:spPr bwMode="auto">
          <a:xfrm>
            <a:off x="557435" y="1450682"/>
            <a:ext cx="11332152" cy="4874419"/>
          </a:xfrm>
          <a:prstGeom prst="roundRect">
            <a:avLst>
              <a:gd name="adj" fmla="val 3385"/>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sp>
        <p:nvSpPr>
          <p:cNvPr id="19" name="Graphic 8" descr="Icon of an AI robot">
            <a:extLst>
              <a:ext uri="{FF2B5EF4-FFF2-40B4-BE49-F238E27FC236}">
                <a16:creationId xmlns:a16="http://schemas.microsoft.com/office/drawing/2014/main" id="{6A3E91C1-358D-F685-ADB2-46BD60C8CBA8}"/>
              </a:ext>
            </a:extLst>
          </p:cNvPr>
          <p:cNvSpPr>
            <a:spLocks/>
          </p:cNvSpPr>
          <p:nvPr/>
        </p:nvSpPr>
        <p:spPr>
          <a:xfrm>
            <a:off x="1080395" y="1938695"/>
            <a:ext cx="425956" cy="532477"/>
          </a:xfrm>
          <a:custGeom>
            <a:avLst/>
            <a:gdLst>
              <a:gd name="connsiteX0" fmla="*/ 310304 w 361083"/>
              <a:gd name="connsiteY0" fmla="*/ 270807 h 451381"/>
              <a:gd name="connsiteX1" fmla="*/ 361083 w 361083"/>
              <a:gd name="connsiteY1" fmla="*/ 321586 h 451381"/>
              <a:gd name="connsiteX2" fmla="*/ 361083 w 361083"/>
              <a:gd name="connsiteY2" fmla="*/ 342013 h 451381"/>
              <a:gd name="connsiteX3" fmla="*/ 331579 w 361083"/>
              <a:gd name="connsiteY3" fmla="*/ 406227 h 451381"/>
              <a:gd name="connsiteX4" fmla="*/ 180468 w 361083"/>
              <a:gd name="connsiteY4" fmla="*/ 451382 h 451381"/>
              <a:gd name="connsiteX5" fmla="*/ 29458 w 361083"/>
              <a:gd name="connsiteY5" fmla="*/ 406238 h 451381"/>
              <a:gd name="connsiteX6" fmla="*/ 0 w 361083"/>
              <a:gd name="connsiteY6" fmla="*/ 342063 h 451381"/>
              <a:gd name="connsiteX7" fmla="*/ 0 w 361083"/>
              <a:gd name="connsiteY7" fmla="*/ 321586 h 451381"/>
              <a:gd name="connsiteX8" fmla="*/ 50779 w 361083"/>
              <a:gd name="connsiteY8" fmla="*/ 270807 h 451381"/>
              <a:gd name="connsiteX9" fmla="*/ 310304 w 361083"/>
              <a:gd name="connsiteY9" fmla="*/ 270807 h 451381"/>
              <a:gd name="connsiteX10" fmla="*/ 310304 w 361083"/>
              <a:gd name="connsiteY10" fmla="*/ 304660 h 451381"/>
              <a:gd name="connsiteX11" fmla="*/ 50779 w 361083"/>
              <a:gd name="connsiteY11" fmla="*/ 304660 h 451381"/>
              <a:gd name="connsiteX12" fmla="*/ 33853 w 361083"/>
              <a:gd name="connsiteY12" fmla="*/ 321586 h 451381"/>
              <a:gd name="connsiteX13" fmla="*/ 33853 w 361083"/>
              <a:gd name="connsiteY13" fmla="*/ 342063 h 451381"/>
              <a:gd name="connsiteX14" fmla="*/ 51527 w 361083"/>
              <a:gd name="connsiteY14" fmla="*/ 380569 h 451381"/>
              <a:gd name="connsiteX15" fmla="*/ 180468 w 361083"/>
              <a:gd name="connsiteY15" fmla="*/ 417529 h 451381"/>
              <a:gd name="connsiteX16" fmla="*/ 309530 w 361083"/>
              <a:gd name="connsiteY16" fmla="*/ 380542 h 451381"/>
              <a:gd name="connsiteX17" fmla="*/ 327231 w 361083"/>
              <a:gd name="connsiteY17" fmla="*/ 342013 h 451381"/>
              <a:gd name="connsiteX18" fmla="*/ 327231 w 361083"/>
              <a:gd name="connsiteY18" fmla="*/ 321586 h 451381"/>
              <a:gd name="connsiteX19" fmla="*/ 310304 w 361083"/>
              <a:gd name="connsiteY19" fmla="*/ 304660 h 451381"/>
              <a:gd name="connsiteX20" fmla="*/ 178177 w 361083"/>
              <a:gd name="connsiteY20" fmla="*/ 155 h 451381"/>
              <a:gd name="connsiteX21" fmla="*/ 180475 w 361083"/>
              <a:gd name="connsiteY21" fmla="*/ 0 h 451381"/>
              <a:gd name="connsiteX22" fmla="*/ 197245 w 361083"/>
              <a:gd name="connsiteY22" fmla="*/ 14630 h 451381"/>
              <a:gd name="connsiteX23" fmla="*/ 197401 w 361083"/>
              <a:gd name="connsiteY23" fmla="*/ 16926 h 451381"/>
              <a:gd name="connsiteX24" fmla="*/ 197383 w 361083"/>
              <a:gd name="connsiteY24" fmla="*/ 33830 h 451381"/>
              <a:gd name="connsiteX25" fmla="*/ 276384 w 361083"/>
              <a:gd name="connsiteY25" fmla="*/ 33842 h 451381"/>
              <a:gd name="connsiteX26" fmla="*/ 327163 w 361083"/>
              <a:gd name="connsiteY26" fmla="*/ 84621 h 451381"/>
              <a:gd name="connsiteX27" fmla="*/ 327163 w 361083"/>
              <a:gd name="connsiteY27" fmla="*/ 186282 h 451381"/>
              <a:gd name="connsiteX28" fmla="*/ 276384 w 361083"/>
              <a:gd name="connsiteY28" fmla="*/ 237061 h 451381"/>
              <a:gd name="connsiteX29" fmla="*/ 84551 w 361083"/>
              <a:gd name="connsiteY29" fmla="*/ 237061 h 451381"/>
              <a:gd name="connsiteX30" fmla="*/ 33773 w 361083"/>
              <a:gd name="connsiteY30" fmla="*/ 186282 h 451381"/>
              <a:gd name="connsiteX31" fmla="*/ 33773 w 361083"/>
              <a:gd name="connsiteY31" fmla="*/ 84621 h 451381"/>
              <a:gd name="connsiteX32" fmla="*/ 84551 w 361083"/>
              <a:gd name="connsiteY32" fmla="*/ 33842 h 451381"/>
              <a:gd name="connsiteX33" fmla="*/ 163531 w 361083"/>
              <a:gd name="connsiteY33" fmla="*/ 33830 h 451381"/>
              <a:gd name="connsiteX34" fmla="*/ 163549 w 361083"/>
              <a:gd name="connsiteY34" fmla="*/ 16926 h 451381"/>
              <a:gd name="connsiteX35" fmla="*/ 178177 w 361083"/>
              <a:gd name="connsiteY35" fmla="*/ 155 h 451381"/>
              <a:gd name="connsiteX36" fmla="*/ 180475 w 361083"/>
              <a:gd name="connsiteY36" fmla="*/ 0 h 451381"/>
              <a:gd name="connsiteX37" fmla="*/ 178177 w 361083"/>
              <a:gd name="connsiteY37" fmla="*/ 155 h 451381"/>
              <a:gd name="connsiteX38" fmla="*/ 276384 w 361083"/>
              <a:gd name="connsiteY38" fmla="*/ 67694 h 451381"/>
              <a:gd name="connsiteX39" fmla="*/ 84551 w 361083"/>
              <a:gd name="connsiteY39" fmla="*/ 67694 h 451381"/>
              <a:gd name="connsiteX40" fmla="*/ 67625 w 361083"/>
              <a:gd name="connsiteY40" fmla="*/ 84621 h 451381"/>
              <a:gd name="connsiteX41" fmla="*/ 67625 w 361083"/>
              <a:gd name="connsiteY41" fmla="*/ 186282 h 451381"/>
              <a:gd name="connsiteX42" fmla="*/ 84551 w 361083"/>
              <a:gd name="connsiteY42" fmla="*/ 203208 h 451381"/>
              <a:gd name="connsiteX43" fmla="*/ 276384 w 361083"/>
              <a:gd name="connsiteY43" fmla="*/ 203208 h 451381"/>
              <a:gd name="connsiteX44" fmla="*/ 293310 w 361083"/>
              <a:gd name="connsiteY44" fmla="*/ 186282 h 451381"/>
              <a:gd name="connsiteX45" fmla="*/ 293310 w 361083"/>
              <a:gd name="connsiteY45" fmla="*/ 84621 h 451381"/>
              <a:gd name="connsiteX46" fmla="*/ 276384 w 361083"/>
              <a:gd name="connsiteY46" fmla="*/ 67694 h 451381"/>
              <a:gd name="connsiteX47" fmla="*/ 129672 w 361083"/>
              <a:gd name="connsiteY47" fmla="*/ 101547 h 451381"/>
              <a:gd name="connsiteX48" fmla="*/ 157866 w 361083"/>
              <a:gd name="connsiteY48" fmla="*/ 129741 h 451381"/>
              <a:gd name="connsiteX49" fmla="*/ 129672 w 361083"/>
              <a:gd name="connsiteY49" fmla="*/ 157936 h 451381"/>
              <a:gd name="connsiteX50" fmla="*/ 101478 w 361083"/>
              <a:gd name="connsiteY50" fmla="*/ 129741 h 451381"/>
              <a:gd name="connsiteX51" fmla="*/ 129672 w 361083"/>
              <a:gd name="connsiteY51" fmla="*/ 101547 h 451381"/>
              <a:gd name="connsiteX52" fmla="*/ 231067 w 361083"/>
              <a:gd name="connsiteY52" fmla="*/ 101547 h 451381"/>
              <a:gd name="connsiteX53" fmla="*/ 259261 w 361083"/>
              <a:gd name="connsiteY53" fmla="*/ 129741 h 451381"/>
              <a:gd name="connsiteX54" fmla="*/ 231067 w 361083"/>
              <a:gd name="connsiteY54" fmla="*/ 157936 h 451381"/>
              <a:gd name="connsiteX55" fmla="*/ 202872 w 361083"/>
              <a:gd name="connsiteY55" fmla="*/ 129741 h 451381"/>
              <a:gd name="connsiteX56" fmla="*/ 231067 w 361083"/>
              <a:gd name="connsiteY56" fmla="*/ 101547 h 45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61083" h="451381">
                <a:moveTo>
                  <a:pt x="310304" y="270807"/>
                </a:moveTo>
                <a:cubicBezTo>
                  <a:pt x="338350" y="270807"/>
                  <a:pt x="361083" y="293543"/>
                  <a:pt x="361083" y="321586"/>
                </a:cubicBezTo>
                <a:lnTo>
                  <a:pt x="361083" y="342013"/>
                </a:lnTo>
                <a:cubicBezTo>
                  <a:pt x="361083" y="366696"/>
                  <a:pt x="350309" y="390149"/>
                  <a:pt x="331579" y="406227"/>
                </a:cubicBezTo>
                <a:cubicBezTo>
                  <a:pt x="296251" y="436557"/>
                  <a:pt x="245691" y="451382"/>
                  <a:pt x="180468" y="451382"/>
                </a:cubicBezTo>
                <a:cubicBezTo>
                  <a:pt x="115256" y="451382"/>
                  <a:pt x="64729" y="436563"/>
                  <a:pt x="29458" y="406238"/>
                </a:cubicBezTo>
                <a:cubicBezTo>
                  <a:pt x="10757" y="390161"/>
                  <a:pt x="0" y="366726"/>
                  <a:pt x="0" y="342063"/>
                </a:cubicBezTo>
                <a:lnTo>
                  <a:pt x="0" y="321586"/>
                </a:lnTo>
                <a:cubicBezTo>
                  <a:pt x="0" y="293543"/>
                  <a:pt x="22735" y="270807"/>
                  <a:pt x="50779" y="270807"/>
                </a:cubicBezTo>
                <a:lnTo>
                  <a:pt x="310304" y="270807"/>
                </a:lnTo>
                <a:close/>
                <a:moveTo>
                  <a:pt x="310304" y="304660"/>
                </a:moveTo>
                <a:lnTo>
                  <a:pt x="50779" y="304660"/>
                </a:lnTo>
                <a:cubicBezTo>
                  <a:pt x="41431" y="304660"/>
                  <a:pt x="33853" y="312239"/>
                  <a:pt x="33853" y="321586"/>
                </a:cubicBezTo>
                <a:lnTo>
                  <a:pt x="33853" y="342063"/>
                </a:lnTo>
                <a:cubicBezTo>
                  <a:pt x="33853" y="356861"/>
                  <a:pt x="40307" y="370921"/>
                  <a:pt x="51527" y="380569"/>
                </a:cubicBezTo>
                <a:cubicBezTo>
                  <a:pt x="79920" y="404979"/>
                  <a:pt x="122710" y="417529"/>
                  <a:pt x="180468" y="417529"/>
                </a:cubicBezTo>
                <a:cubicBezTo>
                  <a:pt x="238241" y="417529"/>
                  <a:pt x="281074" y="404972"/>
                  <a:pt x="309530" y="380542"/>
                </a:cubicBezTo>
                <a:cubicBezTo>
                  <a:pt x="320765" y="370894"/>
                  <a:pt x="327231" y="356822"/>
                  <a:pt x="327231" y="342013"/>
                </a:cubicBezTo>
                <a:lnTo>
                  <a:pt x="327231" y="321586"/>
                </a:lnTo>
                <a:cubicBezTo>
                  <a:pt x="327231" y="312239"/>
                  <a:pt x="319652" y="304660"/>
                  <a:pt x="310304" y="304660"/>
                </a:cubicBezTo>
                <a:close/>
                <a:moveTo>
                  <a:pt x="178177" y="155"/>
                </a:moveTo>
                <a:lnTo>
                  <a:pt x="180475" y="0"/>
                </a:lnTo>
                <a:cubicBezTo>
                  <a:pt x="189044" y="0"/>
                  <a:pt x="196126" y="6368"/>
                  <a:pt x="197245" y="14630"/>
                </a:cubicBezTo>
                <a:lnTo>
                  <a:pt x="197401" y="16926"/>
                </a:lnTo>
                <a:lnTo>
                  <a:pt x="197383" y="33830"/>
                </a:lnTo>
                <a:lnTo>
                  <a:pt x="276384" y="33842"/>
                </a:lnTo>
                <a:cubicBezTo>
                  <a:pt x="304427" y="33842"/>
                  <a:pt x="327163" y="56576"/>
                  <a:pt x="327163" y="84621"/>
                </a:cubicBezTo>
                <a:lnTo>
                  <a:pt x="327163" y="186282"/>
                </a:lnTo>
                <a:cubicBezTo>
                  <a:pt x="327163" y="214325"/>
                  <a:pt x="304427" y="237061"/>
                  <a:pt x="276384" y="237061"/>
                </a:cubicBezTo>
                <a:lnTo>
                  <a:pt x="84551" y="237061"/>
                </a:lnTo>
                <a:cubicBezTo>
                  <a:pt x="56507" y="237061"/>
                  <a:pt x="33773" y="214325"/>
                  <a:pt x="33773" y="186282"/>
                </a:cubicBezTo>
                <a:lnTo>
                  <a:pt x="33773" y="84621"/>
                </a:lnTo>
                <a:cubicBezTo>
                  <a:pt x="33773" y="56576"/>
                  <a:pt x="56507" y="33842"/>
                  <a:pt x="84551" y="33842"/>
                </a:cubicBezTo>
                <a:lnTo>
                  <a:pt x="163531" y="33830"/>
                </a:lnTo>
                <a:lnTo>
                  <a:pt x="163549" y="16926"/>
                </a:lnTo>
                <a:cubicBezTo>
                  <a:pt x="163549" y="8357"/>
                  <a:pt x="169915" y="1275"/>
                  <a:pt x="178177" y="155"/>
                </a:cubicBezTo>
                <a:lnTo>
                  <a:pt x="180475" y="0"/>
                </a:lnTo>
                <a:lnTo>
                  <a:pt x="178177" y="155"/>
                </a:lnTo>
                <a:close/>
                <a:moveTo>
                  <a:pt x="276384" y="67694"/>
                </a:moveTo>
                <a:lnTo>
                  <a:pt x="84551" y="67694"/>
                </a:lnTo>
                <a:cubicBezTo>
                  <a:pt x="75203" y="67694"/>
                  <a:pt x="67625" y="75272"/>
                  <a:pt x="67625" y="84621"/>
                </a:cubicBezTo>
                <a:lnTo>
                  <a:pt x="67625" y="186282"/>
                </a:lnTo>
                <a:cubicBezTo>
                  <a:pt x="67625" y="195630"/>
                  <a:pt x="75203" y="203208"/>
                  <a:pt x="84551" y="203208"/>
                </a:cubicBezTo>
                <a:lnTo>
                  <a:pt x="276384" y="203208"/>
                </a:lnTo>
                <a:cubicBezTo>
                  <a:pt x="285732" y="203208"/>
                  <a:pt x="293310" y="195630"/>
                  <a:pt x="293310" y="186282"/>
                </a:cubicBezTo>
                <a:lnTo>
                  <a:pt x="293310" y="84621"/>
                </a:lnTo>
                <a:cubicBezTo>
                  <a:pt x="293310" y="75272"/>
                  <a:pt x="285732" y="67694"/>
                  <a:pt x="276384" y="67694"/>
                </a:cubicBezTo>
                <a:close/>
                <a:moveTo>
                  <a:pt x="129672" y="101547"/>
                </a:moveTo>
                <a:cubicBezTo>
                  <a:pt x="145243" y="101547"/>
                  <a:pt x="157866" y="114170"/>
                  <a:pt x="157866" y="129741"/>
                </a:cubicBezTo>
                <a:cubicBezTo>
                  <a:pt x="157866" y="145313"/>
                  <a:pt x="145243" y="157936"/>
                  <a:pt x="129672" y="157936"/>
                </a:cubicBezTo>
                <a:cubicBezTo>
                  <a:pt x="114101" y="157936"/>
                  <a:pt x="101478" y="145313"/>
                  <a:pt x="101478" y="129741"/>
                </a:cubicBezTo>
                <a:cubicBezTo>
                  <a:pt x="101478" y="114170"/>
                  <a:pt x="114101" y="101547"/>
                  <a:pt x="129672" y="101547"/>
                </a:cubicBezTo>
                <a:close/>
                <a:moveTo>
                  <a:pt x="231067" y="101547"/>
                </a:moveTo>
                <a:cubicBezTo>
                  <a:pt x="246639" y="101547"/>
                  <a:pt x="259261" y="114170"/>
                  <a:pt x="259261" y="129741"/>
                </a:cubicBezTo>
                <a:cubicBezTo>
                  <a:pt x="259261" y="145313"/>
                  <a:pt x="246639" y="157936"/>
                  <a:pt x="231067" y="157936"/>
                </a:cubicBezTo>
                <a:cubicBezTo>
                  <a:pt x="215494" y="157936"/>
                  <a:pt x="202872" y="145313"/>
                  <a:pt x="202872" y="129741"/>
                </a:cubicBezTo>
                <a:cubicBezTo>
                  <a:pt x="202872" y="114170"/>
                  <a:pt x="215494" y="101547"/>
                  <a:pt x="231067" y="101547"/>
                </a:cubicBezTo>
                <a:close/>
              </a:path>
            </a:pathLst>
          </a:custGeom>
          <a:gradFill flip="none" rotWithShape="1">
            <a:gsLst>
              <a:gs pos="0">
                <a:srgbClr val="C03BC4"/>
              </a:gs>
              <a:gs pos="80000">
                <a:srgbClr val="0078D4"/>
              </a:gs>
            </a:gsLst>
            <a:path path="circle">
              <a:fillToRect l="100000" t="100000"/>
            </a:path>
            <a:tileRect r="-100000" b="-100000"/>
          </a:gradFill>
          <a:effectLst/>
        </p:spPr>
        <p:txBody>
          <a:bodyPr wrap="square" lIns="0" tIns="0" rIns="0" bIns="0" rtlCol="0" anchor="ctr" anchorCtr="0">
            <a:noAutofit/>
          </a:bodyPr>
          <a:lstStyle/>
          <a:p>
            <a:pPr algn="ctr" fontAlgn="base">
              <a:spcBef>
                <a:spcPct val="0"/>
              </a:spcBef>
              <a:spcAft>
                <a:spcPts val="1200"/>
              </a:spcAft>
              <a:buSzPct val="90000"/>
            </a:pPr>
            <a:endParaRPr lang="en-US" sz="1400" b="1">
              <a:solidFill>
                <a:schemeClr val="bg1"/>
              </a:solidFill>
            </a:endParaRPr>
          </a:p>
        </p:txBody>
      </p:sp>
      <p:sp>
        <p:nvSpPr>
          <p:cNvPr id="17" name="TextBox 16">
            <a:extLst>
              <a:ext uri="{FF2B5EF4-FFF2-40B4-BE49-F238E27FC236}">
                <a16:creationId xmlns:a16="http://schemas.microsoft.com/office/drawing/2014/main" id="{66CB4D9B-1E11-A8EB-813A-27579EF0DA0B}"/>
              </a:ext>
            </a:extLst>
          </p:cNvPr>
          <p:cNvSpPr txBox="1"/>
          <p:nvPr/>
        </p:nvSpPr>
        <p:spPr>
          <a:xfrm>
            <a:off x="1080395" y="2735856"/>
            <a:ext cx="3720897" cy="98488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Copilot hub on</a:t>
            </a:r>
            <a:r>
              <a:rPr kumimoji="0" lang="en-US" sz="1600" b="1" i="0" u="none" strike="noStrike" kern="1200" cap="none" spc="0" normalizeH="0" baseline="0" noProof="0">
                <a:ln>
                  <a:noFill/>
                </a:ln>
                <a:solidFill>
                  <a:srgbClr val="000000"/>
                </a:solidFill>
                <a:effectLst/>
                <a:uLnTx/>
                <a:uFillTx/>
                <a:latin typeface="Segoe UI Semibold"/>
                <a:ea typeface="+mn-ea"/>
                <a:cs typeface="+mn-cs"/>
              </a:rPr>
              <a:t> </a:t>
            </a:r>
            <a:r>
              <a:rPr kumimoji="0" lang="en-US" sz="1600" b="0" i="0" u="none" strike="noStrike" kern="1200" cap="none" spc="0" normalizeH="0" baseline="0" noProof="0">
                <a:ln>
                  <a:noFill/>
                </a:ln>
                <a:solidFill>
                  <a:srgbClr val="0B87DE"/>
                </a:solidFill>
                <a:effectLst/>
                <a:uLnTx/>
                <a:uFillTx/>
                <a:latin typeface="Segoe UI Semibold"/>
                <a:ea typeface="+mn-ea"/>
                <a:cs typeface="+mn-cs"/>
                <a:hlinkClick r:id="rId3">
                  <a:extLst>
                    <a:ext uri="{A12FA001-AC4F-418D-AE19-62706E023703}">
                      <ahyp:hlinkClr xmlns:ahyp="http://schemas.microsoft.com/office/drawing/2018/hyperlinkcolor" val="tx"/>
                    </a:ext>
                  </a:extLst>
                </a:hlinkClick>
              </a:rPr>
              <a:t>adoption.microsoft.com/copilot</a:t>
            </a:r>
            <a:endParaRPr kumimoji="0" lang="en-US" sz="1600" b="0" i="0" u="none" strike="noStrike" kern="1200" cap="none" spc="0" normalizeH="0" baseline="0" noProof="0">
              <a:ln>
                <a:noFill/>
              </a:ln>
              <a:solidFill>
                <a:srgbClr val="0B87DE"/>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a:ea typeface="+mn-ea"/>
                <a:cs typeface="+mn-cs"/>
              </a:rPr>
              <a:t>Enablement and usage guidance for Microsoft Copilot.</a:t>
            </a:r>
          </a:p>
        </p:txBody>
      </p:sp>
      <p:cxnSp>
        <p:nvCxnSpPr>
          <p:cNvPr id="3" name="Straight Connector 2">
            <a:extLst>
              <a:ext uri="{FF2B5EF4-FFF2-40B4-BE49-F238E27FC236}">
                <a16:creationId xmlns:a16="http://schemas.microsoft.com/office/drawing/2014/main" id="{4E704DA9-DDE3-5F1C-DEBF-B779C8516A3B}"/>
              </a:ext>
              <a:ext uri="{C183D7F6-B498-43B3-948B-1728B52AA6E4}">
                <adec:decorative xmlns:adec="http://schemas.microsoft.com/office/drawing/2017/decorative" val="1"/>
              </a:ext>
            </a:extLst>
          </p:cNvPr>
          <p:cNvCxnSpPr/>
          <p:nvPr/>
        </p:nvCxnSpPr>
        <p:spPr>
          <a:xfrm>
            <a:off x="1000125" y="4029075"/>
            <a:ext cx="3929063" cy="0"/>
          </a:xfrm>
          <a:prstGeom prst="line">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8" name="Graphic 86" descr="Icon of a person with a callout ">
            <a:extLst>
              <a:ext uri="{FF2B5EF4-FFF2-40B4-BE49-F238E27FC236}">
                <a16:creationId xmlns:a16="http://schemas.microsoft.com/office/drawing/2014/main" id="{9C9F9175-81F4-1CDF-E3A1-CC9A44E1D244}"/>
              </a:ext>
            </a:extLst>
          </p:cNvPr>
          <p:cNvSpPr/>
          <p:nvPr/>
        </p:nvSpPr>
        <p:spPr>
          <a:xfrm>
            <a:off x="1080395" y="4343486"/>
            <a:ext cx="565220" cy="537208"/>
          </a:xfrm>
          <a:custGeom>
            <a:avLst/>
            <a:gdLst>
              <a:gd name="connsiteX0" fmla="*/ 118070 w 269875"/>
              <a:gd name="connsiteY0" fmla="*/ 161925 h 256502"/>
              <a:gd name="connsiteX1" fmla="*/ 148431 w 269875"/>
              <a:gd name="connsiteY1" fmla="*/ 192286 h 256502"/>
              <a:gd name="connsiteX2" fmla="*/ 148431 w 269875"/>
              <a:gd name="connsiteY2" fmla="*/ 212554 h 256502"/>
              <a:gd name="connsiteX3" fmla="*/ 148323 w 269875"/>
              <a:gd name="connsiteY3" fmla="*/ 214011 h 256502"/>
              <a:gd name="connsiteX4" fmla="*/ 75120 w 269875"/>
              <a:gd name="connsiteY4" fmla="*/ 256503 h 256502"/>
              <a:gd name="connsiteX5" fmla="*/ 189 w 269875"/>
              <a:gd name="connsiteY5" fmla="*/ 214510 h 256502"/>
              <a:gd name="connsiteX6" fmla="*/ 0 w 269875"/>
              <a:gd name="connsiteY6" fmla="*/ 212527 h 256502"/>
              <a:gd name="connsiteX7" fmla="*/ 0 w 269875"/>
              <a:gd name="connsiteY7" fmla="*/ 192286 h 256502"/>
              <a:gd name="connsiteX8" fmla="*/ 30361 w 269875"/>
              <a:gd name="connsiteY8" fmla="*/ 161925 h 256502"/>
              <a:gd name="connsiteX9" fmla="*/ 118070 w 269875"/>
              <a:gd name="connsiteY9" fmla="*/ 161925 h 256502"/>
              <a:gd name="connsiteX10" fmla="*/ 118070 w 269875"/>
              <a:gd name="connsiteY10" fmla="*/ 182166 h 256502"/>
              <a:gd name="connsiteX11" fmla="*/ 30361 w 269875"/>
              <a:gd name="connsiteY11" fmla="*/ 182166 h 256502"/>
              <a:gd name="connsiteX12" fmla="*/ 20241 w 269875"/>
              <a:gd name="connsiteY12" fmla="*/ 192286 h 256502"/>
              <a:gd name="connsiteX13" fmla="*/ 20241 w 269875"/>
              <a:gd name="connsiteY13" fmla="*/ 211447 h 256502"/>
              <a:gd name="connsiteX14" fmla="*/ 75120 w 269875"/>
              <a:gd name="connsiteY14" fmla="*/ 236262 h 256502"/>
              <a:gd name="connsiteX15" fmla="*/ 128191 w 269875"/>
              <a:gd name="connsiteY15" fmla="*/ 211757 h 256502"/>
              <a:gd name="connsiteX16" fmla="*/ 128191 w 269875"/>
              <a:gd name="connsiteY16" fmla="*/ 192286 h 256502"/>
              <a:gd name="connsiteX17" fmla="*/ 118070 w 269875"/>
              <a:gd name="connsiteY17" fmla="*/ 182166 h 256502"/>
              <a:gd name="connsiteX18" fmla="*/ 74216 w 269875"/>
              <a:gd name="connsiteY18" fmla="*/ 53975 h 256502"/>
              <a:gd name="connsiteX19" fmla="*/ 121444 w 269875"/>
              <a:gd name="connsiteY19" fmla="*/ 101203 h 256502"/>
              <a:gd name="connsiteX20" fmla="*/ 74216 w 269875"/>
              <a:gd name="connsiteY20" fmla="*/ 148431 h 256502"/>
              <a:gd name="connsiteX21" fmla="*/ 26988 w 269875"/>
              <a:gd name="connsiteY21" fmla="*/ 101203 h 256502"/>
              <a:gd name="connsiteX22" fmla="*/ 74216 w 269875"/>
              <a:gd name="connsiteY22" fmla="*/ 53975 h 256502"/>
              <a:gd name="connsiteX23" fmla="*/ 239514 w 269875"/>
              <a:gd name="connsiteY23" fmla="*/ 0 h 256502"/>
              <a:gd name="connsiteX24" fmla="*/ 269875 w 269875"/>
              <a:gd name="connsiteY24" fmla="*/ 30361 h 256502"/>
              <a:gd name="connsiteX25" fmla="*/ 269875 w 269875"/>
              <a:gd name="connsiteY25" fmla="*/ 77589 h 256502"/>
              <a:gd name="connsiteX26" fmla="*/ 239514 w 269875"/>
              <a:gd name="connsiteY26" fmla="*/ 107950 h 256502"/>
              <a:gd name="connsiteX27" fmla="*/ 219881 w 269875"/>
              <a:gd name="connsiteY27" fmla="*/ 107950 h 256502"/>
              <a:gd name="connsiteX28" fmla="*/ 190653 w 269875"/>
              <a:gd name="connsiteY28" fmla="*/ 136840 h 256502"/>
              <a:gd name="connsiteX29" fmla="*/ 166800 w 269875"/>
              <a:gd name="connsiteY29" fmla="*/ 136709 h 256502"/>
              <a:gd name="connsiteX30" fmla="*/ 161925 w 269875"/>
              <a:gd name="connsiteY30" fmla="*/ 124858 h 256502"/>
              <a:gd name="connsiteX31" fmla="*/ 161925 w 269875"/>
              <a:gd name="connsiteY31" fmla="*/ 107761 h 256502"/>
              <a:gd name="connsiteX32" fmla="*/ 134938 w 269875"/>
              <a:gd name="connsiteY32" fmla="*/ 77589 h 256502"/>
              <a:gd name="connsiteX33" fmla="*/ 134938 w 269875"/>
              <a:gd name="connsiteY33" fmla="*/ 30361 h 256502"/>
              <a:gd name="connsiteX34" fmla="*/ 165298 w 269875"/>
              <a:gd name="connsiteY34" fmla="*/ 0 h 256502"/>
              <a:gd name="connsiteX35" fmla="*/ 239514 w 269875"/>
              <a:gd name="connsiteY35" fmla="*/ 0 h 256502"/>
              <a:gd name="connsiteX36" fmla="*/ 74216 w 269875"/>
              <a:gd name="connsiteY36" fmla="*/ 74216 h 256502"/>
              <a:gd name="connsiteX37" fmla="*/ 47228 w 269875"/>
              <a:gd name="connsiteY37" fmla="*/ 101203 h 256502"/>
              <a:gd name="connsiteX38" fmla="*/ 74216 w 269875"/>
              <a:gd name="connsiteY38" fmla="*/ 128191 h 256502"/>
              <a:gd name="connsiteX39" fmla="*/ 101203 w 269875"/>
              <a:gd name="connsiteY39" fmla="*/ 101203 h 256502"/>
              <a:gd name="connsiteX40" fmla="*/ 74216 w 269875"/>
              <a:gd name="connsiteY40" fmla="*/ 74216 h 256502"/>
              <a:gd name="connsiteX41" fmla="*/ 239514 w 269875"/>
              <a:gd name="connsiteY41" fmla="*/ 20241 h 256502"/>
              <a:gd name="connsiteX42" fmla="*/ 165298 w 269875"/>
              <a:gd name="connsiteY42" fmla="*/ 20241 h 256502"/>
              <a:gd name="connsiteX43" fmla="*/ 155178 w 269875"/>
              <a:gd name="connsiteY43" fmla="*/ 30361 h 256502"/>
              <a:gd name="connsiteX44" fmla="*/ 155178 w 269875"/>
              <a:gd name="connsiteY44" fmla="*/ 77589 h 256502"/>
              <a:gd name="connsiteX45" fmla="*/ 165298 w 269875"/>
              <a:gd name="connsiteY45" fmla="*/ 87709 h 256502"/>
              <a:gd name="connsiteX46" fmla="*/ 182152 w 269875"/>
              <a:gd name="connsiteY46" fmla="*/ 87709 h 256502"/>
              <a:gd name="connsiteX47" fmla="*/ 182152 w 269875"/>
              <a:gd name="connsiteY47" fmla="*/ 116775 h 256502"/>
              <a:gd name="connsiteX48" fmla="*/ 211582 w 269875"/>
              <a:gd name="connsiteY48" fmla="*/ 87709 h 256502"/>
              <a:gd name="connsiteX49" fmla="*/ 239528 w 269875"/>
              <a:gd name="connsiteY49" fmla="*/ 87709 h 256502"/>
              <a:gd name="connsiteX50" fmla="*/ 249648 w 269875"/>
              <a:gd name="connsiteY50" fmla="*/ 77589 h 256502"/>
              <a:gd name="connsiteX51" fmla="*/ 249648 w 269875"/>
              <a:gd name="connsiteY51" fmla="*/ 30361 h 256502"/>
              <a:gd name="connsiteX52" fmla="*/ 239528 w 269875"/>
              <a:gd name="connsiteY52" fmla="*/ 20241 h 25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69875" h="256502">
                <a:moveTo>
                  <a:pt x="118070" y="161925"/>
                </a:moveTo>
                <a:cubicBezTo>
                  <a:pt x="134838" y="161925"/>
                  <a:pt x="148431" y="175519"/>
                  <a:pt x="148431" y="192286"/>
                </a:cubicBezTo>
                <a:lnTo>
                  <a:pt x="148431" y="212554"/>
                </a:lnTo>
                <a:lnTo>
                  <a:pt x="148323" y="214011"/>
                </a:lnTo>
                <a:cubicBezTo>
                  <a:pt x="144140" y="242712"/>
                  <a:pt x="118367" y="256503"/>
                  <a:pt x="75120" y="256503"/>
                </a:cubicBezTo>
                <a:cubicBezTo>
                  <a:pt x="32034" y="256503"/>
                  <a:pt x="5843" y="242874"/>
                  <a:pt x="189" y="214510"/>
                </a:cubicBezTo>
                <a:lnTo>
                  <a:pt x="0" y="212527"/>
                </a:lnTo>
                <a:lnTo>
                  <a:pt x="0" y="192286"/>
                </a:lnTo>
                <a:cubicBezTo>
                  <a:pt x="0" y="175519"/>
                  <a:pt x="13593" y="161925"/>
                  <a:pt x="30361" y="161925"/>
                </a:cubicBezTo>
                <a:lnTo>
                  <a:pt x="118070" y="161925"/>
                </a:lnTo>
                <a:close/>
                <a:moveTo>
                  <a:pt x="118070" y="182166"/>
                </a:moveTo>
                <a:lnTo>
                  <a:pt x="30361" y="182166"/>
                </a:lnTo>
                <a:cubicBezTo>
                  <a:pt x="24772" y="182166"/>
                  <a:pt x="20241" y="186697"/>
                  <a:pt x="20241" y="192286"/>
                </a:cubicBezTo>
                <a:lnTo>
                  <a:pt x="20241" y="211447"/>
                </a:lnTo>
                <a:cubicBezTo>
                  <a:pt x="24019" y="227640"/>
                  <a:pt x="41156" y="236262"/>
                  <a:pt x="75120" y="236262"/>
                </a:cubicBezTo>
                <a:cubicBezTo>
                  <a:pt x="109070" y="236262"/>
                  <a:pt x="125451" y="227748"/>
                  <a:pt x="128191" y="211757"/>
                </a:cubicBezTo>
                <a:lnTo>
                  <a:pt x="128191" y="192286"/>
                </a:lnTo>
                <a:cubicBezTo>
                  <a:pt x="128191" y="186697"/>
                  <a:pt x="123659" y="182166"/>
                  <a:pt x="118070" y="182166"/>
                </a:cubicBezTo>
                <a:close/>
                <a:moveTo>
                  <a:pt x="74216" y="53975"/>
                </a:moveTo>
                <a:cubicBezTo>
                  <a:pt x="100299" y="53975"/>
                  <a:pt x="121444" y="75120"/>
                  <a:pt x="121444" y="101203"/>
                </a:cubicBezTo>
                <a:cubicBezTo>
                  <a:pt x="121444" y="127287"/>
                  <a:pt x="100299" y="148431"/>
                  <a:pt x="74216" y="148431"/>
                </a:cubicBezTo>
                <a:cubicBezTo>
                  <a:pt x="48132" y="148431"/>
                  <a:pt x="26988" y="127287"/>
                  <a:pt x="26988" y="101203"/>
                </a:cubicBezTo>
                <a:cubicBezTo>
                  <a:pt x="26988" y="75120"/>
                  <a:pt x="48132" y="53975"/>
                  <a:pt x="74216" y="53975"/>
                </a:cubicBezTo>
                <a:close/>
                <a:moveTo>
                  <a:pt x="239514" y="0"/>
                </a:moveTo>
                <a:cubicBezTo>
                  <a:pt x="256281" y="0"/>
                  <a:pt x="269875" y="13593"/>
                  <a:pt x="269875" y="30361"/>
                </a:cubicBezTo>
                <a:lnTo>
                  <a:pt x="269875" y="77589"/>
                </a:lnTo>
                <a:cubicBezTo>
                  <a:pt x="269875" y="94357"/>
                  <a:pt x="256281" y="107950"/>
                  <a:pt x="239514" y="107950"/>
                </a:cubicBezTo>
                <a:lnTo>
                  <a:pt x="219881" y="107950"/>
                </a:lnTo>
                <a:lnTo>
                  <a:pt x="190653" y="136840"/>
                </a:lnTo>
                <a:cubicBezTo>
                  <a:pt x="184030" y="143391"/>
                  <a:pt x="173350" y="143332"/>
                  <a:pt x="166800" y="136709"/>
                </a:cubicBezTo>
                <a:cubicBezTo>
                  <a:pt x="163679" y="133553"/>
                  <a:pt x="161928" y="129296"/>
                  <a:pt x="161925" y="124858"/>
                </a:cubicBezTo>
                <a:lnTo>
                  <a:pt x="161925" y="107761"/>
                </a:lnTo>
                <a:cubicBezTo>
                  <a:pt x="146558" y="106043"/>
                  <a:pt x="134938" y="93051"/>
                  <a:pt x="134938" y="77589"/>
                </a:cubicBezTo>
                <a:lnTo>
                  <a:pt x="134938" y="30361"/>
                </a:lnTo>
                <a:cubicBezTo>
                  <a:pt x="134938" y="13593"/>
                  <a:pt x="148531" y="0"/>
                  <a:pt x="165298" y="0"/>
                </a:cubicBezTo>
                <a:lnTo>
                  <a:pt x="239514" y="0"/>
                </a:lnTo>
                <a:close/>
                <a:moveTo>
                  <a:pt x="74216" y="74216"/>
                </a:moveTo>
                <a:cubicBezTo>
                  <a:pt x="59311" y="74216"/>
                  <a:pt x="47228" y="86298"/>
                  <a:pt x="47228" y="101203"/>
                </a:cubicBezTo>
                <a:cubicBezTo>
                  <a:pt x="47228" y="116108"/>
                  <a:pt x="59311" y="128191"/>
                  <a:pt x="74216" y="128191"/>
                </a:cubicBezTo>
                <a:cubicBezTo>
                  <a:pt x="89120" y="128191"/>
                  <a:pt x="101203" y="116108"/>
                  <a:pt x="101203" y="101203"/>
                </a:cubicBezTo>
                <a:cubicBezTo>
                  <a:pt x="101203" y="86298"/>
                  <a:pt x="89120" y="74216"/>
                  <a:pt x="74216" y="74216"/>
                </a:cubicBezTo>
                <a:close/>
                <a:moveTo>
                  <a:pt x="239514" y="20241"/>
                </a:moveTo>
                <a:lnTo>
                  <a:pt x="165298" y="20241"/>
                </a:lnTo>
                <a:cubicBezTo>
                  <a:pt x="159709" y="20241"/>
                  <a:pt x="155178" y="24772"/>
                  <a:pt x="155178" y="30361"/>
                </a:cubicBezTo>
                <a:lnTo>
                  <a:pt x="155178" y="77589"/>
                </a:lnTo>
                <a:cubicBezTo>
                  <a:pt x="155178" y="83175"/>
                  <a:pt x="159712" y="87709"/>
                  <a:pt x="165298" y="87709"/>
                </a:cubicBezTo>
                <a:lnTo>
                  <a:pt x="182152" y="87709"/>
                </a:lnTo>
                <a:lnTo>
                  <a:pt x="182152" y="116775"/>
                </a:lnTo>
                <a:lnTo>
                  <a:pt x="211582" y="87709"/>
                </a:lnTo>
                <a:lnTo>
                  <a:pt x="239528" y="87709"/>
                </a:lnTo>
                <a:cubicBezTo>
                  <a:pt x="245117" y="87709"/>
                  <a:pt x="249648" y="83178"/>
                  <a:pt x="249648" y="77589"/>
                </a:cubicBezTo>
                <a:lnTo>
                  <a:pt x="249648" y="30361"/>
                </a:lnTo>
                <a:cubicBezTo>
                  <a:pt x="249648" y="24772"/>
                  <a:pt x="245117" y="20241"/>
                  <a:pt x="239528" y="20241"/>
                </a:cubicBezTo>
                <a:close/>
              </a:path>
            </a:pathLst>
          </a:custGeom>
          <a:gradFill flip="none" rotWithShape="1">
            <a:gsLst>
              <a:gs pos="0">
                <a:srgbClr val="C03BC4"/>
              </a:gs>
              <a:gs pos="80000">
                <a:srgbClr val="0078D4"/>
              </a:gs>
            </a:gsLst>
            <a:path path="circle">
              <a:fillToRect l="100000" t="100000"/>
            </a:path>
            <a:tileRect r="-100000" b="-100000"/>
          </a:gradFill>
          <a:effectLst/>
        </p:spPr>
        <p:txBody>
          <a:bodyPr wrap="square" lIns="0" tIns="0" rIns="0" bIns="0" rtlCol="0" anchor="ctr" anchorCtr="0">
            <a:noAutofit/>
          </a:bodyPr>
          <a:lstStyle/>
          <a:p>
            <a:pPr algn="ctr" fontAlgn="base">
              <a:spcBef>
                <a:spcPct val="0"/>
              </a:spcBef>
              <a:spcAft>
                <a:spcPts val="1200"/>
              </a:spcAft>
              <a:buSzPct val="90000"/>
            </a:pPr>
            <a:endParaRPr lang="en-US" sz="1400" b="1">
              <a:solidFill>
                <a:schemeClr val="bg1"/>
              </a:solidFill>
            </a:endParaRPr>
          </a:p>
        </p:txBody>
      </p:sp>
      <p:sp>
        <p:nvSpPr>
          <p:cNvPr id="16" name="TextBox 15">
            <a:extLst>
              <a:ext uri="{FF2B5EF4-FFF2-40B4-BE49-F238E27FC236}">
                <a16:creationId xmlns:a16="http://schemas.microsoft.com/office/drawing/2014/main" id="{1389F194-5B8E-E97D-AF3B-33478F19646D}"/>
              </a:ext>
            </a:extLst>
          </p:cNvPr>
          <p:cNvSpPr txBox="1"/>
          <p:nvPr/>
        </p:nvSpPr>
        <p:spPr>
          <a:xfrm>
            <a:off x="1080396" y="5094539"/>
            <a:ext cx="3208070" cy="664797"/>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a:ea typeface="+mn-ea"/>
                <a:cs typeface="+mn-cs"/>
              </a:rPr>
              <a:t>Ask questions and get answers in our community </a:t>
            </a:r>
            <a:r>
              <a:rPr kumimoji="0" lang="en-US" sz="1600" b="0" i="0" u="none" strike="noStrike" kern="1200" cap="none" spc="0" normalizeH="0" baseline="0" noProof="0">
                <a:ln>
                  <a:noFill/>
                </a:ln>
                <a:solidFill>
                  <a:srgbClr val="0B87DE"/>
                </a:solidFill>
                <a:effectLst/>
                <a:uLnTx/>
                <a:uFillTx/>
                <a:latin typeface="Segoe UI Semibold"/>
                <a:ea typeface="+mn-ea"/>
                <a:cs typeface="+mn-cs"/>
                <a:hlinkClick r:id="rId4">
                  <a:extLst>
                    <a:ext uri="{A12FA001-AC4F-418D-AE19-62706E023703}">
                      <ahyp:hlinkClr xmlns:ahyp="http://schemas.microsoft.com/office/drawing/2018/hyperlinkcolor" val="tx"/>
                    </a:ext>
                  </a:extLst>
                </a:hlinkClick>
              </a:rPr>
              <a:t>aka.ms/M365CopilotCommunity</a:t>
            </a:r>
            <a:endParaRPr kumimoji="0" lang="en-US" sz="1600" b="0" i="0" u="none" strike="noStrike" kern="1200" cap="none" spc="0" normalizeH="0" baseline="0" noProof="0">
              <a:ln>
                <a:noFill/>
              </a:ln>
              <a:solidFill>
                <a:srgbClr val="0B87DE"/>
              </a:solidFill>
              <a:effectLst/>
              <a:uLnTx/>
              <a:uFillTx/>
              <a:latin typeface="Segoe UI Semibold"/>
              <a:ea typeface="+mn-ea"/>
              <a:cs typeface="+mn-cs"/>
            </a:endParaRPr>
          </a:p>
        </p:txBody>
      </p:sp>
      <p:pic>
        <p:nvPicPr>
          <p:cNvPr id="4" name="Picture 3" descr="Screenshot of the Microsoft 365 Copilot enablement hub on adoption.microsoft.com&#10;">
            <a:extLst>
              <a:ext uri="{FF2B5EF4-FFF2-40B4-BE49-F238E27FC236}">
                <a16:creationId xmlns:a16="http://schemas.microsoft.com/office/drawing/2014/main" id="{3145B3D3-E0B4-7720-CC74-5C61A36A7C73}"/>
              </a:ext>
            </a:extLst>
          </p:cNvPr>
          <p:cNvPicPr>
            <a:picLocks noChangeAspect="1"/>
          </p:cNvPicPr>
          <p:nvPr/>
        </p:nvPicPr>
        <p:blipFill>
          <a:blip r:embed="rId5"/>
          <a:stretch>
            <a:fillRect/>
          </a:stretch>
        </p:blipFill>
        <p:spPr>
          <a:xfrm>
            <a:off x="5742420" y="1827708"/>
            <a:ext cx="4607234" cy="2060184"/>
          </a:xfrm>
          <a:prstGeom prst="roundRect">
            <a:avLst>
              <a:gd name="adj" fmla="val 4041"/>
            </a:avLst>
          </a:prstGeom>
          <a:ln>
            <a:solidFill>
              <a:schemeClr val="bg1">
                <a:lumMod val="85000"/>
              </a:schemeClr>
            </a:solidFill>
          </a:ln>
          <a:effectLst/>
        </p:spPr>
      </p:pic>
      <p:pic>
        <p:nvPicPr>
          <p:cNvPr id="6" name="Picture 5" descr="Screen shot of the Microsoft 365 Copilot community home page.">
            <a:extLst>
              <a:ext uri="{FF2B5EF4-FFF2-40B4-BE49-F238E27FC236}">
                <a16:creationId xmlns:a16="http://schemas.microsoft.com/office/drawing/2014/main" id="{D7828FFC-A5D9-864D-DFC1-9200D899414B}"/>
              </a:ext>
            </a:extLst>
          </p:cNvPr>
          <p:cNvPicPr>
            <a:picLocks noChangeAspect="1"/>
          </p:cNvPicPr>
          <p:nvPr/>
        </p:nvPicPr>
        <p:blipFill>
          <a:blip r:embed="rId6"/>
          <a:srcRect t="18797" b="9819"/>
          <a:stretch/>
        </p:blipFill>
        <p:spPr>
          <a:xfrm>
            <a:off x="5745348" y="4160178"/>
            <a:ext cx="4604471" cy="1868722"/>
          </a:xfrm>
          <a:prstGeom prst="roundRect">
            <a:avLst>
              <a:gd name="adj" fmla="val 5989"/>
            </a:avLst>
          </a:prstGeom>
          <a:ln>
            <a:solidFill>
              <a:schemeClr val="bg1">
                <a:lumMod val="85000"/>
              </a:schemeClr>
            </a:solidFill>
          </a:ln>
          <a:effectLst/>
        </p:spPr>
      </p:pic>
    </p:spTree>
    <p:extLst>
      <p:ext uri="{BB962C8B-B14F-4D97-AF65-F5344CB8AC3E}">
        <p14:creationId xmlns:p14="http://schemas.microsoft.com/office/powerpoint/2010/main" val="2902050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42" presetClass="path" presetSubtype="0" decel="100000" fill="hold" grpId="1" nodeType="withEffect">
                                  <p:stCondLst>
                                    <p:cond delay="0"/>
                                  </p:stCondLst>
                                  <p:childTnLst>
                                    <p:animMotion origin="layout" path="M 2.08333E-7 2.22222E-6 L 2.08333E-7 0.03541 " pathEditMode="relative" rAng="0" ptsTypes="AA">
                                      <p:cBhvr>
                                        <p:cTn id="9" dur="700" spd="-100000" fill="hold"/>
                                        <p:tgtEl>
                                          <p:spTgt spid="19"/>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42" presetClass="path" presetSubtype="0" decel="100000" fill="hold" grpId="1" nodeType="withEffect">
                                  <p:stCondLst>
                                    <p:cond delay="0"/>
                                  </p:stCondLst>
                                  <p:childTnLst>
                                    <p:animMotion origin="layout" path="M 4.16667E-6 -1.85185E-6 L 4.16667E-6 0.03542 " pathEditMode="relative" rAng="0" ptsTypes="AA">
                                      <p:cBhvr>
                                        <p:cTn id="14" dur="700" spd="-100000" fill="hold"/>
                                        <p:tgtEl>
                                          <p:spTgt spid="17"/>
                                        </p:tgtEl>
                                        <p:attrNameLst>
                                          <p:attrName>ppt_x</p:attrName>
                                          <p:attrName>ppt_y</p:attrName>
                                        </p:attrNameLst>
                                      </p:cBhvr>
                                      <p:rCtr x="0" y="1759"/>
                                    </p:animMotion>
                                  </p:childTnLst>
                                </p:cTn>
                              </p:par>
                              <p:par>
                                <p:cTn id="15" presetID="10" presetClass="entr" presetSubtype="0" fill="hold" grpId="0" nodeType="withEffect">
                                  <p:stCondLst>
                                    <p:cond delay="25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grpId="1" nodeType="withEffect">
                                  <p:stCondLst>
                                    <p:cond delay="250"/>
                                  </p:stCondLst>
                                  <p:childTnLst>
                                    <p:animMotion origin="layout" path="M 1.04167E-6 -3.7037E-6 L 1.04167E-6 0.03542 " pathEditMode="relative" rAng="0" ptsTypes="AA">
                                      <p:cBhvr>
                                        <p:cTn id="19" dur="700" spd="-100000" fill="hold"/>
                                        <p:tgtEl>
                                          <p:spTgt spid="18"/>
                                        </p:tgtEl>
                                        <p:attrNameLst>
                                          <p:attrName>ppt_x</p:attrName>
                                          <p:attrName>ppt_y</p:attrName>
                                        </p:attrNameLst>
                                      </p:cBhvr>
                                      <p:rCtr x="0" y="1759"/>
                                    </p:animMotion>
                                  </p:childTnLst>
                                </p:cTn>
                              </p:par>
                              <p:par>
                                <p:cTn id="20" presetID="10" presetClass="entr" presetSubtype="0" fill="hold" grpId="0" nodeType="withEffect">
                                  <p:stCondLst>
                                    <p:cond delay="25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par>
                                <p:cTn id="23" presetID="42" presetClass="path" presetSubtype="0" decel="100000" fill="hold" grpId="1" nodeType="withEffect">
                                  <p:stCondLst>
                                    <p:cond delay="250"/>
                                  </p:stCondLst>
                                  <p:childTnLst>
                                    <p:animMotion origin="layout" path="M -2.29167E-6 -3.7037E-6 L -2.29167E-6 0.03542 " pathEditMode="relative" rAng="0" ptsTypes="AA">
                                      <p:cBhvr>
                                        <p:cTn id="24" dur="700" spd="-100000" fill="hold"/>
                                        <p:tgtEl>
                                          <p:spTgt spid="16"/>
                                        </p:tgtEl>
                                        <p:attrNameLst>
                                          <p:attrName>ppt_x</p:attrName>
                                          <p:attrName>ppt_y</p:attrName>
                                        </p:attrNameLst>
                                      </p:cBhvr>
                                      <p:rCtr x="0" y="1759"/>
                                    </p:animMotion>
                                  </p:childTnLst>
                                </p:cTn>
                              </p:par>
                              <p:par>
                                <p:cTn id="25" presetID="10" presetClass="entr" presetSubtype="0" fill="hold" nodeType="withEffect">
                                  <p:stCondLst>
                                    <p:cond delay="25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par>
                                <p:cTn id="28" presetID="42" presetClass="path" presetSubtype="0" decel="100000" fill="hold" nodeType="withEffect">
                                  <p:stCondLst>
                                    <p:cond delay="250"/>
                                  </p:stCondLst>
                                  <p:childTnLst>
                                    <p:animMotion origin="layout" path="M 1.04167E-6 -3.7037E-6 L 1.04167E-6 0.03542 " pathEditMode="relative" rAng="0" ptsTypes="AA">
                                      <p:cBhvr>
                                        <p:cTn id="29" dur="700" spd="-100000" fill="hold"/>
                                        <p:tgtEl>
                                          <p:spTgt spid="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P spid="17" grpId="0"/>
      <p:bldP spid="17" grpId="1"/>
      <p:bldP spid="18" grpId="0" animBg="1"/>
      <p:bldP spid="18" grpId="1" animBg="1"/>
      <p:bldP spid="16" grpId="0"/>
      <p:bldP spid="16"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6CF670-CCE2-5919-7732-B397C1E255EA}"/>
              </a:ext>
            </a:extLst>
          </p:cNvPr>
          <p:cNvSpPr>
            <a:spLocks noGrp="1"/>
          </p:cNvSpPr>
          <p:nvPr>
            <p:ph type="title"/>
          </p:nvPr>
        </p:nvSpPr>
        <p:spPr>
          <a:xfrm>
            <a:off x="402336" y="365126"/>
            <a:ext cx="11448288" cy="822065"/>
          </a:xfrm>
        </p:spPr>
        <p:txBody>
          <a:bodyPr>
            <a:normAutofit/>
          </a:bodyPr>
          <a:lstStyle/>
          <a:p>
            <a:r>
              <a:rPr lang="en-US" sz="3600"/>
              <a:t>AI transformation with Copilot is happening </a:t>
            </a:r>
            <a:r>
              <a:rPr lang="en-US" sz="3600">
                <a:gradFill>
                  <a:gsLst>
                    <a:gs pos="2000">
                      <a:srgbClr val="0179D4"/>
                    </a:gs>
                    <a:gs pos="32000">
                      <a:srgbClr val="2CB6FF"/>
                    </a:gs>
                    <a:gs pos="44000">
                      <a:srgbClr val="2DB6FF"/>
                    </a:gs>
                    <a:gs pos="81000">
                      <a:srgbClr val="D962FA"/>
                    </a:gs>
                    <a:gs pos="96000">
                      <a:srgbClr val="F69991"/>
                    </a:gs>
                  </a:gsLst>
                  <a:lin ang="3600000" scaled="0"/>
                </a:gradFill>
              </a:rPr>
              <a:t>now</a:t>
            </a:r>
            <a:endParaRPr lang="en-US" sz="3600"/>
          </a:p>
        </p:txBody>
      </p:sp>
      <p:grpSp>
        <p:nvGrpSpPr>
          <p:cNvPr id="8" name="Group 7">
            <a:extLst>
              <a:ext uri="{FF2B5EF4-FFF2-40B4-BE49-F238E27FC236}">
                <a16:creationId xmlns:a16="http://schemas.microsoft.com/office/drawing/2014/main" id="{713E01D8-E55F-8F8F-5CF3-862D73F78787}"/>
              </a:ext>
            </a:extLst>
          </p:cNvPr>
          <p:cNvGrpSpPr/>
          <p:nvPr/>
        </p:nvGrpSpPr>
        <p:grpSpPr>
          <a:xfrm>
            <a:off x="1693119" y="1421512"/>
            <a:ext cx="3550496" cy="2388863"/>
            <a:chOff x="1236663" y="1333833"/>
            <a:chExt cx="3550496" cy="2388863"/>
          </a:xfrm>
        </p:grpSpPr>
        <p:grpSp>
          <p:nvGrpSpPr>
            <p:cNvPr id="9" name="Group 8">
              <a:extLst>
                <a:ext uri="{FF2B5EF4-FFF2-40B4-BE49-F238E27FC236}">
                  <a16:creationId xmlns:a16="http://schemas.microsoft.com/office/drawing/2014/main" id="{FB5DB28D-B36E-0FE8-07D3-FE8CA327FB20}"/>
                </a:ext>
              </a:extLst>
            </p:cNvPr>
            <p:cNvGrpSpPr/>
            <p:nvPr/>
          </p:nvGrpSpPr>
          <p:grpSpPr>
            <a:xfrm>
              <a:off x="1236663" y="1333833"/>
              <a:ext cx="3550496" cy="2388863"/>
              <a:chOff x="588963" y="1308433"/>
              <a:chExt cx="3550496" cy="2388863"/>
            </a:xfrm>
          </p:grpSpPr>
          <p:sp>
            <p:nvSpPr>
              <p:cNvPr id="11" name="Rectangle: Rounded Corners 10">
                <a:extLst>
                  <a:ext uri="{FF2B5EF4-FFF2-40B4-BE49-F238E27FC236}">
                    <a16:creationId xmlns:a16="http://schemas.microsoft.com/office/drawing/2014/main" id="{D659CE25-BCA7-C406-E212-C94815DA8578}"/>
                  </a:ext>
                  <a:ext uri="{C183D7F6-B498-43B3-948B-1728B52AA6E4}">
                    <adec:decorative xmlns:adec="http://schemas.microsoft.com/office/drawing/2017/decorative" val="1"/>
                  </a:ext>
                </a:extLst>
              </p:cNvPr>
              <p:cNvSpPr>
                <a:spLocks/>
              </p:cNvSpPr>
              <p:nvPr/>
            </p:nvSpPr>
            <p:spPr bwMode="auto">
              <a:xfrm>
                <a:off x="588963" y="1308433"/>
                <a:ext cx="3550496" cy="2388863"/>
              </a:xfrm>
              <a:prstGeom prst="roundRect">
                <a:avLst>
                  <a:gd name="adj" fmla="val 5500"/>
                </a:avLst>
              </a:prstGeom>
              <a:solidFill>
                <a:schemeClr val="bg1"/>
              </a:solidFill>
              <a:ln w="12700" cap="rnd">
                <a:solidFill>
                  <a:schemeClr val="bg1">
                    <a:lumMod val="7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Variable Small Semibol" pitchFamily="2" charset="0"/>
                  <a:ea typeface="+mn-ea"/>
                  <a:cs typeface="+mn-cs"/>
                </a:endParaRPr>
              </a:p>
            </p:txBody>
          </p:sp>
          <p:sp>
            <p:nvSpPr>
              <p:cNvPr id="12" name="Rectangle: Top Corners Rounded 11">
                <a:extLst>
                  <a:ext uri="{FF2B5EF4-FFF2-40B4-BE49-F238E27FC236}">
                    <a16:creationId xmlns:a16="http://schemas.microsoft.com/office/drawing/2014/main" id="{C9E30DDF-B03D-7FFF-F23F-6F98EF43F74B}"/>
                  </a:ext>
                  <a:ext uri="{C183D7F6-B498-43B3-948B-1728B52AA6E4}">
                    <adec:decorative xmlns:adec="http://schemas.microsoft.com/office/drawing/2017/decorative" val="0"/>
                  </a:ext>
                </a:extLst>
              </p:cNvPr>
              <p:cNvSpPr>
                <a:spLocks/>
              </p:cNvSpPr>
              <p:nvPr/>
            </p:nvSpPr>
            <p:spPr bwMode="auto">
              <a:xfrm>
                <a:off x="600075" y="2861551"/>
                <a:ext cx="3529584" cy="827014"/>
              </a:xfrm>
              <a:prstGeom prst="round2SameRect">
                <a:avLst>
                  <a:gd name="adj1" fmla="val 0"/>
                  <a:gd name="adj2" fmla="val 1727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tx1"/>
                    </a:solidFill>
                    <a:latin typeface="Segoe UI"/>
                    <a:cs typeface="Segoe UI" pitchFamily="34" charset="0"/>
                  </a:rPr>
                  <a:t>of knowledge workers already using AI at work (doubled in the past 6 months)¹ </a:t>
                </a:r>
              </a:p>
            </p:txBody>
          </p:sp>
        </p:grpSp>
        <p:sp>
          <p:nvSpPr>
            <p:cNvPr id="10" name="TextBox 9">
              <a:extLst>
                <a:ext uri="{FF2B5EF4-FFF2-40B4-BE49-F238E27FC236}">
                  <a16:creationId xmlns:a16="http://schemas.microsoft.com/office/drawing/2014/main" id="{6FB75360-A44D-D097-EFB3-92585B196232}"/>
                </a:ext>
              </a:extLst>
            </p:cNvPr>
            <p:cNvSpPr txBox="1"/>
            <p:nvPr/>
          </p:nvSpPr>
          <p:spPr>
            <a:xfrm>
              <a:off x="2246477" y="1595247"/>
              <a:ext cx="1530868" cy="110799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200" b="1" spc="-50">
                  <a:ln w="3175">
                    <a:noFill/>
                  </a:ln>
                  <a:gradFill>
                    <a:gsLst>
                      <a:gs pos="2000">
                        <a:srgbClr val="0179D4"/>
                      </a:gs>
                      <a:gs pos="32000">
                        <a:srgbClr val="2CB6FF"/>
                      </a:gs>
                      <a:gs pos="44000">
                        <a:srgbClr val="2DB6FF"/>
                      </a:gs>
                      <a:gs pos="81000">
                        <a:srgbClr val="D962FA"/>
                      </a:gs>
                      <a:gs pos="96000">
                        <a:srgbClr val="F69991"/>
                      </a:gs>
                    </a:gsLst>
                    <a:lin ang="3600000" scaled="0"/>
                  </a:gradFill>
                  <a:latin typeface="Segoe UI" panose="020B0502040204020203" pitchFamily="34" charset="0"/>
                  <a:cs typeface="Segoe UI" panose="020B0502040204020203" pitchFamily="34" charset="0"/>
                </a:rPr>
                <a:t>75</a:t>
              </a:r>
              <a:r>
                <a:rPr lang="en-US" sz="4400" b="1" spc="-50">
                  <a:ln w="3175">
                    <a:noFill/>
                  </a:ln>
                  <a:gradFill>
                    <a:gsLst>
                      <a:gs pos="2000">
                        <a:srgbClr val="0179D4"/>
                      </a:gs>
                      <a:gs pos="32000">
                        <a:srgbClr val="2CB6FF"/>
                      </a:gs>
                      <a:gs pos="44000">
                        <a:srgbClr val="2DB6FF"/>
                      </a:gs>
                      <a:gs pos="81000">
                        <a:srgbClr val="D962FA"/>
                      </a:gs>
                      <a:gs pos="96000">
                        <a:srgbClr val="F69991"/>
                      </a:gs>
                    </a:gsLst>
                    <a:lin ang="3600000" scaled="0"/>
                  </a:gradFill>
                  <a:latin typeface="Segoe UI" panose="020B0502040204020203" pitchFamily="34" charset="0"/>
                  <a:cs typeface="Segoe UI" panose="020B0502040204020203" pitchFamily="34" charset="0"/>
                </a:rPr>
                <a:t>%</a:t>
              </a:r>
              <a:endParaRPr lang="en-US" sz="7200" b="1" spc="-50">
                <a:ln w="3175">
                  <a:noFill/>
                </a:ln>
                <a:gradFill>
                  <a:gsLst>
                    <a:gs pos="2000">
                      <a:srgbClr val="0179D4"/>
                    </a:gs>
                    <a:gs pos="32000">
                      <a:srgbClr val="2CB6FF"/>
                    </a:gs>
                    <a:gs pos="44000">
                      <a:srgbClr val="2DB6FF"/>
                    </a:gs>
                    <a:gs pos="81000">
                      <a:srgbClr val="D962FA"/>
                    </a:gs>
                    <a:gs pos="96000">
                      <a:srgbClr val="F69991"/>
                    </a:gs>
                  </a:gsLst>
                  <a:lin ang="3600000" scaled="0"/>
                </a:gradFill>
                <a:latin typeface="Segoe UI" panose="020B0502040204020203" pitchFamily="34" charset="0"/>
                <a:cs typeface="Segoe UI" panose="020B0502040204020203" pitchFamily="34" charset="0"/>
              </a:endParaRPr>
            </a:p>
          </p:txBody>
        </p:sp>
      </p:grpSp>
      <p:grpSp>
        <p:nvGrpSpPr>
          <p:cNvPr id="13" name="Group 12">
            <a:extLst>
              <a:ext uri="{FF2B5EF4-FFF2-40B4-BE49-F238E27FC236}">
                <a16:creationId xmlns:a16="http://schemas.microsoft.com/office/drawing/2014/main" id="{9B3B2747-65EF-A9E4-6291-B594ED56D8C3}"/>
              </a:ext>
            </a:extLst>
          </p:cNvPr>
          <p:cNvGrpSpPr/>
          <p:nvPr/>
        </p:nvGrpSpPr>
        <p:grpSpPr>
          <a:xfrm>
            <a:off x="6729984" y="1421512"/>
            <a:ext cx="3550496" cy="2388863"/>
            <a:chOff x="1236663" y="1333833"/>
            <a:chExt cx="3550496" cy="2388863"/>
          </a:xfrm>
        </p:grpSpPr>
        <p:grpSp>
          <p:nvGrpSpPr>
            <p:cNvPr id="14" name="Group 13">
              <a:extLst>
                <a:ext uri="{FF2B5EF4-FFF2-40B4-BE49-F238E27FC236}">
                  <a16:creationId xmlns:a16="http://schemas.microsoft.com/office/drawing/2014/main" id="{2C49D5E5-4D96-86AD-95B3-412E8FBB756F}"/>
                </a:ext>
              </a:extLst>
            </p:cNvPr>
            <p:cNvGrpSpPr/>
            <p:nvPr/>
          </p:nvGrpSpPr>
          <p:grpSpPr>
            <a:xfrm>
              <a:off x="1236663" y="1333833"/>
              <a:ext cx="3550496" cy="2388863"/>
              <a:chOff x="588963" y="1308433"/>
              <a:chExt cx="3550496" cy="2388863"/>
            </a:xfrm>
          </p:grpSpPr>
          <p:sp>
            <p:nvSpPr>
              <p:cNvPr id="16" name="Rectangle: Rounded Corners 15">
                <a:extLst>
                  <a:ext uri="{FF2B5EF4-FFF2-40B4-BE49-F238E27FC236}">
                    <a16:creationId xmlns:a16="http://schemas.microsoft.com/office/drawing/2014/main" id="{527CF293-4902-D9E1-DD05-25822FA4140C}"/>
                  </a:ext>
                  <a:ext uri="{C183D7F6-B498-43B3-948B-1728B52AA6E4}">
                    <adec:decorative xmlns:adec="http://schemas.microsoft.com/office/drawing/2017/decorative" val="1"/>
                  </a:ext>
                </a:extLst>
              </p:cNvPr>
              <p:cNvSpPr>
                <a:spLocks/>
              </p:cNvSpPr>
              <p:nvPr/>
            </p:nvSpPr>
            <p:spPr bwMode="auto">
              <a:xfrm>
                <a:off x="588963" y="1308433"/>
                <a:ext cx="3550496" cy="2388863"/>
              </a:xfrm>
              <a:prstGeom prst="roundRect">
                <a:avLst>
                  <a:gd name="adj" fmla="val 5500"/>
                </a:avLst>
              </a:prstGeom>
              <a:solidFill>
                <a:schemeClr val="bg1"/>
              </a:solidFill>
              <a:ln w="12700" cap="rnd">
                <a:solidFill>
                  <a:schemeClr val="bg1">
                    <a:lumMod val="7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Variable Small Semibol" pitchFamily="2" charset="0"/>
                  <a:ea typeface="+mn-ea"/>
                  <a:cs typeface="+mn-cs"/>
                </a:endParaRPr>
              </a:p>
            </p:txBody>
          </p:sp>
          <p:sp>
            <p:nvSpPr>
              <p:cNvPr id="17" name="Rectangle: Top Corners Rounded 16">
                <a:extLst>
                  <a:ext uri="{FF2B5EF4-FFF2-40B4-BE49-F238E27FC236}">
                    <a16:creationId xmlns:a16="http://schemas.microsoft.com/office/drawing/2014/main" id="{FC1964C5-1FD3-CA64-8B70-AA7E8113064F}"/>
                  </a:ext>
                  <a:ext uri="{C183D7F6-B498-43B3-948B-1728B52AA6E4}">
                    <adec:decorative xmlns:adec="http://schemas.microsoft.com/office/drawing/2017/decorative" val="0"/>
                  </a:ext>
                </a:extLst>
              </p:cNvPr>
              <p:cNvSpPr>
                <a:spLocks/>
              </p:cNvSpPr>
              <p:nvPr/>
            </p:nvSpPr>
            <p:spPr bwMode="auto">
              <a:xfrm>
                <a:off x="600075" y="2861551"/>
                <a:ext cx="3529584" cy="827014"/>
              </a:xfrm>
              <a:prstGeom prst="round2SameRect">
                <a:avLst>
                  <a:gd name="adj1" fmla="val 0"/>
                  <a:gd name="adj2" fmla="val 1727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saved a day, equating to 10 hours per month by Copilot users² </a:t>
                </a:r>
              </a:p>
            </p:txBody>
          </p:sp>
        </p:grpSp>
        <p:sp>
          <p:nvSpPr>
            <p:cNvPr id="15" name="TextBox 14">
              <a:extLst>
                <a:ext uri="{FF2B5EF4-FFF2-40B4-BE49-F238E27FC236}">
                  <a16:creationId xmlns:a16="http://schemas.microsoft.com/office/drawing/2014/main" id="{DF00AC08-DC5F-FDAC-0953-99ACA9B42578}"/>
                </a:ext>
              </a:extLst>
            </p:cNvPr>
            <p:cNvSpPr txBox="1"/>
            <p:nvPr/>
          </p:nvSpPr>
          <p:spPr>
            <a:xfrm>
              <a:off x="1988393" y="1595247"/>
              <a:ext cx="2047035" cy="110799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200" b="1" spc="-50">
                  <a:ln w="3175">
                    <a:noFill/>
                  </a:ln>
                  <a:gradFill>
                    <a:gsLst>
                      <a:gs pos="2000">
                        <a:srgbClr val="0179D4"/>
                      </a:gs>
                      <a:gs pos="32000">
                        <a:srgbClr val="2CB6FF"/>
                      </a:gs>
                      <a:gs pos="44000">
                        <a:srgbClr val="2DB6FF"/>
                      </a:gs>
                      <a:gs pos="81000">
                        <a:srgbClr val="D962FA"/>
                      </a:gs>
                      <a:gs pos="96000">
                        <a:srgbClr val="F69991"/>
                      </a:gs>
                    </a:gsLst>
                    <a:lin ang="3600000" scaled="0"/>
                  </a:gradFill>
                  <a:latin typeface="Segoe UI" panose="020B0502040204020203" pitchFamily="34" charset="0"/>
                  <a:cs typeface="Segoe UI" panose="020B0502040204020203" pitchFamily="34" charset="0"/>
                </a:rPr>
                <a:t>30</a:t>
              </a:r>
              <a:r>
                <a:rPr lang="en-US" sz="4400" b="1" spc="-50">
                  <a:ln w="3175">
                    <a:noFill/>
                  </a:ln>
                  <a:gradFill>
                    <a:gsLst>
                      <a:gs pos="2000">
                        <a:srgbClr val="0179D4"/>
                      </a:gs>
                      <a:gs pos="32000">
                        <a:srgbClr val="2CB6FF"/>
                      </a:gs>
                      <a:gs pos="44000">
                        <a:srgbClr val="2DB6FF"/>
                      </a:gs>
                      <a:gs pos="81000">
                        <a:srgbClr val="D962FA"/>
                      </a:gs>
                      <a:gs pos="96000">
                        <a:srgbClr val="F69991"/>
                      </a:gs>
                    </a:gsLst>
                    <a:lin ang="3600000" scaled="0"/>
                  </a:gradFill>
                  <a:latin typeface="Segoe UI" panose="020B0502040204020203" pitchFamily="34" charset="0"/>
                  <a:cs typeface="Segoe UI" panose="020B0502040204020203" pitchFamily="34" charset="0"/>
                </a:rPr>
                <a:t>min</a:t>
              </a:r>
            </a:p>
          </p:txBody>
        </p:sp>
      </p:grpSp>
      <p:grpSp>
        <p:nvGrpSpPr>
          <p:cNvPr id="18" name="Group 17">
            <a:extLst>
              <a:ext uri="{FF2B5EF4-FFF2-40B4-BE49-F238E27FC236}">
                <a16:creationId xmlns:a16="http://schemas.microsoft.com/office/drawing/2014/main" id="{1D2324B2-BF6A-84AA-40B4-7304C1209263}"/>
              </a:ext>
            </a:extLst>
          </p:cNvPr>
          <p:cNvGrpSpPr/>
          <p:nvPr/>
        </p:nvGrpSpPr>
        <p:grpSpPr>
          <a:xfrm>
            <a:off x="1693119" y="3985352"/>
            <a:ext cx="3550496" cy="2388863"/>
            <a:chOff x="1236663" y="1333833"/>
            <a:chExt cx="3550496" cy="2388863"/>
          </a:xfrm>
        </p:grpSpPr>
        <p:grpSp>
          <p:nvGrpSpPr>
            <p:cNvPr id="23" name="Group 22">
              <a:extLst>
                <a:ext uri="{FF2B5EF4-FFF2-40B4-BE49-F238E27FC236}">
                  <a16:creationId xmlns:a16="http://schemas.microsoft.com/office/drawing/2014/main" id="{562D0E87-7B6F-668F-6D90-78A8FBC1DD68}"/>
                </a:ext>
              </a:extLst>
            </p:cNvPr>
            <p:cNvGrpSpPr/>
            <p:nvPr/>
          </p:nvGrpSpPr>
          <p:grpSpPr>
            <a:xfrm>
              <a:off x="1236663" y="1333833"/>
              <a:ext cx="3550496" cy="2388863"/>
              <a:chOff x="588963" y="1308433"/>
              <a:chExt cx="3550496" cy="2388863"/>
            </a:xfrm>
          </p:grpSpPr>
          <p:sp>
            <p:nvSpPr>
              <p:cNvPr id="26" name="Rectangle: Rounded Corners 25">
                <a:extLst>
                  <a:ext uri="{FF2B5EF4-FFF2-40B4-BE49-F238E27FC236}">
                    <a16:creationId xmlns:a16="http://schemas.microsoft.com/office/drawing/2014/main" id="{061759C3-39A0-0D72-E97D-4F99A85C9E29}"/>
                  </a:ext>
                  <a:ext uri="{C183D7F6-B498-43B3-948B-1728B52AA6E4}">
                    <adec:decorative xmlns:adec="http://schemas.microsoft.com/office/drawing/2017/decorative" val="1"/>
                  </a:ext>
                </a:extLst>
              </p:cNvPr>
              <p:cNvSpPr>
                <a:spLocks/>
              </p:cNvSpPr>
              <p:nvPr/>
            </p:nvSpPr>
            <p:spPr bwMode="auto">
              <a:xfrm>
                <a:off x="588963" y="1308433"/>
                <a:ext cx="3550496" cy="2388863"/>
              </a:xfrm>
              <a:prstGeom prst="roundRect">
                <a:avLst>
                  <a:gd name="adj" fmla="val 5500"/>
                </a:avLst>
              </a:prstGeom>
              <a:solidFill>
                <a:schemeClr val="bg1"/>
              </a:solidFill>
              <a:ln w="12700" cap="rnd">
                <a:solidFill>
                  <a:schemeClr val="bg1">
                    <a:lumMod val="7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Variable Small Semibol" pitchFamily="2" charset="0"/>
                  <a:ea typeface="+mn-ea"/>
                  <a:cs typeface="+mn-cs"/>
                </a:endParaRPr>
              </a:p>
            </p:txBody>
          </p:sp>
          <p:sp>
            <p:nvSpPr>
              <p:cNvPr id="27" name="Rectangle: Top Corners Rounded 26">
                <a:extLst>
                  <a:ext uri="{FF2B5EF4-FFF2-40B4-BE49-F238E27FC236}">
                    <a16:creationId xmlns:a16="http://schemas.microsoft.com/office/drawing/2014/main" id="{8FE9BE9D-A844-5D07-708D-D4B38C4A39CC}"/>
                  </a:ext>
                  <a:ext uri="{C183D7F6-B498-43B3-948B-1728B52AA6E4}">
                    <adec:decorative xmlns:adec="http://schemas.microsoft.com/office/drawing/2017/decorative" val="0"/>
                  </a:ext>
                </a:extLst>
              </p:cNvPr>
              <p:cNvSpPr>
                <a:spLocks/>
              </p:cNvSpPr>
              <p:nvPr/>
            </p:nvSpPr>
            <p:spPr bwMode="auto">
              <a:xfrm>
                <a:off x="600075" y="2861551"/>
                <a:ext cx="3529584" cy="827014"/>
              </a:xfrm>
              <a:prstGeom prst="round2SameRect">
                <a:avLst>
                  <a:gd name="adj1" fmla="val 0"/>
                  <a:gd name="adj2" fmla="val 1727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of organizations using and deriving business value from gen-AI in 2024</a:t>
                </a:r>
                <a:r>
                  <a:rPr kumimoji="0" lang="en-US" sz="1400" b="0" i="0" u="none" strike="noStrike" kern="1200" cap="none" spc="0" normalizeH="0" baseline="30000" noProof="0">
                    <a:ln>
                      <a:noFill/>
                    </a:ln>
                    <a:solidFill>
                      <a:srgbClr val="000000"/>
                    </a:solidFill>
                    <a:effectLst/>
                    <a:uLnTx/>
                    <a:uFillTx/>
                    <a:latin typeface="Segoe UI" panose="020B0502040204020203" pitchFamily="34" charset="0"/>
                    <a:cs typeface="Segoe UI" panose="020B0502040204020203" pitchFamily="34" charset="0"/>
                  </a:rPr>
                  <a:t>3</a:t>
                </a:r>
              </a:p>
            </p:txBody>
          </p:sp>
        </p:grpSp>
        <p:sp>
          <p:nvSpPr>
            <p:cNvPr id="24" name="TextBox 23">
              <a:extLst>
                <a:ext uri="{FF2B5EF4-FFF2-40B4-BE49-F238E27FC236}">
                  <a16:creationId xmlns:a16="http://schemas.microsoft.com/office/drawing/2014/main" id="{337FF454-40CF-B11E-8FA0-AE304A7FFF4B}"/>
                </a:ext>
              </a:extLst>
            </p:cNvPr>
            <p:cNvSpPr txBox="1"/>
            <p:nvPr/>
          </p:nvSpPr>
          <p:spPr>
            <a:xfrm>
              <a:off x="2246477" y="1595247"/>
              <a:ext cx="1530868" cy="110799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200" b="1" spc="-50">
                  <a:ln w="3175">
                    <a:noFill/>
                  </a:ln>
                  <a:gradFill>
                    <a:gsLst>
                      <a:gs pos="2000">
                        <a:srgbClr val="0179D4"/>
                      </a:gs>
                      <a:gs pos="32000">
                        <a:srgbClr val="2CB6FF"/>
                      </a:gs>
                      <a:gs pos="44000">
                        <a:srgbClr val="2DB6FF"/>
                      </a:gs>
                      <a:gs pos="81000">
                        <a:srgbClr val="D962FA"/>
                      </a:gs>
                      <a:gs pos="96000">
                        <a:srgbClr val="F69991"/>
                      </a:gs>
                    </a:gsLst>
                    <a:lin ang="3600000" scaled="0"/>
                  </a:gradFill>
                  <a:latin typeface="Segoe UI" panose="020B0502040204020203" pitchFamily="34" charset="0"/>
                  <a:cs typeface="Segoe UI" panose="020B0502040204020203" pitchFamily="34" charset="0"/>
                </a:rPr>
                <a:t>65</a:t>
              </a:r>
              <a:r>
                <a:rPr lang="en-US" sz="4400" b="1" spc="-50">
                  <a:ln w="3175">
                    <a:noFill/>
                  </a:ln>
                  <a:gradFill>
                    <a:gsLst>
                      <a:gs pos="2000">
                        <a:srgbClr val="0179D4"/>
                      </a:gs>
                      <a:gs pos="32000">
                        <a:srgbClr val="2CB6FF"/>
                      </a:gs>
                      <a:gs pos="44000">
                        <a:srgbClr val="2DB6FF"/>
                      </a:gs>
                      <a:gs pos="81000">
                        <a:srgbClr val="D962FA"/>
                      </a:gs>
                      <a:gs pos="96000">
                        <a:srgbClr val="F69991"/>
                      </a:gs>
                    </a:gsLst>
                    <a:lin ang="3600000" scaled="0"/>
                  </a:gradFill>
                  <a:latin typeface="Segoe UI" panose="020B0502040204020203" pitchFamily="34" charset="0"/>
                  <a:cs typeface="Segoe UI" panose="020B0502040204020203" pitchFamily="34" charset="0"/>
                </a:rPr>
                <a:t>%</a:t>
              </a:r>
              <a:endParaRPr lang="en-US" sz="7200" b="1" spc="-50">
                <a:ln w="3175">
                  <a:noFill/>
                </a:ln>
                <a:gradFill>
                  <a:gsLst>
                    <a:gs pos="2000">
                      <a:srgbClr val="0179D4"/>
                    </a:gs>
                    <a:gs pos="32000">
                      <a:srgbClr val="2CB6FF"/>
                    </a:gs>
                    <a:gs pos="44000">
                      <a:srgbClr val="2DB6FF"/>
                    </a:gs>
                    <a:gs pos="81000">
                      <a:srgbClr val="D962FA"/>
                    </a:gs>
                    <a:gs pos="96000">
                      <a:srgbClr val="F69991"/>
                    </a:gs>
                  </a:gsLst>
                  <a:lin ang="3600000" scaled="0"/>
                </a:gradFill>
                <a:latin typeface="Segoe UI" panose="020B0502040204020203" pitchFamily="34" charset="0"/>
                <a:cs typeface="Segoe UI" panose="020B0502040204020203" pitchFamily="34" charset="0"/>
              </a:endParaRPr>
            </a:p>
          </p:txBody>
        </p:sp>
      </p:grpSp>
      <p:grpSp>
        <p:nvGrpSpPr>
          <p:cNvPr id="28" name="Group 27">
            <a:extLst>
              <a:ext uri="{FF2B5EF4-FFF2-40B4-BE49-F238E27FC236}">
                <a16:creationId xmlns:a16="http://schemas.microsoft.com/office/drawing/2014/main" id="{03AC10E5-7E8E-8DA1-ED6E-B02EE4169DBE}"/>
              </a:ext>
            </a:extLst>
          </p:cNvPr>
          <p:cNvGrpSpPr/>
          <p:nvPr/>
        </p:nvGrpSpPr>
        <p:grpSpPr>
          <a:xfrm>
            <a:off x="6741096" y="3994083"/>
            <a:ext cx="3550496" cy="2388863"/>
            <a:chOff x="1236663" y="1333833"/>
            <a:chExt cx="3550496" cy="2388863"/>
          </a:xfrm>
        </p:grpSpPr>
        <p:grpSp>
          <p:nvGrpSpPr>
            <p:cNvPr id="29" name="Group 28">
              <a:extLst>
                <a:ext uri="{FF2B5EF4-FFF2-40B4-BE49-F238E27FC236}">
                  <a16:creationId xmlns:a16="http://schemas.microsoft.com/office/drawing/2014/main" id="{76F7BF94-469A-30B0-F299-5DC4DAC8E524}"/>
                </a:ext>
              </a:extLst>
            </p:cNvPr>
            <p:cNvGrpSpPr/>
            <p:nvPr/>
          </p:nvGrpSpPr>
          <p:grpSpPr>
            <a:xfrm>
              <a:off x="1236663" y="1333833"/>
              <a:ext cx="3550496" cy="2388863"/>
              <a:chOff x="588963" y="1308433"/>
              <a:chExt cx="3550496" cy="2388863"/>
            </a:xfrm>
          </p:grpSpPr>
          <p:sp>
            <p:nvSpPr>
              <p:cNvPr id="32" name="Rectangle: Rounded Corners 31">
                <a:extLst>
                  <a:ext uri="{FF2B5EF4-FFF2-40B4-BE49-F238E27FC236}">
                    <a16:creationId xmlns:a16="http://schemas.microsoft.com/office/drawing/2014/main" id="{07C30803-5FAC-ACEE-2160-2D700A9949E2}"/>
                  </a:ext>
                  <a:ext uri="{C183D7F6-B498-43B3-948B-1728B52AA6E4}">
                    <adec:decorative xmlns:adec="http://schemas.microsoft.com/office/drawing/2017/decorative" val="1"/>
                  </a:ext>
                </a:extLst>
              </p:cNvPr>
              <p:cNvSpPr>
                <a:spLocks/>
              </p:cNvSpPr>
              <p:nvPr/>
            </p:nvSpPr>
            <p:spPr bwMode="auto">
              <a:xfrm>
                <a:off x="588963" y="1308433"/>
                <a:ext cx="3550496" cy="2388863"/>
              </a:xfrm>
              <a:prstGeom prst="roundRect">
                <a:avLst>
                  <a:gd name="adj" fmla="val 5500"/>
                </a:avLst>
              </a:prstGeom>
              <a:solidFill>
                <a:schemeClr val="bg1"/>
              </a:solidFill>
              <a:ln w="12700" cap="rnd">
                <a:solidFill>
                  <a:schemeClr val="bg1">
                    <a:lumMod val="7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Variable Small Semibol" pitchFamily="2" charset="0"/>
                  <a:ea typeface="+mn-ea"/>
                  <a:cs typeface="+mn-cs"/>
                </a:endParaRPr>
              </a:p>
            </p:txBody>
          </p:sp>
          <p:sp>
            <p:nvSpPr>
              <p:cNvPr id="34" name="Rectangle: Top Corners Rounded 33">
                <a:extLst>
                  <a:ext uri="{FF2B5EF4-FFF2-40B4-BE49-F238E27FC236}">
                    <a16:creationId xmlns:a16="http://schemas.microsoft.com/office/drawing/2014/main" id="{5B3EB6EB-7D88-C2BC-13C2-21A564DE3746}"/>
                  </a:ext>
                  <a:ext uri="{C183D7F6-B498-43B3-948B-1728B52AA6E4}">
                    <adec:decorative xmlns:adec="http://schemas.microsoft.com/office/drawing/2017/decorative" val="0"/>
                  </a:ext>
                </a:extLst>
              </p:cNvPr>
              <p:cNvSpPr>
                <a:spLocks/>
              </p:cNvSpPr>
              <p:nvPr/>
            </p:nvSpPr>
            <p:spPr bwMode="auto">
              <a:xfrm>
                <a:off x="600075" y="2861551"/>
                <a:ext cx="3529584" cy="827014"/>
              </a:xfrm>
              <a:prstGeom prst="round2SameRect">
                <a:avLst>
                  <a:gd name="adj1" fmla="val 0"/>
                  <a:gd name="adj2" fmla="val 1727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return on investment for every $1 invested into AI⁴ </a:t>
                </a:r>
              </a:p>
            </p:txBody>
          </p:sp>
        </p:grpSp>
        <p:sp>
          <p:nvSpPr>
            <p:cNvPr id="30" name="TextBox 29">
              <a:extLst>
                <a:ext uri="{FF2B5EF4-FFF2-40B4-BE49-F238E27FC236}">
                  <a16:creationId xmlns:a16="http://schemas.microsoft.com/office/drawing/2014/main" id="{8ECFCD78-B3C2-E9FE-9828-CC9E3D05A348}"/>
                </a:ext>
              </a:extLst>
            </p:cNvPr>
            <p:cNvSpPr txBox="1"/>
            <p:nvPr/>
          </p:nvSpPr>
          <p:spPr>
            <a:xfrm>
              <a:off x="2207204" y="1595247"/>
              <a:ext cx="1609415" cy="110799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50" normalizeH="0" baseline="0" noProof="0">
                  <a:ln w="3175">
                    <a:noFill/>
                  </a:ln>
                  <a:gradFill>
                    <a:gsLst>
                      <a:gs pos="2000">
                        <a:srgbClr val="0179D4"/>
                      </a:gs>
                      <a:gs pos="32000">
                        <a:srgbClr val="2CB6FF"/>
                      </a:gs>
                      <a:gs pos="44000">
                        <a:srgbClr val="2DB6FF"/>
                      </a:gs>
                      <a:gs pos="81000">
                        <a:srgbClr val="D962FA"/>
                      </a:gs>
                      <a:gs pos="96000">
                        <a:srgbClr val="F69991"/>
                      </a:gs>
                    </a:gsLst>
                    <a:lin ang="3600000" scaled="0"/>
                  </a:gradFill>
                  <a:effectLst/>
                  <a:uLnTx/>
                  <a:uFillTx/>
                  <a:latin typeface="Segoe UI" panose="020B0502040204020203" pitchFamily="34" charset="0"/>
                  <a:ea typeface="+mn-ea"/>
                  <a:cs typeface="Segoe UI" panose="020B0502040204020203" pitchFamily="34" charset="0"/>
                </a:rPr>
                <a:t>$</a:t>
              </a:r>
              <a:r>
                <a:rPr lang="en-US" sz="7200" b="1" spc="-50">
                  <a:ln w="3175">
                    <a:noFill/>
                  </a:ln>
                  <a:gradFill>
                    <a:gsLst>
                      <a:gs pos="2000">
                        <a:srgbClr val="0179D4"/>
                      </a:gs>
                      <a:gs pos="32000">
                        <a:srgbClr val="2CB6FF"/>
                      </a:gs>
                      <a:gs pos="44000">
                        <a:srgbClr val="2DB6FF"/>
                      </a:gs>
                      <a:gs pos="81000">
                        <a:srgbClr val="D962FA"/>
                      </a:gs>
                      <a:gs pos="96000">
                        <a:srgbClr val="F69991"/>
                      </a:gs>
                    </a:gsLst>
                    <a:lin ang="3600000" scaled="0"/>
                  </a:gradFill>
                  <a:latin typeface="Segoe UI" panose="020B0502040204020203" pitchFamily="34" charset="0"/>
                  <a:cs typeface="Segoe UI" panose="020B0502040204020203" pitchFamily="34" charset="0"/>
                </a:rPr>
                <a:t>3.5</a:t>
              </a:r>
            </a:p>
          </p:txBody>
        </p:sp>
      </p:grpSp>
      <p:sp>
        <p:nvSpPr>
          <p:cNvPr id="19" name="TextBox 18">
            <a:extLst>
              <a:ext uri="{FF2B5EF4-FFF2-40B4-BE49-F238E27FC236}">
                <a16:creationId xmlns:a16="http://schemas.microsoft.com/office/drawing/2014/main" id="{761FDF20-DD8C-BFBA-AADC-C6BA4F96789F}"/>
              </a:ext>
            </a:extLst>
          </p:cNvPr>
          <p:cNvSpPr txBox="1"/>
          <p:nvPr/>
        </p:nvSpPr>
        <p:spPr>
          <a:xfrm>
            <a:off x="593579" y="6577419"/>
            <a:ext cx="955390" cy="228268"/>
          </a:xfrm>
          <a:prstGeom prst="rect">
            <a:avLst/>
          </a:prstGeom>
          <a:noFill/>
        </p:spPr>
        <p:txBody>
          <a:bodyPr wrap="square" lIns="0" tIns="0" rIns="0" bIns="0" numCol="1" rtlCol="0" anchor="b">
            <a:spAutoFit/>
          </a:bodyPr>
          <a:lstStyle/>
          <a:p>
            <a:pPr marL="114300" marR="0" lvl="0" indent="-114300" algn="l" defTabSz="914400" rtl="0" eaLnBrk="1" fontAlgn="auto" latinLnBrk="0" hangingPunct="1">
              <a:lnSpc>
                <a:spcPct val="100000"/>
              </a:lnSpc>
              <a:spcBef>
                <a:spcPts val="100"/>
              </a:spcBef>
              <a:spcAft>
                <a:spcPts val="0"/>
              </a:spcAft>
              <a:buClrTx/>
              <a:buSzTx/>
              <a:buFontTx/>
              <a:buAutoNum type="arabicPeriod"/>
              <a:tabLst/>
              <a:defRPr/>
            </a:pPr>
            <a:r>
              <a:rPr kumimoji="0" lang="en-US" sz="700" b="0" i="0" u="none" strike="noStrike" kern="0" cap="none" spc="0" normalizeH="0" baseline="0" noProof="0">
                <a:ln>
                  <a:noFill/>
                </a:ln>
                <a:effectLst/>
                <a:uLnTx/>
                <a:uFillTx/>
                <a:latin typeface="Segoe Sans Display"/>
                <a:ea typeface="+mn-ea"/>
                <a:cs typeface="+mn-cs"/>
                <a:hlinkClick r:id="rId3">
                  <a:extLst>
                    <a:ext uri="{A12FA001-AC4F-418D-AE19-62706E023703}">
                      <ahyp:hlinkClr xmlns:ahyp="http://schemas.microsoft.com/office/drawing/2018/hyperlinkcolor" val="tx"/>
                    </a:ext>
                  </a:extLst>
                </a:hlinkClick>
              </a:rPr>
              <a:t>Work Trends Index</a:t>
            </a:r>
            <a:endParaRPr kumimoji="0" lang="en-US" sz="700" b="0" i="0" u="none" strike="noStrike" kern="0" cap="none" spc="0" normalizeH="0" baseline="0" noProof="0">
              <a:ln>
                <a:noFill/>
              </a:ln>
              <a:effectLst/>
              <a:uLnTx/>
              <a:uFillTx/>
              <a:latin typeface="Segoe Sans Display"/>
              <a:ea typeface="+mn-ea"/>
              <a:cs typeface="+mn-cs"/>
            </a:endParaRPr>
          </a:p>
          <a:p>
            <a:pPr marL="114300" marR="0" lvl="0" indent="-114300" algn="l" defTabSz="914400" rtl="0" eaLnBrk="1" fontAlgn="auto" latinLnBrk="0" hangingPunct="1">
              <a:lnSpc>
                <a:spcPct val="100000"/>
              </a:lnSpc>
              <a:spcBef>
                <a:spcPts val="100"/>
              </a:spcBef>
              <a:spcAft>
                <a:spcPts val="0"/>
              </a:spcAft>
              <a:buClrTx/>
              <a:buSzTx/>
              <a:buFontTx/>
              <a:buAutoNum type="arabicPeriod"/>
              <a:tabLst/>
              <a:defRPr/>
            </a:pPr>
            <a:r>
              <a:rPr kumimoji="0" lang="en-US" sz="700" b="0" i="0" u="none" strike="noStrike" kern="0" cap="none" spc="0" normalizeH="0" baseline="0" noProof="0">
                <a:ln>
                  <a:noFill/>
                </a:ln>
                <a:effectLst/>
                <a:uLnTx/>
                <a:uFillTx/>
                <a:latin typeface="Segoe Sans Display"/>
                <a:ea typeface="+mn-ea"/>
                <a:cs typeface="+mn-cs"/>
                <a:hlinkClick r:id="rId3">
                  <a:extLst>
                    <a:ext uri="{A12FA001-AC4F-418D-AE19-62706E023703}">
                      <ahyp:hlinkClr xmlns:ahyp="http://schemas.microsoft.com/office/drawing/2018/hyperlinkcolor" val="tx"/>
                    </a:ext>
                  </a:extLst>
                </a:hlinkClick>
              </a:rPr>
              <a:t>Work Trends Index</a:t>
            </a:r>
            <a:endParaRPr kumimoji="0" lang="en-US" sz="700" b="0" i="0" u="none" strike="noStrike" kern="0" cap="none" spc="0" normalizeH="0" baseline="0" noProof="0">
              <a:ln>
                <a:noFill/>
              </a:ln>
              <a:effectLst/>
              <a:uLnTx/>
              <a:uFillTx/>
              <a:latin typeface="Segoe Sans Display"/>
              <a:ea typeface="+mn-ea"/>
              <a:cs typeface="+mn-cs"/>
            </a:endParaRPr>
          </a:p>
        </p:txBody>
      </p:sp>
      <p:sp>
        <p:nvSpPr>
          <p:cNvPr id="20" name="TextBox 19">
            <a:extLst>
              <a:ext uri="{FF2B5EF4-FFF2-40B4-BE49-F238E27FC236}">
                <a16:creationId xmlns:a16="http://schemas.microsoft.com/office/drawing/2014/main" id="{8FD4A8EB-A23E-D7FD-2FE6-3158EDE882C1}"/>
              </a:ext>
            </a:extLst>
          </p:cNvPr>
          <p:cNvSpPr txBox="1"/>
          <p:nvPr/>
        </p:nvSpPr>
        <p:spPr>
          <a:xfrm>
            <a:off x="1704231" y="6586402"/>
            <a:ext cx="575479" cy="228268"/>
          </a:xfrm>
          <a:prstGeom prst="rect">
            <a:avLst/>
          </a:prstGeom>
          <a:noFill/>
        </p:spPr>
        <p:txBody>
          <a:bodyPr wrap="square" lIns="0" tIns="0" rIns="0" bIns="0" numCol="1" rtlCol="0" anchor="b">
            <a:spAutoFit/>
          </a:bodyPr>
          <a:lstStyle/>
          <a:p>
            <a:pPr marL="114300" marR="0" lvl="0" indent="-114300" algn="l" defTabSz="914400" rtl="0" eaLnBrk="1" fontAlgn="auto" latinLnBrk="0" hangingPunct="1">
              <a:lnSpc>
                <a:spcPct val="100000"/>
              </a:lnSpc>
              <a:spcBef>
                <a:spcPts val="100"/>
              </a:spcBef>
              <a:spcAft>
                <a:spcPts val="0"/>
              </a:spcAft>
              <a:buClrTx/>
              <a:buSzTx/>
              <a:buFont typeface="+mj-lt"/>
              <a:buAutoNum type="arabicPeriod" startAt="3"/>
              <a:tabLst/>
              <a:defRPr/>
            </a:pPr>
            <a:r>
              <a:rPr kumimoji="0" lang="en-US" sz="700" b="0" i="0" u="none" strike="noStrike" kern="0" cap="none" spc="0" normalizeH="0" baseline="0" noProof="0">
                <a:ln>
                  <a:noFill/>
                </a:ln>
                <a:effectLst/>
                <a:uLnTx/>
                <a:uFillTx/>
                <a:latin typeface="Segoe Sans Display"/>
                <a:ea typeface="+mn-ea"/>
                <a:cs typeface="+mn-cs"/>
                <a:hlinkClick r:id="rId4">
                  <a:extLst>
                    <a:ext uri="{A12FA001-AC4F-418D-AE19-62706E023703}">
                      <ahyp:hlinkClr xmlns:ahyp="http://schemas.microsoft.com/office/drawing/2018/hyperlinkcolor" val="tx"/>
                    </a:ext>
                  </a:extLst>
                </a:hlinkClick>
              </a:rPr>
              <a:t>McKinsey </a:t>
            </a:r>
            <a:endParaRPr kumimoji="0" lang="en-US" sz="700" b="0" i="0" u="none" strike="noStrike" kern="0" cap="none" spc="0" normalizeH="0" baseline="0" noProof="0">
              <a:ln>
                <a:noFill/>
              </a:ln>
              <a:effectLst/>
              <a:uLnTx/>
              <a:uFillTx/>
              <a:latin typeface="Segoe Sans Display"/>
              <a:ea typeface="+mn-ea"/>
              <a:cs typeface="+mn-cs"/>
            </a:endParaRPr>
          </a:p>
          <a:p>
            <a:pPr marL="114300" marR="0" lvl="0" indent="-114300" algn="l" defTabSz="914400" rtl="0" eaLnBrk="1" fontAlgn="auto" latinLnBrk="0" hangingPunct="1">
              <a:lnSpc>
                <a:spcPct val="100000"/>
              </a:lnSpc>
              <a:spcBef>
                <a:spcPts val="100"/>
              </a:spcBef>
              <a:spcAft>
                <a:spcPts val="0"/>
              </a:spcAft>
              <a:buClrTx/>
              <a:buSzTx/>
              <a:buFontTx/>
              <a:buAutoNum type="arabicPeriod" startAt="3"/>
              <a:tabLst>
                <a:tab pos="114300" algn="l"/>
              </a:tabLst>
              <a:defRPr/>
            </a:pPr>
            <a:r>
              <a:rPr kumimoji="0" lang="en-US" sz="700" b="0" i="0" u="none" strike="noStrike" kern="1200" cap="none" spc="0" normalizeH="0" baseline="0" noProof="0">
                <a:ln>
                  <a:noFill/>
                </a:ln>
                <a:effectLst/>
                <a:uLnTx/>
                <a:uFillTx/>
                <a:latin typeface="Segoe Sans Display"/>
                <a:ea typeface="+mn-ea"/>
                <a:cs typeface="+mn-cs"/>
                <a:hlinkClick r:id="rId5">
                  <a:extLst>
                    <a:ext uri="{A12FA001-AC4F-418D-AE19-62706E023703}">
                      <ahyp:hlinkClr xmlns:ahyp="http://schemas.microsoft.com/office/drawing/2018/hyperlinkcolor" val="tx"/>
                    </a:ext>
                  </a:extLst>
                </a:hlinkClick>
              </a:rPr>
              <a:t>IDC</a:t>
            </a:r>
            <a:r>
              <a:rPr kumimoji="0" lang="en-US" sz="700" b="0" i="0" u="none" strike="noStrike" kern="1200" cap="none" spc="0" normalizeH="0" baseline="0" noProof="0">
                <a:ln>
                  <a:noFill/>
                </a:ln>
                <a:effectLst/>
                <a:uLnTx/>
                <a:uFillTx/>
                <a:latin typeface="Segoe Sans Display"/>
                <a:ea typeface="+mn-ea"/>
                <a:cs typeface="+mn-cs"/>
              </a:rPr>
              <a:t> </a:t>
            </a:r>
          </a:p>
        </p:txBody>
      </p:sp>
    </p:spTree>
    <p:extLst>
      <p:ext uri="{BB962C8B-B14F-4D97-AF65-F5344CB8AC3E}">
        <p14:creationId xmlns:p14="http://schemas.microsoft.com/office/powerpoint/2010/main" val="14362751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00B10A-A817-4F86-354E-FD2E526B0B48}"/>
            </a:ext>
          </a:extLst>
        </p:cNvPr>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630A4DF7-8AB3-700C-7D8C-9EFF99E267DB}"/>
              </a:ext>
              <a:ext uri="{C183D7F6-B498-43B3-948B-1728B52AA6E4}">
                <adec:decorative xmlns:adec="http://schemas.microsoft.com/office/drawing/2017/decorative" val="1"/>
              </a:ext>
            </a:extLst>
          </p:cNvPr>
          <p:cNvSpPr>
            <a:spLocks/>
          </p:cNvSpPr>
          <p:nvPr/>
        </p:nvSpPr>
        <p:spPr bwMode="auto">
          <a:xfrm>
            <a:off x="584201" y="1762613"/>
            <a:ext cx="11025188" cy="4628662"/>
          </a:xfrm>
          <a:prstGeom prst="roundRect">
            <a:avLst>
              <a:gd name="adj" fmla="val 2701"/>
            </a:avLst>
          </a:prstGeom>
          <a:solidFill>
            <a:schemeClr val="bg1"/>
          </a:solidFill>
          <a:ln w="12700" cap="rnd">
            <a:solidFill>
              <a:schemeClr val="bg1">
                <a:lumMod val="7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err="1">
              <a:ln>
                <a:noFill/>
              </a:ln>
              <a:noFill/>
              <a:effectLst/>
              <a:uLnTx/>
              <a:uFillTx/>
              <a:latin typeface="Segoe UI Variable Small Semibol" pitchFamily="2" charset="0"/>
              <a:ea typeface="+mn-ea"/>
              <a:cs typeface="+mn-cs"/>
            </a:endParaRPr>
          </a:p>
        </p:txBody>
      </p:sp>
      <p:sp>
        <p:nvSpPr>
          <p:cNvPr id="66" name="Rectangle: Rounded Corners 65">
            <a:extLst>
              <a:ext uri="{FF2B5EF4-FFF2-40B4-BE49-F238E27FC236}">
                <a16:creationId xmlns:a16="http://schemas.microsoft.com/office/drawing/2014/main" id="{FAA0AFED-8C6D-1F13-084B-0664CD78DFA0}"/>
              </a:ext>
              <a:ext uri="{C183D7F6-B498-43B3-948B-1728B52AA6E4}">
                <adec:decorative xmlns:adec="http://schemas.microsoft.com/office/drawing/2017/decorative" val="1"/>
              </a:ext>
            </a:extLst>
          </p:cNvPr>
          <p:cNvSpPr>
            <a:spLocks/>
          </p:cNvSpPr>
          <p:nvPr/>
        </p:nvSpPr>
        <p:spPr bwMode="auto">
          <a:xfrm>
            <a:off x="767081" y="2308039"/>
            <a:ext cx="3431222" cy="1564165"/>
          </a:xfrm>
          <a:prstGeom prst="roundRect">
            <a:avLst>
              <a:gd name="adj" fmla="val 4779"/>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Rectangle: Rounded Corners 66">
            <a:extLst>
              <a:ext uri="{FF2B5EF4-FFF2-40B4-BE49-F238E27FC236}">
                <a16:creationId xmlns:a16="http://schemas.microsoft.com/office/drawing/2014/main" id="{7B349160-DB49-49F2-8D08-48D5CA866181}"/>
              </a:ext>
              <a:ext uri="{C183D7F6-B498-43B3-948B-1728B52AA6E4}">
                <adec:decorative xmlns:adec="http://schemas.microsoft.com/office/drawing/2017/decorative" val="1"/>
              </a:ext>
            </a:extLst>
          </p:cNvPr>
          <p:cNvSpPr>
            <a:spLocks/>
          </p:cNvSpPr>
          <p:nvPr/>
        </p:nvSpPr>
        <p:spPr bwMode="auto">
          <a:xfrm>
            <a:off x="4381183" y="2308039"/>
            <a:ext cx="3431222" cy="1564165"/>
          </a:xfrm>
          <a:prstGeom prst="roundRect">
            <a:avLst>
              <a:gd name="adj" fmla="val 4779"/>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Rectangle: Rounded Corners 67">
            <a:extLst>
              <a:ext uri="{FF2B5EF4-FFF2-40B4-BE49-F238E27FC236}">
                <a16:creationId xmlns:a16="http://schemas.microsoft.com/office/drawing/2014/main" id="{05929469-7368-4DEE-C48B-954C73BA77C0}"/>
              </a:ext>
              <a:ext uri="{C183D7F6-B498-43B3-948B-1728B52AA6E4}">
                <adec:decorative xmlns:adec="http://schemas.microsoft.com/office/drawing/2017/decorative" val="1"/>
              </a:ext>
            </a:extLst>
          </p:cNvPr>
          <p:cNvSpPr>
            <a:spLocks/>
          </p:cNvSpPr>
          <p:nvPr/>
        </p:nvSpPr>
        <p:spPr bwMode="auto">
          <a:xfrm>
            <a:off x="7995285" y="2308039"/>
            <a:ext cx="3431222" cy="1564165"/>
          </a:xfrm>
          <a:prstGeom prst="roundRect">
            <a:avLst>
              <a:gd name="adj" fmla="val 4779"/>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Rounded Rectangle 11">
            <a:extLst>
              <a:ext uri="{FF2B5EF4-FFF2-40B4-BE49-F238E27FC236}">
                <a16:creationId xmlns:a16="http://schemas.microsoft.com/office/drawing/2014/main" id="{AD3F76FF-57B5-217E-1BCA-9AA21E320387}"/>
              </a:ext>
              <a:ext uri="{C183D7F6-B498-43B3-948B-1728B52AA6E4}">
                <adec:decorative xmlns:adec="http://schemas.microsoft.com/office/drawing/2017/decorative" val="1"/>
              </a:ext>
            </a:extLst>
          </p:cNvPr>
          <p:cNvSpPr/>
          <p:nvPr/>
        </p:nvSpPr>
        <p:spPr bwMode="auto">
          <a:xfrm>
            <a:off x="2119326" y="1944936"/>
            <a:ext cx="726732" cy="726732"/>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32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9" name="Rounded Rectangle 11">
            <a:extLst>
              <a:ext uri="{FF2B5EF4-FFF2-40B4-BE49-F238E27FC236}">
                <a16:creationId xmlns:a16="http://schemas.microsoft.com/office/drawing/2014/main" id="{C414B85B-4E5F-A774-EC6C-188C6634D02E}"/>
              </a:ext>
              <a:ext uri="{C183D7F6-B498-43B3-948B-1728B52AA6E4}">
                <adec:decorative xmlns:adec="http://schemas.microsoft.com/office/drawing/2017/decorative" val="1"/>
              </a:ext>
            </a:extLst>
          </p:cNvPr>
          <p:cNvSpPr/>
          <p:nvPr/>
        </p:nvSpPr>
        <p:spPr bwMode="auto">
          <a:xfrm>
            <a:off x="5733428" y="1944936"/>
            <a:ext cx="726732" cy="726732"/>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32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40" name="Rounded Rectangle 11">
            <a:extLst>
              <a:ext uri="{FF2B5EF4-FFF2-40B4-BE49-F238E27FC236}">
                <a16:creationId xmlns:a16="http://schemas.microsoft.com/office/drawing/2014/main" id="{AAB908C0-A2AB-A975-D06C-FA8D3AE52F36}"/>
              </a:ext>
              <a:ext uri="{C183D7F6-B498-43B3-948B-1728B52AA6E4}">
                <adec:decorative xmlns:adec="http://schemas.microsoft.com/office/drawing/2017/decorative" val="1"/>
              </a:ext>
            </a:extLst>
          </p:cNvPr>
          <p:cNvSpPr/>
          <p:nvPr/>
        </p:nvSpPr>
        <p:spPr bwMode="auto">
          <a:xfrm>
            <a:off x="9347530" y="1944936"/>
            <a:ext cx="726732" cy="726732"/>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32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8" name="Title 1">
            <a:extLst>
              <a:ext uri="{FF2B5EF4-FFF2-40B4-BE49-F238E27FC236}">
                <a16:creationId xmlns:a16="http://schemas.microsoft.com/office/drawing/2014/main" id="{3CD80184-44B5-2254-547A-BB8EA1B48915}"/>
              </a:ext>
              <a:ext uri="{C183D7F6-B498-43B3-948B-1728B52AA6E4}">
                <adec:decorative xmlns:adec="http://schemas.microsoft.com/office/drawing/2017/decorative" val="0"/>
              </a:ext>
            </a:extLst>
          </p:cNvPr>
          <p:cNvSpPr>
            <a:spLocks noGrp="1"/>
          </p:cNvSpPr>
          <p:nvPr>
            <p:ph type="title"/>
          </p:nvPr>
        </p:nvSpPr>
        <p:spPr/>
        <p:txBody>
          <a:bodyPr>
            <a:noAutofit/>
          </a:bodyPr>
          <a:lstStyle/>
          <a:p>
            <a:r>
              <a:rPr lang="en-US" sz="3200">
                <a:solidFill>
                  <a:schemeClr val="tx1"/>
                </a:solidFill>
                <a:ea typeface="+mj-ea"/>
                <a:cs typeface="+mj-cs"/>
              </a:rPr>
              <a:t>Microsoft Purview</a:t>
            </a:r>
          </a:p>
        </p:txBody>
      </p:sp>
      <p:sp>
        <p:nvSpPr>
          <p:cNvPr id="75" name="Graphic 168" descr="Icon of a person with a magnifying glass">
            <a:extLst>
              <a:ext uri="{FF2B5EF4-FFF2-40B4-BE49-F238E27FC236}">
                <a16:creationId xmlns:a16="http://schemas.microsoft.com/office/drawing/2014/main" id="{9AA8F8C2-E651-A336-DD20-60F8F762A835}"/>
              </a:ext>
            </a:extLst>
          </p:cNvPr>
          <p:cNvSpPr/>
          <p:nvPr/>
        </p:nvSpPr>
        <p:spPr>
          <a:xfrm>
            <a:off x="2322197" y="2147866"/>
            <a:ext cx="320992" cy="320874"/>
          </a:xfrm>
          <a:custGeom>
            <a:avLst/>
            <a:gdLst>
              <a:gd name="connsiteX0" fmla="*/ 125862 w 254043"/>
              <a:gd name="connsiteY0" fmla="*/ 152349 h 253949"/>
              <a:gd name="connsiteX1" fmla="*/ 225469 w 254043"/>
              <a:gd name="connsiteY1" fmla="*/ 152349 h 253949"/>
              <a:gd name="connsiteX2" fmla="*/ 254044 w 254043"/>
              <a:gd name="connsiteY2" fmla="*/ 180924 h 253949"/>
              <a:gd name="connsiteX3" fmla="*/ 254044 w 254043"/>
              <a:gd name="connsiteY3" fmla="*/ 192418 h 253949"/>
              <a:gd name="connsiteX4" fmla="*/ 237445 w 254043"/>
              <a:gd name="connsiteY4" fmla="*/ 228549 h 253949"/>
              <a:gd name="connsiteX5" fmla="*/ 152405 w 254043"/>
              <a:gd name="connsiteY5" fmla="*/ 253949 h 253949"/>
              <a:gd name="connsiteX6" fmla="*/ 150132 w 254043"/>
              <a:gd name="connsiteY6" fmla="*/ 253949 h 253949"/>
              <a:gd name="connsiteX7" fmla="*/ 147325 w 254043"/>
              <a:gd name="connsiteY7" fmla="*/ 229857 h 253949"/>
              <a:gd name="connsiteX8" fmla="*/ 145916 w 254043"/>
              <a:gd name="connsiteY8" fmla="*/ 228333 h 253949"/>
              <a:gd name="connsiteX9" fmla="*/ 117595 w 254043"/>
              <a:gd name="connsiteY9" fmla="*/ 200089 h 253949"/>
              <a:gd name="connsiteX10" fmla="*/ 125850 w 254043"/>
              <a:gd name="connsiteY10" fmla="*/ 152337 h 253949"/>
              <a:gd name="connsiteX11" fmla="*/ 57155 w 254043"/>
              <a:gd name="connsiteY11" fmla="*/ 107899 h 253949"/>
              <a:gd name="connsiteX12" fmla="*/ 114293 w 254043"/>
              <a:gd name="connsiteY12" fmla="*/ 165062 h 253949"/>
              <a:gd name="connsiteX13" fmla="*/ 101097 w 254043"/>
              <a:gd name="connsiteY13" fmla="*/ 201574 h 253949"/>
              <a:gd name="connsiteX14" fmla="*/ 136950 w 254043"/>
              <a:gd name="connsiteY14" fmla="*/ 237312 h 253949"/>
              <a:gd name="connsiteX15" fmla="*/ 137020 w 254043"/>
              <a:gd name="connsiteY15" fmla="*/ 250782 h 253949"/>
              <a:gd name="connsiteX16" fmla="*/ 124567 w 254043"/>
              <a:gd name="connsiteY16" fmla="*/ 251727 h 253949"/>
              <a:gd name="connsiteX17" fmla="*/ 123488 w 254043"/>
              <a:gd name="connsiteY17" fmla="*/ 250800 h 253949"/>
              <a:gd name="connsiteX18" fmla="*/ 86619 w 254043"/>
              <a:gd name="connsiteY18" fmla="*/ 214020 h 253949"/>
              <a:gd name="connsiteX19" fmla="*/ 8187 w 254043"/>
              <a:gd name="connsiteY19" fmla="*/ 194510 h 253949"/>
              <a:gd name="connsiteX20" fmla="*/ 27698 w 254043"/>
              <a:gd name="connsiteY20" fmla="*/ 116078 h 253949"/>
              <a:gd name="connsiteX21" fmla="*/ 57155 w 254043"/>
              <a:gd name="connsiteY21" fmla="*/ 107899 h 253949"/>
              <a:gd name="connsiteX22" fmla="*/ 57155 w 254043"/>
              <a:gd name="connsiteY22" fmla="*/ 126949 h 253949"/>
              <a:gd name="connsiteX23" fmla="*/ 19055 w 254043"/>
              <a:gd name="connsiteY23" fmla="*/ 165049 h 253949"/>
              <a:gd name="connsiteX24" fmla="*/ 57155 w 254043"/>
              <a:gd name="connsiteY24" fmla="*/ 203149 h 253949"/>
              <a:gd name="connsiteX25" fmla="*/ 95255 w 254043"/>
              <a:gd name="connsiteY25" fmla="*/ 165049 h 253949"/>
              <a:gd name="connsiteX26" fmla="*/ 57155 w 254043"/>
              <a:gd name="connsiteY26" fmla="*/ 126949 h 253949"/>
              <a:gd name="connsiteX27" fmla="*/ 152405 w 254043"/>
              <a:gd name="connsiteY27" fmla="*/ 0 h 253949"/>
              <a:gd name="connsiteX28" fmla="*/ 215905 w 254043"/>
              <a:gd name="connsiteY28" fmla="*/ 63500 h 253949"/>
              <a:gd name="connsiteX29" fmla="*/ 152405 w 254043"/>
              <a:gd name="connsiteY29" fmla="*/ 127000 h 253949"/>
              <a:gd name="connsiteX30" fmla="*/ 88905 w 254043"/>
              <a:gd name="connsiteY30" fmla="*/ 63500 h 253949"/>
              <a:gd name="connsiteX31" fmla="*/ 152405 w 254043"/>
              <a:gd name="connsiteY31" fmla="*/ 0 h 253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4043" h="253949">
                <a:moveTo>
                  <a:pt x="125862" y="152349"/>
                </a:moveTo>
                <a:lnTo>
                  <a:pt x="225469" y="152349"/>
                </a:lnTo>
                <a:cubicBezTo>
                  <a:pt x="241250" y="152349"/>
                  <a:pt x="254044" y="165143"/>
                  <a:pt x="254044" y="180924"/>
                </a:cubicBezTo>
                <a:lnTo>
                  <a:pt x="254044" y="192418"/>
                </a:lnTo>
                <a:cubicBezTo>
                  <a:pt x="254043" y="206306"/>
                  <a:pt x="247981" y="219502"/>
                  <a:pt x="237445" y="228549"/>
                </a:cubicBezTo>
                <a:cubicBezTo>
                  <a:pt x="217556" y="245618"/>
                  <a:pt x="189108" y="253949"/>
                  <a:pt x="152405" y="253949"/>
                </a:cubicBezTo>
                <a:lnTo>
                  <a:pt x="150132" y="253949"/>
                </a:lnTo>
                <a:cubicBezTo>
                  <a:pt x="154041" y="246070"/>
                  <a:pt x="152941" y="236627"/>
                  <a:pt x="147325" y="229857"/>
                </a:cubicBezTo>
                <a:lnTo>
                  <a:pt x="145916" y="228333"/>
                </a:lnTo>
                <a:lnTo>
                  <a:pt x="117595" y="200089"/>
                </a:lnTo>
                <a:cubicBezTo>
                  <a:pt x="125976" y="185673"/>
                  <a:pt x="128905" y="168729"/>
                  <a:pt x="125850" y="152337"/>
                </a:cubicBezTo>
                <a:close/>
                <a:moveTo>
                  <a:pt x="57155" y="107899"/>
                </a:moveTo>
                <a:cubicBezTo>
                  <a:pt x="88719" y="107906"/>
                  <a:pt x="114300" y="133499"/>
                  <a:pt x="114293" y="165062"/>
                </a:cubicBezTo>
                <a:cubicBezTo>
                  <a:pt x="114290" y="178400"/>
                  <a:pt x="109622" y="191316"/>
                  <a:pt x="101097" y="201574"/>
                </a:cubicBezTo>
                <a:lnTo>
                  <a:pt x="136950" y="237312"/>
                </a:lnTo>
                <a:cubicBezTo>
                  <a:pt x="140689" y="241012"/>
                  <a:pt x="140720" y="247043"/>
                  <a:pt x="137020" y="250782"/>
                </a:cubicBezTo>
                <a:cubicBezTo>
                  <a:pt x="133683" y="254154"/>
                  <a:pt x="128374" y="254557"/>
                  <a:pt x="124567" y="251727"/>
                </a:cubicBezTo>
                <a:lnTo>
                  <a:pt x="123488" y="250800"/>
                </a:lnTo>
                <a:lnTo>
                  <a:pt x="86619" y="214020"/>
                </a:lnTo>
                <a:cubicBezTo>
                  <a:pt x="59573" y="230291"/>
                  <a:pt x="24458" y="221556"/>
                  <a:pt x="8187" y="194510"/>
                </a:cubicBezTo>
                <a:cubicBezTo>
                  <a:pt x="-8083" y="167464"/>
                  <a:pt x="652" y="132349"/>
                  <a:pt x="27698" y="116078"/>
                </a:cubicBezTo>
                <a:cubicBezTo>
                  <a:pt x="36592" y="110727"/>
                  <a:pt x="46776" y="107900"/>
                  <a:pt x="57155" y="107899"/>
                </a:cubicBezTo>
                <a:close/>
                <a:moveTo>
                  <a:pt x="57155" y="126949"/>
                </a:moveTo>
                <a:cubicBezTo>
                  <a:pt x="36113" y="126949"/>
                  <a:pt x="19055" y="144007"/>
                  <a:pt x="19055" y="165049"/>
                </a:cubicBezTo>
                <a:cubicBezTo>
                  <a:pt x="19055" y="186091"/>
                  <a:pt x="36113" y="203149"/>
                  <a:pt x="57155" y="203149"/>
                </a:cubicBezTo>
                <a:cubicBezTo>
                  <a:pt x="78198" y="203149"/>
                  <a:pt x="95255" y="186091"/>
                  <a:pt x="95255" y="165049"/>
                </a:cubicBezTo>
                <a:cubicBezTo>
                  <a:pt x="95255" y="144007"/>
                  <a:pt x="78198" y="126949"/>
                  <a:pt x="57155" y="126949"/>
                </a:cubicBezTo>
                <a:close/>
                <a:moveTo>
                  <a:pt x="152405" y="0"/>
                </a:moveTo>
                <a:cubicBezTo>
                  <a:pt x="187476" y="0"/>
                  <a:pt x="215905" y="28430"/>
                  <a:pt x="215905" y="63500"/>
                </a:cubicBezTo>
                <a:cubicBezTo>
                  <a:pt x="215905" y="98570"/>
                  <a:pt x="187476" y="127000"/>
                  <a:pt x="152405" y="127000"/>
                </a:cubicBezTo>
                <a:cubicBezTo>
                  <a:pt x="117335" y="127000"/>
                  <a:pt x="88905" y="98570"/>
                  <a:pt x="88905" y="63500"/>
                </a:cubicBezTo>
                <a:cubicBezTo>
                  <a:pt x="88905" y="28430"/>
                  <a:pt x="117335" y="0"/>
                  <a:pt x="152405" y="0"/>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TextBox 32">
            <a:extLst>
              <a:ext uri="{FF2B5EF4-FFF2-40B4-BE49-F238E27FC236}">
                <a16:creationId xmlns:a16="http://schemas.microsoft.com/office/drawing/2014/main" id="{777A0AA2-78E2-8BBC-0FC9-67440B8B353D}"/>
              </a:ext>
              <a:ext uri="{C183D7F6-B498-43B3-948B-1728B52AA6E4}">
                <adec:decorative xmlns:adec="http://schemas.microsoft.com/office/drawing/2017/decorative" val="0"/>
              </a:ext>
            </a:extLst>
          </p:cNvPr>
          <p:cNvSpPr txBox="1"/>
          <p:nvPr/>
        </p:nvSpPr>
        <p:spPr>
          <a:xfrm>
            <a:off x="978459" y="2916039"/>
            <a:ext cx="3008466" cy="692497"/>
          </a:xfrm>
          <a:prstGeom prst="rect">
            <a:avLst/>
          </a:prstGeom>
          <a:noFill/>
        </p:spPr>
        <p:txBody>
          <a:bodyPr wrap="square" lIns="0" tIns="0" rIns="0" bIns="0" anchor="t">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w="3175">
                  <a:noFill/>
                </a:ln>
                <a:gradFill flip="none" rotWithShape="1">
                  <a:gsLst>
                    <a:gs pos="50000">
                      <a:srgbClr val="8661C5"/>
                    </a:gs>
                    <a:gs pos="0">
                      <a:srgbClr val="3E76D4"/>
                    </a:gs>
                    <a:gs pos="100000">
                      <a:srgbClr val="C73ECC"/>
                    </a:gs>
                  </a:gsLst>
                  <a:lin ang="2700000" scaled="1"/>
                  <a:tileRect/>
                </a:gradFill>
                <a:effectLst/>
                <a:uLnTx/>
                <a:uFillTx/>
                <a:latin typeface="Segoe UI Semibold"/>
                <a:ea typeface="+mn-ea"/>
                <a:cs typeface="+mn-cs"/>
              </a:rPr>
              <a:t>Discover</a:t>
            </a:r>
          </a:p>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Data risks</a:t>
            </a:r>
          </a:p>
        </p:txBody>
      </p:sp>
      <p:sp>
        <p:nvSpPr>
          <p:cNvPr id="73" name="Graphic 33" descr="Icon of a shield with a keyhole">
            <a:extLst>
              <a:ext uri="{FF2B5EF4-FFF2-40B4-BE49-F238E27FC236}">
                <a16:creationId xmlns:a16="http://schemas.microsoft.com/office/drawing/2014/main" id="{9A2C81FB-0362-3C41-4FFA-01DAB011FDAC}"/>
              </a:ext>
            </a:extLst>
          </p:cNvPr>
          <p:cNvSpPr>
            <a:spLocks/>
          </p:cNvSpPr>
          <p:nvPr/>
        </p:nvSpPr>
        <p:spPr>
          <a:xfrm>
            <a:off x="5921108" y="2113095"/>
            <a:ext cx="351372" cy="390414"/>
          </a:xfrm>
          <a:custGeom>
            <a:avLst/>
            <a:gdLst>
              <a:gd name="connsiteX0" fmla="*/ 0 w 171450"/>
              <a:gd name="connsiteY0" fmla="*/ 35719 h 190501"/>
              <a:gd name="connsiteX1" fmla="*/ 0 w 171450"/>
              <a:gd name="connsiteY1" fmla="*/ 85725 h 190501"/>
              <a:gd name="connsiteX2" fmla="*/ 83106 w 171450"/>
              <a:gd name="connsiteY2" fmla="*/ 190005 h 190501"/>
              <a:gd name="connsiteX3" fmla="*/ 88344 w 171450"/>
              <a:gd name="connsiteY3" fmla="*/ 190005 h 190501"/>
              <a:gd name="connsiteX4" fmla="*/ 171450 w 171450"/>
              <a:gd name="connsiteY4" fmla="*/ 85725 h 190501"/>
              <a:gd name="connsiteX5" fmla="*/ 171450 w 171450"/>
              <a:gd name="connsiteY5" fmla="*/ 35719 h 190501"/>
              <a:gd name="connsiteX6" fmla="*/ 164306 w 171450"/>
              <a:gd name="connsiteY6" fmla="*/ 28575 h 190501"/>
              <a:gd name="connsiteX7" fmla="*/ 90011 w 171450"/>
              <a:gd name="connsiteY7" fmla="*/ 1429 h 190501"/>
              <a:gd name="connsiteX8" fmla="*/ 81439 w 171450"/>
              <a:gd name="connsiteY8" fmla="*/ 1429 h 190501"/>
              <a:gd name="connsiteX9" fmla="*/ 7144 w 171450"/>
              <a:gd name="connsiteY9" fmla="*/ 28575 h 190501"/>
              <a:gd name="connsiteX10" fmla="*/ 0 w 171450"/>
              <a:gd name="connsiteY10" fmla="*/ 35719 h 190501"/>
              <a:gd name="connsiteX11" fmla="*/ 104727 w 171450"/>
              <a:gd name="connsiteY11" fmla="*/ 85725 h 190501"/>
              <a:gd name="connsiteX12" fmla="*/ 92869 w 171450"/>
              <a:gd name="connsiteY12" fmla="*/ 103365 h 190501"/>
              <a:gd name="connsiteX13" fmla="*/ 92869 w 171450"/>
              <a:gd name="connsiteY13" fmla="*/ 126206 h 190501"/>
              <a:gd name="connsiteX14" fmla="*/ 85725 w 171450"/>
              <a:gd name="connsiteY14" fmla="*/ 133350 h 190501"/>
              <a:gd name="connsiteX15" fmla="*/ 78581 w 171450"/>
              <a:gd name="connsiteY15" fmla="*/ 126206 h 190501"/>
              <a:gd name="connsiteX16" fmla="*/ 78581 w 171450"/>
              <a:gd name="connsiteY16" fmla="*/ 103403 h 190501"/>
              <a:gd name="connsiteX17" fmla="*/ 67998 w 171450"/>
              <a:gd name="connsiteY17" fmla="*/ 78628 h 190501"/>
              <a:gd name="connsiteX18" fmla="*/ 92774 w 171450"/>
              <a:gd name="connsiteY18" fmla="*/ 68045 h 190501"/>
              <a:gd name="connsiteX19" fmla="*/ 104727 w 171450"/>
              <a:gd name="connsiteY19" fmla="*/ 85725 h 19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1450" h="190501">
                <a:moveTo>
                  <a:pt x="0" y="35719"/>
                </a:moveTo>
                <a:lnTo>
                  <a:pt x="0" y="85725"/>
                </a:lnTo>
                <a:cubicBezTo>
                  <a:pt x="0" y="133360"/>
                  <a:pt x="28175" y="168364"/>
                  <a:pt x="83106" y="190005"/>
                </a:cubicBezTo>
                <a:cubicBezTo>
                  <a:pt x="84789" y="190668"/>
                  <a:pt x="86661" y="190668"/>
                  <a:pt x="88344" y="190005"/>
                </a:cubicBezTo>
                <a:cubicBezTo>
                  <a:pt x="143275" y="168364"/>
                  <a:pt x="171450" y="133350"/>
                  <a:pt x="171450" y="85725"/>
                </a:cubicBezTo>
                <a:lnTo>
                  <a:pt x="171450" y="35719"/>
                </a:lnTo>
                <a:cubicBezTo>
                  <a:pt x="171450" y="31773"/>
                  <a:pt x="168252" y="28575"/>
                  <a:pt x="164306" y="28575"/>
                </a:cubicBezTo>
                <a:cubicBezTo>
                  <a:pt x="138941" y="28575"/>
                  <a:pt x="114224" y="19593"/>
                  <a:pt x="90011" y="1429"/>
                </a:cubicBezTo>
                <a:cubicBezTo>
                  <a:pt x="87471" y="-476"/>
                  <a:pt x="83979" y="-476"/>
                  <a:pt x="81439" y="1429"/>
                </a:cubicBezTo>
                <a:cubicBezTo>
                  <a:pt x="57226" y="19593"/>
                  <a:pt x="32509" y="28575"/>
                  <a:pt x="7144" y="28575"/>
                </a:cubicBezTo>
                <a:cubicBezTo>
                  <a:pt x="3198" y="28575"/>
                  <a:pt x="0" y="31773"/>
                  <a:pt x="0" y="35719"/>
                </a:cubicBezTo>
                <a:close/>
                <a:moveTo>
                  <a:pt x="104727" y="85725"/>
                </a:moveTo>
                <a:cubicBezTo>
                  <a:pt x="104727" y="93469"/>
                  <a:pt x="100039" y="100442"/>
                  <a:pt x="92869" y="103365"/>
                </a:cubicBezTo>
                <a:lnTo>
                  <a:pt x="92869" y="126206"/>
                </a:lnTo>
                <a:cubicBezTo>
                  <a:pt x="92869" y="130152"/>
                  <a:pt x="89670" y="133350"/>
                  <a:pt x="85725" y="133350"/>
                </a:cubicBezTo>
                <a:cubicBezTo>
                  <a:pt x="81780" y="133350"/>
                  <a:pt x="78581" y="130152"/>
                  <a:pt x="78581" y="126206"/>
                </a:cubicBezTo>
                <a:lnTo>
                  <a:pt x="78581" y="103403"/>
                </a:lnTo>
                <a:cubicBezTo>
                  <a:pt x="68817" y="99484"/>
                  <a:pt x="64079" y="88392"/>
                  <a:pt x="67998" y="78628"/>
                </a:cubicBezTo>
                <a:cubicBezTo>
                  <a:pt x="71918" y="68864"/>
                  <a:pt x="83009" y="64126"/>
                  <a:pt x="92774" y="68045"/>
                </a:cubicBezTo>
                <a:cubicBezTo>
                  <a:pt x="99995" y="70944"/>
                  <a:pt x="104727" y="77943"/>
                  <a:pt x="104727" y="85725"/>
                </a:cubicBezTo>
                <a:close/>
              </a:path>
            </a:pathLst>
          </a:custGeom>
          <a:solidFill>
            <a:schemeClr val="bg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8" name="TextBox 107">
            <a:extLst>
              <a:ext uri="{FF2B5EF4-FFF2-40B4-BE49-F238E27FC236}">
                <a16:creationId xmlns:a16="http://schemas.microsoft.com/office/drawing/2014/main" id="{BE65DCFF-13DB-489A-F6C3-4E19F9FA314B}"/>
              </a:ext>
              <a:ext uri="{C183D7F6-B498-43B3-948B-1728B52AA6E4}">
                <adec:decorative xmlns:adec="http://schemas.microsoft.com/office/drawing/2017/decorative" val="0"/>
              </a:ext>
            </a:extLst>
          </p:cNvPr>
          <p:cNvSpPr txBox="1"/>
          <p:nvPr/>
        </p:nvSpPr>
        <p:spPr>
          <a:xfrm>
            <a:off x="4592561" y="2916039"/>
            <a:ext cx="3008466" cy="692497"/>
          </a:xfrm>
          <a:prstGeom prst="rect">
            <a:avLst/>
          </a:prstGeom>
          <a:noFill/>
        </p:spPr>
        <p:txBody>
          <a:bodyPr wrap="square" lIns="0" tIns="0" rIns="0" bIns="0" anchor="t">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w="3175">
                  <a:noFill/>
                </a:ln>
                <a:gradFill flip="none" rotWithShape="1">
                  <a:gsLst>
                    <a:gs pos="50000">
                      <a:srgbClr val="8661C5"/>
                    </a:gs>
                    <a:gs pos="0">
                      <a:srgbClr val="3E76D4"/>
                    </a:gs>
                    <a:gs pos="100000">
                      <a:srgbClr val="C73ECC"/>
                    </a:gs>
                  </a:gsLst>
                  <a:lin ang="2700000" scaled="1"/>
                  <a:tileRect/>
                </a:gradFill>
                <a:effectLst/>
                <a:uLnTx/>
                <a:uFillTx/>
                <a:latin typeface="Segoe UI Semibold"/>
                <a:ea typeface="+mn-ea"/>
                <a:cs typeface="+mn-cs"/>
              </a:rPr>
              <a:t>Protect</a:t>
            </a:r>
          </a:p>
          <a:p>
            <a:pPr marL="0" marR="0" lvl="0" indent="0" algn="ctr" defTabSz="914367" rtl="0" eaLnBrk="1" fontAlgn="auto" latinLnBrk="0" hangingPunct="1">
              <a:lnSpc>
                <a:spcPct val="100000"/>
              </a:lnSpc>
              <a:spcBef>
                <a:spcPts val="0"/>
              </a:spcBef>
              <a:spcAft>
                <a:spcPts val="600"/>
              </a:spcAft>
              <a:buClrTx/>
              <a:buSzTx/>
              <a:buFontTx/>
              <a:buNone/>
              <a:tabLst/>
              <a:defRPr/>
            </a:pPr>
            <a:r>
              <a:rPr lang="en-US" sz="2000">
                <a:solidFill>
                  <a:srgbClr val="000000"/>
                </a:solidFill>
                <a:latin typeface="Segoe UI Semibold"/>
              </a:rPr>
              <a:t>Sensitive</a:t>
            </a:r>
            <a:r>
              <a:rPr kumimoji="0" lang="en-US" sz="2000" b="0" i="0" u="none" strike="noStrike" kern="1200" cap="none" spc="0" normalizeH="0" baseline="0" noProof="0">
                <a:ln>
                  <a:noFill/>
                </a:ln>
                <a:solidFill>
                  <a:srgbClr val="000000"/>
                </a:solidFill>
                <a:effectLst/>
                <a:uLnTx/>
                <a:uFillTx/>
                <a:latin typeface="Segoe UI Semibold"/>
                <a:ea typeface="+mn-ea"/>
                <a:cs typeface="+mn-cs"/>
              </a:rPr>
              <a:t> data</a:t>
            </a:r>
          </a:p>
        </p:txBody>
      </p:sp>
      <p:sp>
        <p:nvSpPr>
          <p:cNvPr id="72" name="Graphic 35" descr="Icon of a government building">
            <a:extLst>
              <a:ext uri="{FF2B5EF4-FFF2-40B4-BE49-F238E27FC236}">
                <a16:creationId xmlns:a16="http://schemas.microsoft.com/office/drawing/2014/main" id="{769D4F4A-F7FF-600D-AFB5-DF90971C09CB}"/>
              </a:ext>
            </a:extLst>
          </p:cNvPr>
          <p:cNvSpPr>
            <a:spLocks/>
          </p:cNvSpPr>
          <p:nvPr/>
        </p:nvSpPr>
        <p:spPr>
          <a:xfrm>
            <a:off x="9520556" y="2117969"/>
            <a:ext cx="380682" cy="380666"/>
          </a:xfrm>
          <a:custGeom>
            <a:avLst/>
            <a:gdLst>
              <a:gd name="connsiteX0" fmla="*/ 1114704 w 1651412"/>
              <a:gd name="connsiteY0" fmla="*/ 0 h 1651412"/>
              <a:gd name="connsiteX1" fmla="*/ 805064 w 1651412"/>
              <a:gd name="connsiteY1" fmla="*/ 0 h 1651412"/>
              <a:gd name="connsiteX2" fmla="*/ 743136 w 1651412"/>
              <a:gd name="connsiteY2" fmla="*/ 61928 h 1651412"/>
              <a:gd name="connsiteX3" fmla="*/ 743136 w 1651412"/>
              <a:gd name="connsiteY3" fmla="*/ 336062 h 1651412"/>
              <a:gd name="connsiteX4" fmla="*/ 247712 w 1651412"/>
              <a:gd name="connsiteY4" fmla="*/ 908277 h 1651412"/>
              <a:gd name="connsiteX5" fmla="*/ 185784 w 1651412"/>
              <a:gd name="connsiteY5" fmla="*/ 908277 h 1651412"/>
              <a:gd name="connsiteX6" fmla="*/ 0 w 1651412"/>
              <a:gd name="connsiteY6" fmla="*/ 1094061 h 1651412"/>
              <a:gd name="connsiteX7" fmla="*/ 0 w 1651412"/>
              <a:gd name="connsiteY7" fmla="*/ 1589485 h 1651412"/>
              <a:gd name="connsiteX8" fmla="*/ 61928 w 1651412"/>
              <a:gd name="connsiteY8" fmla="*/ 1651413 h 1651412"/>
              <a:gd name="connsiteX9" fmla="*/ 660565 w 1651412"/>
              <a:gd name="connsiteY9" fmla="*/ 1651413 h 1651412"/>
              <a:gd name="connsiteX10" fmla="*/ 681208 w 1651412"/>
              <a:gd name="connsiteY10" fmla="*/ 1630770 h 1651412"/>
              <a:gd name="connsiteX11" fmla="*/ 681208 w 1651412"/>
              <a:gd name="connsiteY11" fmla="*/ 1383058 h 1651412"/>
              <a:gd name="connsiteX12" fmla="*/ 722493 w 1651412"/>
              <a:gd name="connsiteY12" fmla="*/ 1341773 h 1651412"/>
              <a:gd name="connsiteX13" fmla="*/ 928920 w 1651412"/>
              <a:gd name="connsiteY13" fmla="*/ 1341773 h 1651412"/>
              <a:gd name="connsiteX14" fmla="*/ 970205 w 1651412"/>
              <a:gd name="connsiteY14" fmla="*/ 1383058 h 1651412"/>
              <a:gd name="connsiteX15" fmla="*/ 970205 w 1651412"/>
              <a:gd name="connsiteY15" fmla="*/ 1630770 h 1651412"/>
              <a:gd name="connsiteX16" fmla="*/ 990848 w 1651412"/>
              <a:gd name="connsiteY16" fmla="*/ 1651413 h 1651412"/>
              <a:gd name="connsiteX17" fmla="*/ 1589485 w 1651412"/>
              <a:gd name="connsiteY17" fmla="*/ 1651413 h 1651412"/>
              <a:gd name="connsiteX18" fmla="*/ 1651413 w 1651412"/>
              <a:gd name="connsiteY18" fmla="*/ 1589485 h 1651412"/>
              <a:gd name="connsiteX19" fmla="*/ 1651413 w 1651412"/>
              <a:gd name="connsiteY19" fmla="*/ 1094061 h 1651412"/>
              <a:gd name="connsiteX20" fmla="*/ 1465629 w 1651412"/>
              <a:gd name="connsiteY20" fmla="*/ 908277 h 1651412"/>
              <a:gd name="connsiteX21" fmla="*/ 1403701 w 1651412"/>
              <a:gd name="connsiteY21" fmla="*/ 908277 h 1651412"/>
              <a:gd name="connsiteX22" fmla="*/ 866992 w 1651412"/>
              <a:gd name="connsiteY22" fmla="*/ 331769 h 1651412"/>
              <a:gd name="connsiteX23" fmla="*/ 866992 w 1651412"/>
              <a:gd name="connsiteY23" fmla="*/ 247712 h 1651412"/>
              <a:gd name="connsiteX24" fmla="*/ 1114704 w 1651412"/>
              <a:gd name="connsiteY24" fmla="*/ 247712 h 1651412"/>
              <a:gd name="connsiteX25" fmla="*/ 1155989 w 1651412"/>
              <a:gd name="connsiteY25" fmla="*/ 206427 h 1651412"/>
              <a:gd name="connsiteX26" fmla="*/ 1155989 w 1651412"/>
              <a:gd name="connsiteY26" fmla="*/ 41285 h 1651412"/>
              <a:gd name="connsiteX27" fmla="*/ 1114704 w 1651412"/>
              <a:gd name="connsiteY27" fmla="*/ 0 h 1651412"/>
              <a:gd name="connsiteX28" fmla="*/ 1114704 w 1651412"/>
              <a:gd name="connsiteY28" fmla="*/ 805064 h 1651412"/>
              <a:gd name="connsiteX29" fmla="*/ 1114704 w 1651412"/>
              <a:gd name="connsiteY29" fmla="*/ 970205 h 1651412"/>
              <a:gd name="connsiteX30" fmla="*/ 1052776 w 1651412"/>
              <a:gd name="connsiteY30" fmla="*/ 1032133 h 1651412"/>
              <a:gd name="connsiteX31" fmla="*/ 990848 w 1651412"/>
              <a:gd name="connsiteY31" fmla="*/ 970205 h 1651412"/>
              <a:gd name="connsiteX32" fmla="*/ 990848 w 1651412"/>
              <a:gd name="connsiteY32" fmla="*/ 805064 h 1651412"/>
              <a:gd name="connsiteX33" fmla="*/ 1052776 w 1651412"/>
              <a:gd name="connsiteY33" fmla="*/ 743136 h 1651412"/>
              <a:gd name="connsiteX34" fmla="*/ 1114704 w 1651412"/>
              <a:gd name="connsiteY34" fmla="*/ 805064 h 1651412"/>
              <a:gd name="connsiteX35" fmla="*/ 805064 w 1651412"/>
              <a:gd name="connsiteY35" fmla="*/ 743136 h 1651412"/>
              <a:gd name="connsiteX36" fmla="*/ 866992 w 1651412"/>
              <a:gd name="connsiteY36" fmla="*/ 805064 h 1651412"/>
              <a:gd name="connsiteX37" fmla="*/ 866992 w 1651412"/>
              <a:gd name="connsiteY37" fmla="*/ 970205 h 1651412"/>
              <a:gd name="connsiteX38" fmla="*/ 805064 w 1651412"/>
              <a:gd name="connsiteY38" fmla="*/ 1032133 h 1651412"/>
              <a:gd name="connsiteX39" fmla="*/ 743136 w 1651412"/>
              <a:gd name="connsiteY39" fmla="*/ 970205 h 1651412"/>
              <a:gd name="connsiteX40" fmla="*/ 743136 w 1651412"/>
              <a:gd name="connsiteY40" fmla="*/ 805064 h 1651412"/>
              <a:gd name="connsiteX41" fmla="*/ 805064 w 1651412"/>
              <a:gd name="connsiteY41" fmla="*/ 743136 h 1651412"/>
              <a:gd name="connsiteX42" fmla="*/ 619280 w 1651412"/>
              <a:gd name="connsiteY42" fmla="*/ 805064 h 1651412"/>
              <a:gd name="connsiteX43" fmla="*/ 619280 w 1651412"/>
              <a:gd name="connsiteY43" fmla="*/ 970205 h 1651412"/>
              <a:gd name="connsiteX44" fmla="*/ 557352 w 1651412"/>
              <a:gd name="connsiteY44" fmla="*/ 1032133 h 1651412"/>
              <a:gd name="connsiteX45" fmla="*/ 495424 w 1651412"/>
              <a:gd name="connsiteY45" fmla="*/ 970205 h 1651412"/>
              <a:gd name="connsiteX46" fmla="*/ 495424 w 1651412"/>
              <a:gd name="connsiteY46" fmla="*/ 805064 h 1651412"/>
              <a:gd name="connsiteX47" fmla="*/ 557352 w 1651412"/>
              <a:gd name="connsiteY47" fmla="*/ 743136 h 1651412"/>
              <a:gd name="connsiteX48" fmla="*/ 619280 w 1651412"/>
              <a:gd name="connsiteY48" fmla="*/ 805064 h 1651412"/>
              <a:gd name="connsiteX49" fmla="*/ 309640 w 1651412"/>
              <a:gd name="connsiteY49" fmla="*/ 1114704 h 1651412"/>
              <a:gd name="connsiteX50" fmla="*/ 371568 w 1651412"/>
              <a:gd name="connsiteY50" fmla="*/ 1176631 h 1651412"/>
              <a:gd name="connsiteX51" fmla="*/ 371568 w 1651412"/>
              <a:gd name="connsiteY51" fmla="*/ 1383058 h 1651412"/>
              <a:gd name="connsiteX52" fmla="*/ 309640 w 1651412"/>
              <a:gd name="connsiteY52" fmla="*/ 1444986 h 1651412"/>
              <a:gd name="connsiteX53" fmla="*/ 247712 w 1651412"/>
              <a:gd name="connsiteY53" fmla="*/ 1383058 h 1651412"/>
              <a:gd name="connsiteX54" fmla="*/ 247712 w 1651412"/>
              <a:gd name="connsiteY54" fmla="*/ 1176631 h 1651412"/>
              <a:gd name="connsiteX55" fmla="*/ 309640 w 1651412"/>
              <a:gd name="connsiteY55" fmla="*/ 1114704 h 1651412"/>
              <a:gd name="connsiteX56" fmla="*/ 1403701 w 1651412"/>
              <a:gd name="connsiteY56" fmla="*/ 1176631 h 1651412"/>
              <a:gd name="connsiteX57" fmla="*/ 1403701 w 1651412"/>
              <a:gd name="connsiteY57" fmla="*/ 1383058 h 1651412"/>
              <a:gd name="connsiteX58" fmla="*/ 1341773 w 1651412"/>
              <a:gd name="connsiteY58" fmla="*/ 1444986 h 1651412"/>
              <a:gd name="connsiteX59" fmla="*/ 1279845 w 1651412"/>
              <a:gd name="connsiteY59" fmla="*/ 1383058 h 1651412"/>
              <a:gd name="connsiteX60" fmla="*/ 1279845 w 1651412"/>
              <a:gd name="connsiteY60" fmla="*/ 1176631 h 1651412"/>
              <a:gd name="connsiteX61" fmla="*/ 1341773 w 1651412"/>
              <a:gd name="connsiteY61" fmla="*/ 1114704 h 1651412"/>
              <a:gd name="connsiteX62" fmla="*/ 1403701 w 1651412"/>
              <a:gd name="connsiteY62" fmla="*/ 1176631 h 165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651412" h="1651412">
                <a:moveTo>
                  <a:pt x="1114704" y="0"/>
                </a:moveTo>
                <a:lnTo>
                  <a:pt x="805064" y="0"/>
                </a:lnTo>
                <a:cubicBezTo>
                  <a:pt x="770863" y="0"/>
                  <a:pt x="743136" y="27726"/>
                  <a:pt x="743136" y="61928"/>
                </a:cubicBezTo>
                <a:lnTo>
                  <a:pt x="743136" y="336062"/>
                </a:lnTo>
                <a:cubicBezTo>
                  <a:pt x="458743" y="377183"/>
                  <a:pt x="247709" y="620926"/>
                  <a:pt x="247712" y="908277"/>
                </a:cubicBezTo>
                <a:lnTo>
                  <a:pt x="185784" y="908277"/>
                </a:lnTo>
                <a:cubicBezTo>
                  <a:pt x="83178" y="908277"/>
                  <a:pt x="0" y="991459"/>
                  <a:pt x="0" y="1094061"/>
                </a:cubicBezTo>
                <a:lnTo>
                  <a:pt x="0" y="1589485"/>
                </a:lnTo>
                <a:cubicBezTo>
                  <a:pt x="0" y="1623669"/>
                  <a:pt x="27744" y="1651413"/>
                  <a:pt x="61928" y="1651413"/>
                </a:cubicBezTo>
                <a:lnTo>
                  <a:pt x="660565" y="1651413"/>
                </a:lnTo>
                <a:cubicBezTo>
                  <a:pt x="671968" y="1651413"/>
                  <a:pt x="681208" y="1642173"/>
                  <a:pt x="681208" y="1630770"/>
                </a:cubicBezTo>
                <a:lnTo>
                  <a:pt x="681208" y="1383058"/>
                </a:lnTo>
                <a:cubicBezTo>
                  <a:pt x="681208" y="1360260"/>
                  <a:pt x="699695" y="1341773"/>
                  <a:pt x="722493" y="1341773"/>
                </a:cubicBezTo>
                <a:lnTo>
                  <a:pt x="928920" y="1341773"/>
                </a:lnTo>
                <a:cubicBezTo>
                  <a:pt x="951717" y="1341773"/>
                  <a:pt x="970205" y="1360260"/>
                  <a:pt x="970205" y="1383058"/>
                </a:cubicBezTo>
                <a:lnTo>
                  <a:pt x="970205" y="1630770"/>
                </a:lnTo>
                <a:cubicBezTo>
                  <a:pt x="970205" y="1642165"/>
                  <a:pt x="979453" y="1651413"/>
                  <a:pt x="990848" y="1651413"/>
                </a:cubicBezTo>
                <a:lnTo>
                  <a:pt x="1589485" y="1651413"/>
                </a:lnTo>
                <a:cubicBezTo>
                  <a:pt x="1623685" y="1651413"/>
                  <a:pt x="1651413" y="1623685"/>
                  <a:pt x="1651413" y="1589485"/>
                </a:cubicBezTo>
                <a:lnTo>
                  <a:pt x="1651413" y="1094061"/>
                </a:lnTo>
                <a:cubicBezTo>
                  <a:pt x="1651413" y="991459"/>
                  <a:pt x="1568231" y="908277"/>
                  <a:pt x="1465629" y="908277"/>
                </a:cubicBezTo>
                <a:lnTo>
                  <a:pt x="1403701" y="908277"/>
                </a:lnTo>
                <a:cubicBezTo>
                  <a:pt x="1403692" y="605083"/>
                  <a:pt x="1169415" y="353425"/>
                  <a:pt x="866992" y="331769"/>
                </a:cubicBezTo>
                <a:lnTo>
                  <a:pt x="866992" y="247712"/>
                </a:lnTo>
                <a:lnTo>
                  <a:pt x="1114704" y="247712"/>
                </a:lnTo>
                <a:cubicBezTo>
                  <a:pt x="1137501" y="247712"/>
                  <a:pt x="1155989" y="229228"/>
                  <a:pt x="1155989" y="206427"/>
                </a:cubicBezTo>
                <a:lnTo>
                  <a:pt x="1155989" y="41285"/>
                </a:lnTo>
                <a:cubicBezTo>
                  <a:pt x="1155989" y="18484"/>
                  <a:pt x="1137501" y="0"/>
                  <a:pt x="1114704" y="0"/>
                </a:cubicBezTo>
                <a:close/>
                <a:moveTo>
                  <a:pt x="1114704" y="805064"/>
                </a:moveTo>
                <a:lnTo>
                  <a:pt x="1114704" y="970205"/>
                </a:lnTo>
                <a:cubicBezTo>
                  <a:pt x="1114704" y="1004406"/>
                  <a:pt x="1086976" y="1032133"/>
                  <a:pt x="1052776" y="1032133"/>
                </a:cubicBezTo>
                <a:cubicBezTo>
                  <a:pt x="1018575" y="1032133"/>
                  <a:pt x="990848" y="1004406"/>
                  <a:pt x="990848" y="970205"/>
                </a:cubicBezTo>
                <a:lnTo>
                  <a:pt x="990848" y="805064"/>
                </a:lnTo>
                <a:cubicBezTo>
                  <a:pt x="990848" y="770863"/>
                  <a:pt x="1018575" y="743136"/>
                  <a:pt x="1052776" y="743136"/>
                </a:cubicBezTo>
                <a:cubicBezTo>
                  <a:pt x="1086976" y="743136"/>
                  <a:pt x="1114704" y="770863"/>
                  <a:pt x="1114704" y="805064"/>
                </a:cubicBezTo>
                <a:close/>
                <a:moveTo>
                  <a:pt x="805064" y="743136"/>
                </a:moveTo>
                <a:cubicBezTo>
                  <a:pt x="839264" y="743136"/>
                  <a:pt x="866992" y="770863"/>
                  <a:pt x="866992" y="805064"/>
                </a:cubicBezTo>
                <a:lnTo>
                  <a:pt x="866992" y="970205"/>
                </a:lnTo>
                <a:cubicBezTo>
                  <a:pt x="866992" y="1004406"/>
                  <a:pt x="839264" y="1032133"/>
                  <a:pt x="805064" y="1032133"/>
                </a:cubicBezTo>
                <a:cubicBezTo>
                  <a:pt x="770863" y="1032133"/>
                  <a:pt x="743136" y="1004406"/>
                  <a:pt x="743136" y="970205"/>
                </a:cubicBezTo>
                <a:lnTo>
                  <a:pt x="743136" y="805064"/>
                </a:lnTo>
                <a:cubicBezTo>
                  <a:pt x="743136" y="770863"/>
                  <a:pt x="770863" y="743136"/>
                  <a:pt x="805064" y="743136"/>
                </a:cubicBezTo>
                <a:close/>
                <a:moveTo>
                  <a:pt x="619280" y="805064"/>
                </a:moveTo>
                <a:lnTo>
                  <a:pt x="619280" y="970205"/>
                </a:lnTo>
                <a:cubicBezTo>
                  <a:pt x="619280" y="1004406"/>
                  <a:pt x="591553" y="1032133"/>
                  <a:pt x="557352" y="1032133"/>
                </a:cubicBezTo>
                <a:cubicBezTo>
                  <a:pt x="523150" y="1032133"/>
                  <a:pt x="495424" y="1004406"/>
                  <a:pt x="495424" y="970205"/>
                </a:cubicBezTo>
                <a:lnTo>
                  <a:pt x="495424" y="805064"/>
                </a:lnTo>
                <a:cubicBezTo>
                  <a:pt x="495424" y="770863"/>
                  <a:pt x="523150" y="743136"/>
                  <a:pt x="557352" y="743136"/>
                </a:cubicBezTo>
                <a:cubicBezTo>
                  <a:pt x="591553" y="743136"/>
                  <a:pt x="619280" y="770863"/>
                  <a:pt x="619280" y="805064"/>
                </a:cubicBezTo>
                <a:close/>
                <a:moveTo>
                  <a:pt x="309640" y="1114704"/>
                </a:moveTo>
                <a:cubicBezTo>
                  <a:pt x="343841" y="1114704"/>
                  <a:pt x="371568" y="1142431"/>
                  <a:pt x="371568" y="1176631"/>
                </a:cubicBezTo>
                <a:lnTo>
                  <a:pt x="371568" y="1383058"/>
                </a:lnTo>
                <a:cubicBezTo>
                  <a:pt x="371568" y="1417259"/>
                  <a:pt x="343841" y="1444986"/>
                  <a:pt x="309640" y="1444986"/>
                </a:cubicBezTo>
                <a:cubicBezTo>
                  <a:pt x="275438" y="1444986"/>
                  <a:pt x="247712" y="1417259"/>
                  <a:pt x="247712" y="1383058"/>
                </a:cubicBezTo>
                <a:lnTo>
                  <a:pt x="247712" y="1176631"/>
                </a:lnTo>
                <a:cubicBezTo>
                  <a:pt x="247712" y="1142431"/>
                  <a:pt x="275438" y="1114704"/>
                  <a:pt x="309640" y="1114704"/>
                </a:cubicBezTo>
                <a:close/>
                <a:moveTo>
                  <a:pt x="1403701" y="1176631"/>
                </a:moveTo>
                <a:lnTo>
                  <a:pt x="1403701" y="1383058"/>
                </a:lnTo>
                <a:cubicBezTo>
                  <a:pt x="1403701" y="1417259"/>
                  <a:pt x="1375973" y="1444986"/>
                  <a:pt x="1341773" y="1444986"/>
                </a:cubicBezTo>
                <a:cubicBezTo>
                  <a:pt x="1307572" y="1444986"/>
                  <a:pt x="1279845" y="1417259"/>
                  <a:pt x="1279845" y="1383058"/>
                </a:cubicBezTo>
                <a:lnTo>
                  <a:pt x="1279845" y="1176631"/>
                </a:lnTo>
                <a:cubicBezTo>
                  <a:pt x="1279845" y="1142431"/>
                  <a:pt x="1307572" y="1114704"/>
                  <a:pt x="1341773" y="1114704"/>
                </a:cubicBezTo>
                <a:cubicBezTo>
                  <a:pt x="1375973" y="1114704"/>
                  <a:pt x="1403701" y="1142431"/>
                  <a:pt x="1403701" y="1176631"/>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0" name="TextBox 109">
            <a:extLst>
              <a:ext uri="{FF2B5EF4-FFF2-40B4-BE49-F238E27FC236}">
                <a16:creationId xmlns:a16="http://schemas.microsoft.com/office/drawing/2014/main" id="{338666CA-E3CC-61E6-6C33-0654879633D7}"/>
              </a:ext>
              <a:ext uri="{C183D7F6-B498-43B3-948B-1728B52AA6E4}">
                <adec:decorative xmlns:adec="http://schemas.microsoft.com/office/drawing/2017/decorative" val="0"/>
              </a:ext>
            </a:extLst>
          </p:cNvPr>
          <p:cNvSpPr txBox="1"/>
          <p:nvPr/>
        </p:nvSpPr>
        <p:spPr>
          <a:xfrm>
            <a:off x="8206663" y="2916039"/>
            <a:ext cx="3008466" cy="692497"/>
          </a:xfrm>
          <a:prstGeom prst="rect">
            <a:avLst/>
          </a:prstGeom>
          <a:noFill/>
        </p:spPr>
        <p:txBody>
          <a:bodyPr wrap="square" lIns="0" tIns="0" rIns="0" bIns="0" anchor="t">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w="3175">
                  <a:noFill/>
                </a:ln>
                <a:gradFill flip="none" rotWithShape="1">
                  <a:gsLst>
                    <a:gs pos="50000">
                      <a:srgbClr val="8661C5"/>
                    </a:gs>
                    <a:gs pos="0">
                      <a:srgbClr val="3E76D4"/>
                    </a:gs>
                    <a:gs pos="100000">
                      <a:srgbClr val="C73ECC"/>
                    </a:gs>
                  </a:gsLst>
                  <a:lin ang="2700000" scaled="1"/>
                  <a:tileRect/>
                </a:gradFill>
                <a:effectLst/>
                <a:uLnTx/>
                <a:uFillTx/>
                <a:latin typeface="Segoe UI Semibold"/>
                <a:ea typeface="+mn-ea"/>
                <a:cs typeface="+mn-cs"/>
              </a:rPr>
              <a:t>Govern</a:t>
            </a:r>
          </a:p>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Compliant usage</a:t>
            </a:r>
          </a:p>
        </p:txBody>
      </p:sp>
      <p:sp>
        <p:nvSpPr>
          <p:cNvPr id="5" name="TextBox 4">
            <a:extLst>
              <a:ext uri="{FF2B5EF4-FFF2-40B4-BE49-F238E27FC236}">
                <a16:creationId xmlns:a16="http://schemas.microsoft.com/office/drawing/2014/main" id="{D4E9D2BB-E66C-D955-B118-5D61CCE48FA6}"/>
              </a:ext>
            </a:extLst>
          </p:cNvPr>
          <p:cNvSpPr txBox="1"/>
          <p:nvPr/>
        </p:nvSpPr>
        <p:spPr>
          <a:xfrm>
            <a:off x="1188890" y="1105368"/>
            <a:ext cx="8267529" cy="369332"/>
          </a:xfrm>
          <a:prstGeom prst="rect">
            <a:avLst/>
          </a:prstGeom>
          <a:noFill/>
        </p:spPr>
        <p:txBody>
          <a:bodyPr wrap="square">
            <a:spAutoFit/>
          </a:bodyPr>
          <a:lstStyle/>
          <a:p>
            <a:pPr lvl="0" algn="ctr" defTabSz="932742">
              <a:spcBef>
                <a:spcPct val="0"/>
              </a:spcBef>
              <a:defRPr/>
            </a:pPr>
            <a:r>
              <a:rPr kumimoji="0" lang="en-US" sz="1800" b="0" i="0" u="none" strike="noStrike" kern="1200" cap="none" spc="0" normalizeH="0" baseline="0" noProof="0">
                <a:ln w="3175">
                  <a:noFill/>
                </a:ln>
                <a:solidFill>
                  <a:srgbClr val="1C1C1C"/>
                </a:solidFill>
                <a:effectLst/>
                <a:uLnTx/>
                <a:uFillTx/>
                <a:latin typeface="Segoe UI"/>
                <a:ea typeface="+mn-ea"/>
                <a:cs typeface="Segoe UI" pitchFamily="34" charset="0"/>
              </a:rPr>
              <a:t>Unified data security, governance and compliance solutions for all data</a:t>
            </a:r>
            <a:endParaRPr kumimoji="0" lang="en-US" b="0" i="0" u="none" strike="noStrike" kern="1200" cap="none" spc="0" normalizeH="0" baseline="0" noProof="0">
              <a:ln w="3175">
                <a:noFill/>
              </a:ln>
              <a:solidFill>
                <a:srgbClr val="1C1C1C"/>
              </a:solidFill>
              <a:effectLst/>
              <a:uLnTx/>
              <a:uFillTx/>
              <a:latin typeface="Segoe UI"/>
              <a:ea typeface="+mn-ea"/>
              <a:cs typeface="Segoe UI" pitchFamily="34" charset="0"/>
            </a:endParaRPr>
          </a:p>
        </p:txBody>
      </p:sp>
      <p:pic>
        <p:nvPicPr>
          <p:cNvPr id="6" name="Picture 5">
            <a:extLst>
              <a:ext uri="{FF2B5EF4-FFF2-40B4-BE49-F238E27FC236}">
                <a16:creationId xmlns:a16="http://schemas.microsoft.com/office/drawing/2014/main" id="{2F52E84D-6463-8E91-EA1E-71A8242741C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951833" y="722002"/>
            <a:ext cx="340768" cy="340768"/>
          </a:xfrm>
          <a:prstGeom prst="rect">
            <a:avLst/>
          </a:prstGeom>
        </p:spPr>
      </p:pic>
      <p:sp>
        <p:nvSpPr>
          <p:cNvPr id="7" name="Rectangle: Rounded Corners 6">
            <a:extLst>
              <a:ext uri="{FF2B5EF4-FFF2-40B4-BE49-F238E27FC236}">
                <a16:creationId xmlns:a16="http://schemas.microsoft.com/office/drawing/2014/main" id="{847B5A84-68FF-355B-E0BD-5828DACE0A7F}"/>
              </a:ext>
              <a:ext uri="{C183D7F6-B498-43B3-948B-1728B52AA6E4}">
                <adec:decorative xmlns:adec="http://schemas.microsoft.com/office/drawing/2017/decorative" val="1"/>
              </a:ext>
            </a:extLst>
          </p:cNvPr>
          <p:cNvSpPr>
            <a:spLocks/>
          </p:cNvSpPr>
          <p:nvPr/>
        </p:nvSpPr>
        <p:spPr bwMode="auto">
          <a:xfrm>
            <a:off x="768783" y="4280083"/>
            <a:ext cx="10659428" cy="1855915"/>
          </a:xfrm>
          <a:prstGeom prst="roundRect">
            <a:avLst>
              <a:gd name="adj" fmla="val 4779"/>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A7806607-A691-397B-D4C3-B6B45211EDAC}"/>
              </a:ext>
              <a:ext uri="{C183D7F6-B498-43B3-948B-1728B52AA6E4}">
                <adec:decorative xmlns:adec="http://schemas.microsoft.com/office/drawing/2017/decorative" val="1"/>
              </a:ext>
            </a:extLst>
          </p:cNvPr>
          <p:cNvSpPr/>
          <p:nvPr/>
        </p:nvSpPr>
        <p:spPr>
          <a:xfrm>
            <a:off x="5721569" y="4516878"/>
            <a:ext cx="748862" cy="246221"/>
          </a:xfrm>
          <a:prstGeom prst="rect">
            <a:avLst/>
          </a:prstGeom>
          <a:noFill/>
        </p:spPr>
        <p:txBody>
          <a:bodyPr wrap="square" lIns="0" tIns="0" rIns="0" bIns="0" anchor="t">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across</a:t>
            </a:r>
          </a:p>
        </p:txBody>
      </p:sp>
      <p:sp>
        <p:nvSpPr>
          <p:cNvPr id="11" name="TextBox 10">
            <a:extLst>
              <a:ext uri="{FF2B5EF4-FFF2-40B4-BE49-F238E27FC236}">
                <a16:creationId xmlns:a16="http://schemas.microsoft.com/office/drawing/2014/main" id="{49FC5CA6-8C74-50E1-9F3C-B56D6852B10A}"/>
              </a:ext>
              <a:ext uri="{C183D7F6-B498-43B3-948B-1728B52AA6E4}">
                <adec:decorative xmlns:adec="http://schemas.microsoft.com/office/drawing/2017/decorative" val="0"/>
              </a:ext>
            </a:extLst>
          </p:cNvPr>
          <p:cNvSpPr txBox="1"/>
          <p:nvPr/>
        </p:nvSpPr>
        <p:spPr>
          <a:xfrm>
            <a:off x="978758" y="5377286"/>
            <a:ext cx="1813300" cy="61555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Structur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a:solidFill>
                  <a:srgbClr val="000000"/>
                </a:solidFill>
                <a:latin typeface="Segoe UI Semibold"/>
              </a:rPr>
              <a:t>data</a:t>
            </a: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2" name="Graphic 8" descr="plus">
            <a:extLst>
              <a:ext uri="{FF2B5EF4-FFF2-40B4-BE49-F238E27FC236}">
                <a16:creationId xmlns:a16="http://schemas.microsoft.com/office/drawing/2014/main" id="{835543CC-9671-D58F-4235-87804F94CA7C}"/>
              </a:ext>
              <a:ext uri="{C183D7F6-B498-43B3-948B-1728B52AA6E4}">
                <adec:decorative xmlns:adec="http://schemas.microsoft.com/office/drawing/2017/decorative" val="0"/>
              </a:ext>
            </a:extLst>
          </p:cNvPr>
          <p:cNvSpPr/>
          <p:nvPr/>
        </p:nvSpPr>
        <p:spPr>
          <a:xfrm>
            <a:off x="3186023" y="5078572"/>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A4953"/>
              </a:solidFill>
              <a:effectLst/>
              <a:uLnTx/>
              <a:uFillTx/>
              <a:latin typeface="Segoe UI Semibold"/>
              <a:ea typeface="+mn-ea"/>
              <a:cs typeface="Segoe UI" pitchFamily="34" charset="0"/>
            </a:endParaRPr>
          </a:p>
        </p:txBody>
      </p:sp>
      <p:sp>
        <p:nvSpPr>
          <p:cNvPr id="17" name="TextBox 16">
            <a:extLst>
              <a:ext uri="{FF2B5EF4-FFF2-40B4-BE49-F238E27FC236}">
                <a16:creationId xmlns:a16="http://schemas.microsoft.com/office/drawing/2014/main" id="{2D86981C-BB02-CFEE-0F8B-CF4CE5767A35}"/>
              </a:ext>
              <a:ext uri="{C183D7F6-B498-43B3-948B-1728B52AA6E4}">
                <adec:decorative xmlns:adec="http://schemas.microsoft.com/office/drawing/2017/decorative" val="0"/>
              </a:ext>
            </a:extLst>
          </p:cNvPr>
          <p:cNvSpPr txBox="1"/>
          <p:nvPr/>
        </p:nvSpPr>
        <p:spPr>
          <a:xfrm>
            <a:off x="3786251" y="5377287"/>
            <a:ext cx="1813300"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Files and Emails</a:t>
            </a:r>
          </a:p>
        </p:txBody>
      </p:sp>
      <p:sp>
        <p:nvSpPr>
          <p:cNvPr id="18" name="Graphic 8" descr="plus">
            <a:extLst>
              <a:ext uri="{FF2B5EF4-FFF2-40B4-BE49-F238E27FC236}">
                <a16:creationId xmlns:a16="http://schemas.microsoft.com/office/drawing/2014/main" id="{4F942990-0F9A-931D-5F32-28D5D660FFFE}"/>
              </a:ext>
              <a:ext uri="{C183D7F6-B498-43B3-948B-1728B52AA6E4}">
                <adec:decorative xmlns:adec="http://schemas.microsoft.com/office/drawing/2017/decorative" val="0"/>
              </a:ext>
            </a:extLst>
          </p:cNvPr>
          <p:cNvSpPr/>
          <p:nvPr/>
        </p:nvSpPr>
        <p:spPr>
          <a:xfrm>
            <a:off x="5993812" y="5081887"/>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A4953"/>
              </a:solidFill>
              <a:effectLst/>
              <a:uLnTx/>
              <a:uFillTx/>
              <a:latin typeface="Segoe UI Semibold"/>
              <a:ea typeface="+mn-ea"/>
              <a:cs typeface="Segoe UI" pitchFamily="34" charset="0"/>
            </a:endParaRPr>
          </a:p>
        </p:txBody>
      </p:sp>
      <p:sp>
        <p:nvSpPr>
          <p:cNvPr id="23" name="TextBox 22">
            <a:extLst>
              <a:ext uri="{FF2B5EF4-FFF2-40B4-BE49-F238E27FC236}">
                <a16:creationId xmlns:a16="http://schemas.microsoft.com/office/drawing/2014/main" id="{0D6BA753-81FC-5518-5754-FECCDBE17592}"/>
              </a:ext>
              <a:ext uri="{C183D7F6-B498-43B3-948B-1728B52AA6E4}">
                <adec:decorative xmlns:adec="http://schemas.microsoft.com/office/drawing/2017/decorative" val="0"/>
              </a:ext>
            </a:extLst>
          </p:cNvPr>
          <p:cNvSpPr txBox="1"/>
          <p:nvPr/>
        </p:nvSpPr>
        <p:spPr>
          <a:xfrm>
            <a:off x="6594040" y="5377287"/>
            <a:ext cx="1813300" cy="61555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AI-generated data</a:t>
            </a:r>
          </a:p>
        </p:txBody>
      </p:sp>
      <p:sp>
        <p:nvSpPr>
          <p:cNvPr id="25" name="Graphic 8" descr="plus">
            <a:extLst>
              <a:ext uri="{FF2B5EF4-FFF2-40B4-BE49-F238E27FC236}">
                <a16:creationId xmlns:a16="http://schemas.microsoft.com/office/drawing/2014/main" id="{2BA1B739-D9E4-BFFB-C6DC-3325556378B4}"/>
              </a:ext>
              <a:ext uri="{C183D7F6-B498-43B3-948B-1728B52AA6E4}">
                <adec:decorative xmlns:adec="http://schemas.microsoft.com/office/drawing/2017/decorative" val="0"/>
              </a:ext>
            </a:extLst>
          </p:cNvPr>
          <p:cNvSpPr/>
          <p:nvPr/>
        </p:nvSpPr>
        <p:spPr>
          <a:xfrm>
            <a:off x="8801601" y="5075263"/>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A4953"/>
              </a:solidFill>
              <a:effectLst/>
              <a:uLnTx/>
              <a:uFillTx/>
              <a:latin typeface="Segoe UI Semibold"/>
              <a:ea typeface="+mn-ea"/>
              <a:cs typeface="Segoe UI" pitchFamily="34" charset="0"/>
            </a:endParaRPr>
          </a:p>
        </p:txBody>
      </p:sp>
      <p:sp>
        <p:nvSpPr>
          <p:cNvPr id="28" name="Graphic 147" descr="Icon of an AI robot">
            <a:extLst>
              <a:ext uri="{FF2B5EF4-FFF2-40B4-BE49-F238E27FC236}">
                <a16:creationId xmlns:a16="http://schemas.microsoft.com/office/drawing/2014/main" id="{453C0BC4-916A-8DCB-FFCA-B48C647A0957}"/>
              </a:ext>
            </a:extLst>
          </p:cNvPr>
          <p:cNvSpPr>
            <a:spLocks/>
          </p:cNvSpPr>
          <p:nvPr/>
        </p:nvSpPr>
        <p:spPr>
          <a:xfrm>
            <a:off x="7327363" y="4755441"/>
            <a:ext cx="393784" cy="438912"/>
          </a:xfrm>
          <a:custGeom>
            <a:avLst/>
            <a:gdLst>
              <a:gd name="connsiteX0" fmla="*/ 130969 w 152400"/>
              <a:gd name="connsiteY0" fmla="*/ 114300 h 190500"/>
              <a:gd name="connsiteX1" fmla="*/ 152400 w 152400"/>
              <a:gd name="connsiteY1" fmla="*/ 135731 h 190500"/>
              <a:gd name="connsiteX2" fmla="*/ 152400 w 152400"/>
              <a:gd name="connsiteY2" fmla="*/ 144351 h 190500"/>
              <a:gd name="connsiteX3" fmla="*/ 139951 w 152400"/>
              <a:gd name="connsiteY3" fmla="*/ 171460 h 190500"/>
              <a:gd name="connsiteX4" fmla="*/ 76171 w 152400"/>
              <a:gd name="connsiteY4" fmla="*/ 190500 h 190500"/>
              <a:gd name="connsiteX5" fmla="*/ 12440 w 152400"/>
              <a:gd name="connsiteY5" fmla="*/ 171450 h 190500"/>
              <a:gd name="connsiteX6" fmla="*/ 0 w 152400"/>
              <a:gd name="connsiteY6" fmla="*/ 144370 h 190500"/>
              <a:gd name="connsiteX7" fmla="*/ 0 w 152400"/>
              <a:gd name="connsiteY7" fmla="*/ 135722 h 190500"/>
              <a:gd name="connsiteX8" fmla="*/ 21431 w 152400"/>
              <a:gd name="connsiteY8" fmla="*/ 114300 h 190500"/>
              <a:gd name="connsiteX9" fmla="*/ 130969 w 152400"/>
              <a:gd name="connsiteY9" fmla="*/ 114300 h 190500"/>
              <a:gd name="connsiteX10" fmla="*/ 75200 w 152400"/>
              <a:gd name="connsiteY10" fmla="*/ 76 h 190500"/>
              <a:gd name="connsiteX11" fmla="*/ 76171 w 152400"/>
              <a:gd name="connsiteY11" fmla="*/ 0 h 190500"/>
              <a:gd name="connsiteX12" fmla="*/ 83249 w 152400"/>
              <a:gd name="connsiteY12" fmla="*/ 6172 h 190500"/>
              <a:gd name="connsiteX13" fmla="*/ 83315 w 152400"/>
              <a:gd name="connsiteY13" fmla="*/ 7144 h 190500"/>
              <a:gd name="connsiteX14" fmla="*/ 83315 w 152400"/>
              <a:gd name="connsiteY14" fmla="*/ 14288 h 190500"/>
              <a:gd name="connsiteX15" fmla="*/ 116653 w 152400"/>
              <a:gd name="connsiteY15" fmla="*/ 14288 h 190500"/>
              <a:gd name="connsiteX16" fmla="*/ 138084 w 152400"/>
              <a:gd name="connsiteY16" fmla="*/ 35719 h 190500"/>
              <a:gd name="connsiteX17" fmla="*/ 138084 w 152400"/>
              <a:gd name="connsiteY17" fmla="*/ 78629 h 190500"/>
              <a:gd name="connsiteX18" fmla="*/ 116653 w 152400"/>
              <a:gd name="connsiteY18" fmla="*/ 100060 h 190500"/>
              <a:gd name="connsiteX19" fmla="*/ 35690 w 152400"/>
              <a:gd name="connsiteY19" fmla="*/ 100060 h 190500"/>
              <a:gd name="connsiteX20" fmla="*/ 14259 w 152400"/>
              <a:gd name="connsiteY20" fmla="*/ 78629 h 190500"/>
              <a:gd name="connsiteX21" fmla="*/ 14259 w 152400"/>
              <a:gd name="connsiteY21" fmla="*/ 35719 h 190500"/>
              <a:gd name="connsiteX22" fmla="*/ 35690 w 152400"/>
              <a:gd name="connsiteY22" fmla="*/ 14288 h 190500"/>
              <a:gd name="connsiteX23" fmla="*/ 69028 w 152400"/>
              <a:gd name="connsiteY23" fmla="*/ 14288 h 190500"/>
              <a:gd name="connsiteX24" fmla="*/ 69028 w 152400"/>
              <a:gd name="connsiteY24" fmla="*/ 7153 h 190500"/>
              <a:gd name="connsiteX25" fmla="*/ 75200 w 152400"/>
              <a:gd name="connsiteY25" fmla="*/ 76 h 190500"/>
              <a:gd name="connsiteX26" fmla="*/ 76171 w 152400"/>
              <a:gd name="connsiteY26" fmla="*/ 0 h 190500"/>
              <a:gd name="connsiteX27" fmla="*/ 75200 w 152400"/>
              <a:gd name="connsiteY27" fmla="*/ 67 h 190500"/>
              <a:gd name="connsiteX28" fmla="*/ 54740 w 152400"/>
              <a:gd name="connsiteY28" fmla="*/ 42863 h 190500"/>
              <a:gd name="connsiteX29" fmla="*/ 42834 w 152400"/>
              <a:gd name="connsiteY29" fmla="*/ 54769 h 190500"/>
              <a:gd name="connsiteX30" fmla="*/ 54740 w 152400"/>
              <a:gd name="connsiteY30" fmla="*/ 66675 h 190500"/>
              <a:gd name="connsiteX31" fmla="*/ 66646 w 152400"/>
              <a:gd name="connsiteY31" fmla="*/ 54769 h 190500"/>
              <a:gd name="connsiteX32" fmla="*/ 54740 w 152400"/>
              <a:gd name="connsiteY32" fmla="*/ 42863 h 190500"/>
              <a:gd name="connsiteX33" fmla="*/ 97536 w 152400"/>
              <a:gd name="connsiteY33" fmla="*/ 42863 h 190500"/>
              <a:gd name="connsiteX34" fmla="*/ 85297 w 152400"/>
              <a:gd name="connsiteY34" fmla="*/ 54427 h 190500"/>
              <a:gd name="connsiteX35" fmla="*/ 96863 w 152400"/>
              <a:gd name="connsiteY35" fmla="*/ 66665 h 190500"/>
              <a:gd name="connsiteX36" fmla="*/ 97536 w 152400"/>
              <a:gd name="connsiteY36" fmla="*/ 66665 h 190500"/>
              <a:gd name="connsiteX37" fmla="*/ 109100 w 152400"/>
              <a:gd name="connsiteY37" fmla="*/ 54427 h 190500"/>
              <a:gd name="connsiteX38" fmla="*/ 97536 w 152400"/>
              <a:gd name="connsiteY38" fmla="*/ 4286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2400" h="190500">
                <a:moveTo>
                  <a:pt x="130969" y="114300"/>
                </a:moveTo>
                <a:cubicBezTo>
                  <a:pt x="142805" y="114300"/>
                  <a:pt x="152400" y="123895"/>
                  <a:pt x="152400" y="135731"/>
                </a:cubicBezTo>
                <a:lnTo>
                  <a:pt x="152400" y="144351"/>
                </a:lnTo>
                <a:cubicBezTo>
                  <a:pt x="152403" y="154771"/>
                  <a:pt x="147856" y="164672"/>
                  <a:pt x="139951" y="171460"/>
                </a:cubicBezTo>
                <a:cubicBezTo>
                  <a:pt x="125035" y="184261"/>
                  <a:pt x="103699" y="190500"/>
                  <a:pt x="76171" y="190500"/>
                </a:cubicBezTo>
                <a:cubicBezTo>
                  <a:pt x="48644" y="190500"/>
                  <a:pt x="27327" y="184252"/>
                  <a:pt x="12440" y="171450"/>
                </a:cubicBezTo>
                <a:cubicBezTo>
                  <a:pt x="4546" y="164667"/>
                  <a:pt x="3" y="154778"/>
                  <a:pt x="0" y="144370"/>
                </a:cubicBezTo>
                <a:lnTo>
                  <a:pt x="0" y="135722"/>
                </a:lnTo>
                <a:cubicBezTo>
                  <a:pt x="5" y="123890"/>
                  <a:pt x="9599" y="114300"/>
                  <a:pt x="21431" y="114300"/>
                </a:cubicBezTo>
                <a:lnTo>
                  <a:pt x="130969" y="114300"/>
                </a:lnTo>
                <a:close/>
                <a:moveTo>
                  <a:pt x="75200" y="76"/>
                </a:moveTo>
                <a:lnTo>
                  <a:pt x="76171" y="0"/>
                </a:lnTo>
                <a:cubicBezTo>
                  <a:pt x="79741" y="0"/>
                  <a:pt x="82763" y="2636"/>
                  <a:pt x="83249" y="6172"/>
                </a:cubicBezTo>
                <a:lnTo>
                  <a:pt x="83315" y="7144"/>
                </a:lnTo>
                <a:lnTo>
                  <a:pt x="83315" y="14288"/>
                </a:lnTo>
                <a:lnTo>
                  <a:pt x="116653" y="14288"/>
                </a:lnTo>
                <a:cubicBezTo>
                  <a:pt x="128488" y="14288"/>
                  <a:pt x="138084" y="23883"/>
                  <a:pt x="138084" y="35719"/>
                </a:cubicBezTo>
                <a:lnTo>
                  <a:pt x="138084" y="78629"/>
                </a:lnTo>
                <a:cubicBezTo>
                  <a:pt x="138084" y="90465"/>
                  <a:pt x="128488" y="100060"/>
                  <a:pt x="116653" y="100060"/>
                </a:cubicBezTo>
                <a:lnTo>
                  <a:pt x="35690" y="100060"/>
                </a:lnTo>
                <a:cubicBezTo>
                  <a:pt x="23854" y="100060"/>
                  <a:pt x="14259" y="90465"/>
                  <a:pt x="14259" y="78629"/>
                </a:cubicBezTo>
                <a:lnTo>
                  <a:pt x="14259" y="35719"/>
                </a:lnTo>
                <a:cubicBezTo>
                  <a:pt x="14259" y="23883"/>
                  <a:pt x="23854" y="14288"/>
                  <a:pt x="35690" y="14288"/>
                </a:cubicBezTo>
                <a:lnTo>
                  <a:pt x="69028" y="14288"/>
                </a:lnTo>
                <a:lnTo>
                  <a:pt x="69028" y="7153"/>
                </a:lnTo>
                <a:cubicBezTo>
                  <a:pt x="69028" y="3583"/>
                  <a:pt x="71663" y="562"/>
                  <a:pt x="75200" y="76"/>
                </a:cubicBezTo>
                <a:lnTo>
                  <a:pt x="76171" y="0"/>
                </a:lnTo>
                <a:lnTo>
                  <a:pt x="75200" y="67"/>
                </a:lnTo>
                <a:close/>
                <a:moveTo>
                  <a:pt x="54740" y="42863"/>
                </a:moveTo>
                <a:cubicBezTo>
                  <a:pt x="48164" y="42863"/>
                  <a:pt x="42834" y="48193"/>
                  <a:pt x="42834" y="54769"/>
                </a:cubicBezTo>
                <a:cubicBezTo>
                  <a:pt x="42834" y="61344"/>
                  <a:pt x="48164" y="66675"/>
                  <a:pt x="54740" y="66675"/>
                </a:cubicBezTo>
                <a:cubicBezTo>
                  <a:pt x="61316" y="66675"/>
                  <a:pt x="66646" y="61344"/>
                  <a:pt x="66646" y="54769"/>
                </a:cubicBezTo>
                <a:cubicBezTo>
                  <a:pt x="66646" y="48193"/>
                  <a:pt x="61316" y="42863"/>
                  <a:pt x="54740" y="42863"/>
                </a:cubicBezTo>
                <a:close/>
                <a:moveTo>
                  <a:pt x="97536" y="42863"/>
                </a:moveTo>
                <a:cubicBezTo>
                  <a:pt x="90963" y="42677"/>
                  <a:pt x="85484" y="47854"/>
                  <a:pt x="85297" y="54427"/>
                </a:cubicBezTo>
                <a:cubicBezTo>
                  <a:pt x="85112" y="61000"/>
                  <a:pt x="90289" y="66480"/>
                  <a:pt x="96863" y="66665"/>
                </a:cubicBezTo>
                <a:cubicBezTo>
                  <a:pt x="97087" y="66672"/>
                  <a:pt x="97311" y="66672"/>
                  <a:pt x="97536" y="66665"/>
                </a:cubicBezTo>
                <a:cubicBezTo>
                  <a:pt x="104109" y="66480"/>
                  <a:pt x="109287" y="61000"/>
                  <a:pt x="109100" y="54427"/>
                </a:cubicBezTo>
                <a:cubicBezTo>
                  <a:pt x="108922" y="48116"/>
                  <a:pt x="103847" y="43041"/>
                  <a:pt x="97536" y="42863"/>
                </a:cubicBezTo>
                <a:close/>
              </a:path>
            </a:pathLst>
          </a:cu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GB" sz="32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0" name="TextBox 29">
            <a:extLst>
              <a:ext uri="{FF2B5EF4-FFF2-40B4-BE49-F238E27FC236}">
                <a16:creationId xmlns:a16="http://schemas.microsoft.com/office/drawing/2014/main" id="{D60A5953-3907-D6AE-466A-EDFC84DB36EA}"/>
              </a:ext>
              <a:ext uri="{C183D7F6-B498-43B3-948B-1728B52AA6E4}">
                <adec:decorative xmlns:adec="http://schemas.microsoft.com/office/drawing/2017/decorative" val="0"/>
              </a:ext>
            </a:extLst>
          </p:cNvPr>
          <p:cNvSpPr txBox="1"/>
          <p:nvPr/>
        </p:nvSpPr>
        <p:spPr>
          <a:xfrm>
            <a:off x="9401829" y="5377287"/>
            <a:ext cx="1813300" cy="61555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M365 &amp; other clouds</a:t>
            </a:r>
          </a:p>
        </p:txBody>
      </p:sp>
      <p:sp>
        <p:nvSpPr>
          <p:cNvPr id="31" name="Freeform: Shape 30" descr="Icon of a blank document">
            <a:extLst>
              <a:ext uri="{FF2B5EF4-FFF2-40B4-BE49-F238E27FC236}">
                <a16:creationId xmlns:a16="http://schemas.microsoft.com/office/drawing/2014/main" id="{7FDEE531-9129-BFC7-B90A-44B9D1FE29A0}"/>
              </a:ext>
            </a:extLst>
          </p:cNvPr>
          <p:cNvSpPr>
            <a:spLocks/>
          </p:cNvSpPr>
          <p:nvPr/>
        </p:nvSpPr>
        <p:spPr>
          <a:xfrm>
            <a:off x="4494418" y="4755441"/>
            <a:ext cx="338328" cy="438912"/>
          </a:xfrm>
          <a:custGeom>
            <a:avLst/>
            <a:gdLst>
              <a:gd name="connsiteX0" fmla="*/ 130456 w 219716"/>
              <a:gd name="connsiteY0" fmla="*/ 6866 h 274645"/>
              <a:gd name="connsiteX1" fmla="*/ 212850 w 219716"/>
              <a:gd name="connsiteY1" fmla="*/ 89260 h 274645"/>
              <a:gd name="connsiteX2" fmla="*/ 137322 w 219716"/>
              <a:gd name="connsiteY2" fmla="*/ 89260 h 274645"/>
              <a:gd name="connsiteX3" fmla="*/ 130456 w 219716"/>
              <a:gd name="connsiteY3" fmla="*/ 82393 h 274645"/>
              <a:gd name="connsiteX4" fmla="*/ 27465 w 219716"/>
              <a:gd name="connsiteY4" fmla="*/ 0 h 274645"/>
              <a:gd name="connsiteX5" fmla="*/ 109858 w 219716"/>
              <a:gd name="connsiteY5" fmla="*/ 0 h 274645"/>
              <a:gd name="connsiteX6" fmla="*/ 109858 w 219716"/>
              <a:gd name="connsiteY6" fmla="*/ 82394 h 274645"/>
              <a:gd name="connsiteX7" fmla="*/ 137323 w 219716"/>
              <a:gd name="connsiteY7" fmla="*/ 109858 h 274645"/>
              <a:gd name="connsiteX8" fmla="*/ 219716 w 219716"/>
              <a:gd name="connsiteY8" fmla="*/ 109858 h 274645"/>
              <a:gd name="connsiteX9" fmla="*/ 219716 w 219716"/>
              <a:gd name="connsiteY9" fmla="*/ 247181 h 274645"/>
              <a:gd name="connsiteX10" fmla="*/ 192252 w 219716"/>
              <a:gd name="connsiteY10" fmla="*/ 274645 h 274645"/>
              <a:gd name="connsiteX11" fmla="*/ 27465 w 219716"/>
              <a:gd name="connsiteY11" fmla="*/ 274645 h 274645"/>
              <a:gd name="connsiteX12" fmla="*/ 0 w 219716"/>
              <a:gd name="connsiteY12" fmla="*/ 247181 h 274645"/>
              <a:gd name="connsiteX13" fmla="*/ 0 w 219716"/>
              <a:gd name="connsiteY13" fmla="*/ 27465 h 274645"/>
              <a:gd name="connsiteX14" fmla="*/ 27465 w 219716"/>
              <a:gd name="connsiteY14" fmla="*/ 0 h 27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716" h="274645">
                <a:moveTo>
                  <a:pt x="130456" y="6866"/>
                </a:moveTo>
                <a:lnTo>
                  <a:pt x="212850" y="89260"/>
                </a:lnTo>
                <a:lnTo>
                  <a:pt x="137322" y="89260"/>
                </a:lnTo>
                <a:cubicBezTo>
                  <a:pt x="133531" y="89260"/>
                  <a:pt x="130456" y="86185"/>
                  <a:pt x="130456" y="82393"/>
                </a:cubicBezTo>
                <a:close/>
                <a:moveTo>
                  <a:pt x="27465" y="0"/>
                </a:moveTo>
                <a:lnTo>
                  <a:pt x="109858" y="0"/>
                </a:lnTo>
                <a:lnTo>
                  <a:pt x="109858" y="82394"/>
                </a:lnTo>
                <a:cubicBezTo>
                  <a:pt x="109858" y="97562"/>
                  <a:pt x="122154" y="109858"/>
                  <a:pt x="137323" y="109858"/>
                </a:cubicBezTo>
                <a:lnTo>
                  <a:pt x="219716" y="109858"/>
                </a:lnTo>
                <a:lnTo>
                  <a:pt x="219716" y="247181"/>
                </a:lnTo>
                <a:cubicBezTo>
                  <a:pt x="219716" y="262349"/>
                  <a:pt x="207420" y="274645"/>
                  <a:pt x="192252" y="274645"/>
                </a:cubicBezTo>
                <a:lnTo>
                  <a:pt x="27465" y="274645"/>
                </a:lnTo>
                <a:cubicBezTo>
                  <a:pt x="12296" y="274645"/>
                  <a:pt x="0" y="262349"/>
                  <a:pt x="0" y="247181"/>
                </a:cubicBezTo>
                <a:lnTo>
                  <a:pt x="0" y="27465"/>
                </a:lnTo>
                <a:cubicBezTo>
                  <a:pt x="0" y="12296"/>
                  <a:pt x="12296" y="0"/>
                  <a:pt x="27465" y="0"/>
                </a:cubicBezTo>
                <a:close/>
              </a:path>
            </a:pathLst>
          </a:cu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a:ln>
                <a:noFill/>
              </a:ln>
              <a:solidFill>
                <a:srgbClr val="FFFFFF"/>
              </a:solidFill>
              <a:effectLst/>
              <a:uLnTx/>
              <a:uFillTx/>
              <a:latin typeface="Segoe UI Semibold"/>
              <a:ea typeface="+mn-ea"/>
              <a:cs typeface="+mn-cs"/>
            </a:endParaRPr>
          </a:p>
        </p:txBody>
      </p:sp>
      <p:grpSp>
        <p:nvGrpSpPr>
          <p:cNvPr id="47" name="Graphic 36" descr="Database with solid fill">
            <a:extLst>
              <a:ext uri="{FF2B5EF4-FFF2-40B4-BE49-F238E27FC236}">
                <a16:creationId xmlns:a16="http://schemas.microsoft.com/office/drawing/2014/main" id="{565E97B1-B51B-8FF0-B644-25351D64F5A4}"/>
              </a:ext>
            </a:extLst>
          </p:cNvPr>
          <p:cNvGrpSpPr/>
          <p:nvPr/>
        </p:nvGrpSpPr>
        <p:grpSpPr>
          <a:xfrm>
            <a:off x="1688812" y="4755441"/>
            <a:ext cx="393192" cy="438912"/>
            <a:chOff x="446710" y="4386007"/>
            <a:chExt cx="533400" cy="723900"/>
          </a:xfrm>
          <a:solidFill>
            <a:srgbClr val="000000"/>
          </a:solidFill>
        </p:grpSpPr>
        <p:sp>
          <p:nvSpPr>
            <p:cNvPr id="48" name="Freeform: Shape 47">
              <a:extLst>
                <a:ext uri="{FF2B5EF4-FFF2-40B4-BE49-F238E27FC236}">
                  <a16:creationId xmlns:a16="http://schemas.microsoft.com/office/drawing/2014/main" id="{BF882AC5-226B-355A-2C2B-A71B80BB32C7}"/>
                </a:ext>
              </a:extLst>
            </p:cNvPr>
            <p:cNvSpPr/>
            <p:nvPr/>
          </p:nvSpPr>
          <p:spPr>
            <a:xfrm>
              <a:off x="446710" y="4386007"/>
              <a:ext cx="533400" cy="152400"/>
            </a:xfrm>
            <a:custGeom>
              <a:avLst/>
              <a:gdLst>
                <a:gd name="connsiteX0" fmla="*/ 533400 w 533400"/>
                <a:gd name="connsiteY0" fmla="*/ 76200 h 152400"/>
                <a:gd name="connsiteX1" fmla="*/ 266700 w 533400"/>
                <a:gd name="connsiteY1" fmla="*/ 152400 h 152400"/>
                <a:gd name="connsiteX2" fmla="*/ 0 w 533400"/>
                <a:gd name="connsiteY2" fmla="*/ 76200 h 152400"/>
                <a:gd name="connsiteX3" fmla="*/ 266700 w 533400"/>
                <a:gd name="connsiteY3" fmla="*/ 0 h 152400"/>
                <a:gd name="connsiteX4" fmla="*/ 533400 w 533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152400">
                  <a:moveTo>
                    <a:pt x="533400" y="76200"/>
                  </a:moveTo>
                  <a:cubicBezTo>
                    <a:pt x="533400" y="118284"/>
                    <a:pt x="413994" y="152400"/>
                    <a:pt x="266700" y="152400"/>
                  </a:cubicBezTo>
                  <a:cubicBezTo>
                    <a:pt x="119406" y="152400"/>
                    <a:pt x="0" y="118284"/>
                    <a:pt x="0" y="76200"/>
                  </a:cubicBezTo>
                  <a:cubicBezTo>
                    <a:pt x="0" y="34116"/>
                    <a:pt x="119406" y="0"/>
                    <a:pt x="266700" y="0"/>
                  </a:cubicBezTo>
                  <a:cubicBezTo>
                    <a:pt x="413994" y="0"/>
                    <a:pt x="533400" y="34116"/>
                    <a:pt x="533400" y="76200"/>
                  </a:cubicBezTo>
                  <a:close/>
                </a:path>
              </a:pathLst>
            </a:cu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algn="ctr" defTabSz="914367" fontAlgn="base">
                <a:spcBef>
                  <a:spcPct val="0"/>
                </a:spcBef>
                <a:spcAft>
                  <a:spcPts val="1200"/>
                </a:spcAft>
                <a:buSzPct val="90000"/>
              </a:pPr>
              <a:endParaRPr lang="en-US" sz="3200">
                <a:solidFill>
                  <a:srgbClr val="FFFFFF"/>
                </a:solidFill>
                <a:latin typeface="Segoe UI Semibold"/>
              </a:endParaRPr>
            </a:p>
          </p:txBody>
        </p:sp>
        <p:sp>
          <p:nvSpPr>
            <p:cNvPr id="49" name="Freeform: Shape 48">
              <a:extLst>
                <a:ext uri="{FF2B5EF4-FFF2-40B4-BE49-F238E27FC236}">
                  <a16:creationId xmlns:a16="http://schemas.microsoft.com/office/drawing/2014/main" id="{BE0F8303-C5FE-92A4-5A72-76214C5E0747}"/>
                </a:ext>
              </a:extLst>
            </p:cNvPr>
            <p:cNvSpPr/>
            <p:nvPr/>
          </p:nvSpPr>
          <p:spPr>
            <a:xfrm>
              <a:off x="446710" y="4500307"/>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algn="ctr" defTabSz="914367" fontAlgn="base">
                <a:spcBef>
                  <a:spcPct val="0"/>
                </a:spcBef>
                <a:spcAft>
                  <a:spcPts val="1200"/>
                </a:spcAft>
                <a:buSzPct val="90000"/>
              </a:pPr>
              <a:endParaRPr lang="en-US" sz="3200">
                <a:solidFill>
                  <a:srgbClr val="FFFFFF"/>
                </a:solidFill>
                <a:latin typeface="Segoe UI Semibold"/>
              </a:endParaRPr>
            </a:p>
          </p:txBody>
        </p:sp>
        <p:sp>
          <p:nvSpPr>
            <p:cNvPr id="50" name="Freeform: Shape 49">
              <a:extLst>
                <a:ext uri="{FF2B5EF4-FFF2-40B4-BE49-F238E27FC236}">
                  <a16:creationId xmlns:a16="http://schemas.microsoft.com/office/drawing/2014/main" id="{F64D7879-4B1B-7E05-D23C-6D02E750C2D1}"/>
                </a:ext>
              </a:extLst>
            </p:cNvPr>
            <p:cNvSpPr/>
            <p:nvPr/>
          </p:nvSpPr>
          <p:spPr>
            <a:xfrm>
              <a:off x="446710" y="4690807"/>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algn="ctr" defTabSz="914367" fontAlgn="base">
                <a:spcBef>
                  <a:spcPct val="0"/>
                </a:spcBef>
                <a:spcAft>
                  <a:spcPts val="1200"/>
                </a:spcAft>
                <a:buSzPct val="90000"/>
              </a:pPr>
              <a:endParaRPr lang="en-US" sz="3200">
                <a:solidFill>
                  <a:srgbClr val="FFFFFF"/>
                </a:solidFill>
                <a:latin typeface="Segoe UI Semibold"/>
              </a:endParaRPr>
            </a:p>
          </p:txBody>
        </p:sp>
        <p:sp>
          <p:nvSpPr>
            <p:cNvPr id="51" name="Freeform: Shape 50">
              <a:extLst>
                <a:ext uri="{FF2B5EF4-FFF2-40B4-BE49-F238E27FC236}">
                  <a16:creationId xmlns:a16="http://schemas.microsoft.com/office/drawing/2014/main" id="{588CF8B4-D3B2-88F2-96F6-C6C4FBD53469}"/>
                </a:ext>
              </a:extLst>
            </p:cNvPr>
            <p:cNvSpPr/>
            <p:nvPr/>
          </p:nvSpPr>
          <p:spPr>
            <a:xfrm>
              <a:off x="446710" y="4881307"/>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algn="ctr" defTabSz="914367" fontAlgn="base">
                <a:spcBef>
                  <a:spcPct val="0"/>
                </a:spcBef>
                <a:spcAft>
                  <a:spcPts val="1200"/>
                </a:spcAft>
                <a:buSzPct val="90000"/>
              </a:pPr>
              <a:endParaRPr lang="en-US" sz="3200">
                <a:solidFill>
                  <a:srgbClr val="FFFFFF"/>
                </a:solidFill>
                <a:latin typeface="Segoe UI Semibold"/>
              </a:endParaRPr>
            </a:p>
          </p:txBody>
        </p:sp>
      </p:grpSp>
      <p:sp>
        <p:nvSpPr>
          <p:cNvPr id="54" name="Graphic 52" descr="Cloud with solid fill">
            <a:extLst>
              <a:ext uri="{FF2B5EF4-FFF2-40B4-BE49-F238E27FC236}">
                <a16:creationId xmlns:a16="http://schemas.microsoft.com/office/drawing/2014/main" id="{6868BB46-D719-4497-DC3B-94CB89769DA3}"/>
              </a:ext>
            </a:extLst>
          </p:cNvPr>
          <p:cNvSpPr/>
          <p:nvPr/>
        </p:nvSpPr>
        <p:spPr>
          <a:xfrm>
            <a:off x="9835410" y="4755441"/>
            <a:ext cx="667777" cy="438912"/>
          </a:xfrm>
          <a:custGeom>
            <a:avLst/>
            <a:gdLst>
              <a:gd name="connsiteX0" fmla="*/ 689427 w 802774"/>
              <a:gd name="connsiteY0" fmla="*/ 227507 h 457059"/>
              <a:gd name="connsiteX1" fmla="*/ 679902 w 802774"/>
              <a:gd name="connsiteY1" fmla="*/ 227507 h 457059"/>
              <a:gd name="connsiteX2" fmla="*/ 679902 w 802774"/>
              <a:gd name="connsiteY2" fmla="*/ 227507 h 457059"/>
              <a:gd name="connsiteX3" fmla="*/ 619895 w 802774"/>
              <a:gd name="connsiteY3" fmla="*/ 111302 h 457059"/>
              <a:gd name="connsiteX4" fmla="*/ 489403 w 802774"/>
              <a:gd name="connsiteY4" fmla="*/ 93204 h 457059"/>
              <a:gd name="connsiteX5" fmla="*/ 296998 w 802774"/>
              <a:gd name="connsiteY5" fmla="*/ 4622 h 457059"/>
              <a:gd name="connsiteX6" fmla="*/ 165552 w 802774"/>
              <a:gd name="connsiteY6" fmla="*/ 170357 h 457059"/>
              <a:gd name="connsiteX7" fmla="*/ 165552 w 802774"/>
              <a:gd name="connsiteY7" fmla="*/ 172262 h 457059"/>
              <a:gd name="connsiteX8" fmla="*/ 28392 w 802774"/>
              <a:gd name="connsiteY8" fmla="*/ 227507 h 457059"/>
              <a:gd name="connsiteX9" fmla="*/ 13152 w 802774"/>
              <a:gd name="connsiteY9" fmla="*/ 374192 h 457059"/>
              <a:gd name="connsiteX10" fmla="*/ 136025 w 802774"/>
              <a:gd name="connsiteY10" fmla="*/ 456107 h 457059"/>
              <a:gd name="connsiteX11" fmla="*/ 136025 w 802774"/>
              <a:gd name="connsiteY11" fmla="*/ 457059 h 457059"/>
              <a:gd name="connsiteX12" fmla="*/ 688475 w 802774"/>
              <a:gd name="connsiteY12" fmla="*/ 457059 h 457059"/>
              <a:gd name="connsiteX13" fmla="*/ 802775 w 802774"/>
              <a:gd name="connsiteY13" fmla="*/ 342759 h 457059"/>
              <a:gd name="connsiteX14" fmla="*/ 689427 w 802774"/>
              <a:gd name="connsiteY14" fmla="*/ 227507 h 457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2774" h="457059">
                <a:moveTo>
                  <a:pt x="689427" y="227507"/>
                </a:moveTo>
                <a:cubicBezTo>
                  <a:pt x="686570" y="227507"/>
                  <a:pt x="682760" y="227507"/>
                  <a:pt x="679902" y="227507"/>
                </a:cubicBezTo>
                <a:cubicBezTo>
                  <a:pt x="679902" y="227507"/>
                  <a:pt x="679902" y="227507"/>
                  <a:pt x="679902" y="227507"/>
                </a:cubicBezTo>
                <a:cubicBezTo>
                  <a:pt x="679902" y="180834"/>
                  <a:pt x="657043" y="137972"/>
                  <a:pt x="619895" y="111302"/>
                </a:cubicBezTo>
                <a:cubicBezTo>
                  <a:pt x="581795" y="84632"/>
                  <a:pt x="533218" y="77964"/>
                  <a:pt x="489403" y="93204"/>
                </a:cubicBezTo>
                <a:cubicBezTo>
                  <a:pt x="453208" y="22719"/>
                  <a:pt x="373198" y="-13476"/>
                  <a:pt x="296998" y="4622"/>
                </a:cubicBezTo>
                <a:cubicBezTo>
                  <a:pt x="220797" y="22719"/>
                  <a:pt x="165552" y="91299"/>
                  <a:pt x="165552" y="170357"/>
                </a:cubicBezTo>
                <a:cubicBezTo>
                  <a:pt x="165552" y="170357"/>
                  <a:pt x="165552" y="171309"/>
                  <a:pt x="165552" y="172262"/>
                </a:cubicBezTo>
                <a:cubicBezTo>
                  <a:pt x="113165" y="163689"/>
                  <a:pt x="60777" y="185597"/>
                  <a:pt x="28392" y="227507"/>
                </a:cubicBezTo>
                <a:cubicBezTo>
                  <a:pt x="-3040" y="270369"/>
                  <a:pt x="-8755" y="326567"/>
                  <a:pt x="13152" y="374192"/>
                </a:cubicBezTo>
                <a:cubicBezTo>
                  <a:pt x="36012" y="421817"/>
                  <a:pt x="83637" y="453249"/>
                  <a:pt x="136025" y="456107"/>
                </a:cubicBezTo>
                <a:lnTo>
                  <a:pt x="136025" y="457059"/>
                </a:lnTo>
                <a:lnTo>
                  <a:pt x="688475" y="457059"/>
                </a:lnTo>
                <a:cubicBezTo>
                  <a:pt x="751340" y="457059"/>
                  <a:pt x="802775" y="405624"/>
                  <a:pt x="802775" y="342759"/>
                </a:cubicBezTo>
                <a:cubicBezTo>
                  <a:pt x="802775" y="279894"/>
                  <a:pt x="752293" y="227507"/>
                  <a:pt x="689427" y="227507"/>
                </a:cubicBezTo>
                <a:close/>
              </a:path>
            </a:pathLst>
          </a:cu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ts val="1200"/>
              </a:spcAft>
              <a:buSzPct val="90000"/>
            </a:pPr>
            <a:endParaRPr lang="en-US" sz="3600">
              <a:solidFill>
                <a:srgbClr val="FFFFFF"/>
              </a:solidFill>
              <a:latin typeface="Segoe UI Semibold"/>
            </a:endParaRPr>
          </a:p>
        </p:txBody>
      </p:sp>
      <p:cxnSp>
        <p:nvCxnSpPr>
          <p:cNvPr id="15" name="Straight Connector 14">
            <a:extLst>
              <a:ext uri="{FF2B5EF4-FFF2-40B4-BE49-F238E27FC236}">
                <a16:creationId xmlns:a16="http://schemas.microsoft.com/office/drawing/2014/main" id="{B11F160E-7E34-CDBB-3B32-AAE423C16410}"/>
              </a:ext>
            </a:extLst>
          </p:cNvPr>
          <p:cNvCxnSpPr/>
          <p:nvPr/>
        </p:nvCxnSpPr>
        <p:spPr>
          <a:xfrm>
            <a:off x="8912318" y="1474700"/>
            <a:ext cx="1371600" cy="0"/>
          </a:xfrm>
          <a:prstGeom prst="line">
            <a:avLst/>
          </a:prstGeom>
          <a:ln w="28575" cap="rnd">
            <a:gradFill flip="none" rotWithShape="1">
              <a:gsLst>
                <a:gs pos="0">
                  <a:srgbClr val="C03BC4"/>
                </a:gs>
                <a:gs pos="80000">
                  <a:srgbClr val="0078D4"/>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687B9F4-C0EB-7287-BC7F-BBF09A7F5741}"/>
              </a:ext>
            </a:extLst>
          </p:cNvPr>
          <p:cNvSpPr txBox="1"/>
          <p:nvPr/>
        </p:nvSpPr>
        <p:spPr>
          <a:xfrm>
            <a:off x="8852057" y="1119989"/>
            <a:ext cx="1463862" cy="369332"/>
          </a:xfrm>
          <a:prstGeom prst="rect">
            <a:avLst/>
          </a:prstGeom>
          <a:noFill/>
        </p:spPr>
        <p:txBody>
          <a:bodyPr wrap="none">
            <a:spAutoFit/>
          </a:bodyPr>
          <a:lstStyle/>
          <a:p>
            <a:r>
              <a:rPr lang="en-US" b="1">
                <a:gradFill>
                  <a:gsLst>
                    <a:gs pos="2000">
                      <a:srgbClr val="0179D4"/>
                    </a:gs>
                    <a:gs pos="32000">
                      <a:srgbClr val="2CB6FF"/>
                    </a:gs>
                    <a:gs pos="44000">
                      <a:srgbClr val="2DB6FF"/>
                    </a:gs>
                    <a:gs pos="81000">
                      <a:srgbClr val="D962FA"/>
                    </a:gs>
                    <a:gs pos="96000">
                      <a:srgbClr val="F69991"/>
                    </a:gs>
                  </a:gsLst>
                  <a:lin ang="3600000" scaled="0"/>
                </a:gradFill>
                <a:latin typeface="Segoe UI" panose="020B0502040204020203" pitchFamily="34" charset="0"/>
              </a:rPr>
              <a:t>and AI apps</a:t>
            </a:r>
            <a:endParaRPr lang="en-US"/>
          </a:p>
        </p:txBody>
      </p:sp>
    </p:spTree>
    <p:extLst>
      <p:ext uri="{BB962C8B-B14F-4D97-AF65-F5344CB8AC3E}">
        <p14:creationId xmlns:p14="http://schemas.microsoft.com/office/powerpoint/2010/main" val="3903176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wipe(left)">
                                      <p:cBhvr>
                                        <p:cTn id="1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blue triangle with a black center&#10;&#10;Description automatically generated">
            <a:extLst>
              <a:ext uri="{FF2B5EF4-FFF2-40B4-BE49-F238E27FC236}">
                <a16:creationId xmlns:a16="http://schemas.microsoft.com/office/drawing/2014/main" id="{7EDD8D66-5215-8387-F592-226FDDFABD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67236" y="1581543"/>
            <a:ext cx="1554480" cy="1554480"/>
          </a:xfrm>
          <a:prstGeom prst="rect">
            <a:avLst/>
          </a:prstGeom>
        </p:spPr>
      </p:pic>
      <p:sp>
        <p:nvSpPr>
          <p:cNvPr id="4" name="Title 6">
            <a:extLst>
              <a:ext uri="{FF2B5EF4-FFF2-40B4-BE49-F238E27FC236}">
                <a16:creationId xmlns:a16="http://schemas.microsoft.com/office/drawing/2014/main" id="{D2199A7A-43E9-2003-10B8-9894DDEF3555}"/>
              </a:ext>
            </a:extLst>
          </p:cNvPr>
          <p:cNvSpPr txBox="1">
            <a:spLocks/>
          </p:cNvSpPr>
          <p:nvPr/>
        </p:nvSpPr>
        <p:spPr>
          <a:xfrm>
            <a:off x="1203960" y="3391973"/>
            <a:ext cx="9718040" cy="830997"/>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US" sz="4800" b="0" i="0" u="none" strike="noStrike" kern="0" cap="none" spc="-50" normalizeH="0" baseline="0" noProof="0">
                <a:ln w="3175">
                  <a:noFill/>
                </a:ln>
                <a:effectLst/>
                <a:uLnTx/>
                <a:uFillTx/>
                <a:latin typeface="Segoe UI Semibold"/>
                <a:ea typeface="+mn-ea"/>
                <a:cs typeface="Segoe UI" pitchFamily="34" charset="0"/>
              </a:rPr>
              <a:t>DSPM for AI in Microsoft Purview </a:t>
            </a:r>
          </a:p>
        </p:txBody>
      </p:sp>
      <p:sp>
        <p:nvSpPr>
          <p:cNvPr id="5" name="Title 6">
            <a:extLst>
              <a:ext uri="{FF2B5EF4-FFF2-40B4-BE49-F238E27FC236}">
                <a16:creationId xmlns:a16="http://schemas.microsoft.com/office/drawing/2014/main" id="{4058313F-B996-6D09-7131-60DB0E9EBC64}"/>
              </a:ext>
            </a:extLst>
          </p:cNvPr>
          <p:cNvSpPr txBox="1">
            <a:spLocks/>
          </p:cNvSpPr>
          <p:nvPr/>
        </p:nvSpPr>
        <p:spPr>
          <a:xfrm>
            <a:off x="2519680" y="4289927"/>
            <a:ext cx="6858000" cy="4616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US" sz="2400" b="0" i="0" u="none" strike="noStrike" kern="0" cap="none" spc="-50" normalizeH="0" baseline="0" noProof="0">
                <a:ln w="3175">
                  <a:noFill/>
                </a:ln>
                <a:solidFill>
                  <a:schemeClr val="tx1">
                    <a:lumMod val="85000"/>
                    <a:lumOff val="15000"/>
                  </a:schemeClr>
                </a:solidFill>
                <a:effectLst/>
                <a:uLnTx/>
                <a:uFillTx/>
                <a:latin typeface="Segoe UI Semibold"/>
                <a:ea typeface="+mn-ea"/>
                <a:cs typeface="Segoe UI" pitchFamily="34" charset="0"/>
              </a:rPr>
              <a:t>Data security and compliance for the era of AI</a:t>
            </a:r>
          </a:p>
        </p:txBody>
      </p:sp>
    </p:spTree>
    <p:extLst>
      <p:ext uri="{BB962C8B-B14F-4D97-AF65-F5344CB8AC3E}">
        <p14:creationId xmlns:p14="http://schemas.microsoft.com/office/powerpoint/2010/main" val="2757139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F5F5B4-62B6-83F2-BF53-27D2C3321FBA}"/>
            </a:ext>
          </a:extLst>
        </p:cNvPr>
        <p:cNvGrpSpPr/>
        <p:nvPr/>
      </p:nvGrpSpPr>
      <p:grpSpPr>
        <a:xfrm>
          <a:off x="0" y="0"/>
          <a:ext cx="0" cy="0"/>
          <a:chOff x="0" y="0"/>
          <a:chExt cx="0" cy="0"/>
        </a:xfrm>
      </p:grpSpPr>
      <p:sp>
        <p:nvSpPr>
          <p:cNvPr id="2" name="Rectangle: Rounded Corners 28">
            <a:extLst>
              <a:ext uri="{FF2B5EF4-FFF2-40B4-BE49-F238E27FC236}">
                <a16:creationId xmlns:a16="http://schemas.microsoft.com/office/drawing/2014/main" id="{2D380ABA-1264-454C-C262-5D3E60DE0378}"/>
              </a:ext>
              <a:ext uri="{C183D7F6-B498-43B3-948B-1728B52AA6E4}">
                <adec:decorative xmlns:adec="http://schemas.microsoft.com/office/drawing/2017/decorative" val="1"/>
              </a:ext>
            </a:extLst>
          </p:cNvPr>
          <p:cNvSpPr>
            <a:spLocks/>
          </p:cNvSpPr>
          <p:nvPr/>
        </p:nvSpPr>
        <p:spPr bwMode="auto">
          <a:xfrm>
            <a:off x="339091" y="2036751"/>
            <a:ext cx="11513819" cy="204263"/>
          </a:xfrm>
          <a:prstGeom prst="roundRect">
            <a:avLst>
              <a:gd name="adj" fmla="val 50000"/>
            </a:avLst>
          </a:prstGeom>
          <a:gradFill flip="none" rotWithShape="1">
            <a:gsLst>
              <a:gs pos="0">
                <a:srgbClr val="FF5C39"/>
              </a:gs>
              <a:gs pos="20000">
                <a:srgbClr val="C03BC4"/>
              </a:gs>
              <a:gs pos="40000">
                <a:srgbClr val="0078D4"/>
              </a:gs>
              <a:gs pos="100000">
                <a:srgbClr val="399A91"/>
              </a:gs>
            </a:gsLst>
            <a:path path="circle">
              <a:fillToRect l="100000" t="100000"/>
            </a:path>
            <a:tileRect r="-100000" b="-100000"/>
          </a:grad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endParaRPr kumimoji="0" lang="en-GB" sz="800" b="1" i="0" u="none" strike="noStrike" kern="1200" cap="none" spc="0" normalizeH="0" baseline="0" noProof="0" err="1">
              <a:ln>
                <a:noFill/>
              </a:ln>
              <a:gradFill>
                <a:gsLst>
                  <a:gs pos="70629">
                    <a:srgbClr val="FFFFFF"/>
                  </a:gs>
                  <a:gs pos="48951">
                    <a:srgbClr val="FFFFFF"/>
                  </a:gs>
                </a:gsLst>
                <a:path path="circle">
                  <a:fillToRect l="100000" t="100000"/>
                </a:path>
              </a:gradFill>
              <a:effectLst/>
              <a:uLnTx/>
              <a:uFillTx/>
              <a:latin typeface="Segoe UI Semibold"/>
              <a:ea typeface="+mn-ea"/>
              <a:cs typeface="+mn-cs"/>
            </a:endParaRPr>
          </a:p>
        </p:txBody>
      </p:sp>
      <p:sp>
        <p:nvSpPr>
          <p:cNvPr id="29" name="Title 1">
            <a:extLst>
              <a:ext uri="{FF2B5EF4-FFF2-40B4-BE49-F238E27FC236}">
                <a16:creationId xmlns:a16="http://schemas.microsoft.com/office/drawing/2014/main" id="{AAEC436F-3736-CD05-C348-54BD42EC8C77}"/>
              </a:ext>
            </a:extLst>
          </p:cNvPr>
          <p:cNvSpPr>
            <a:spLocks noGrp="1"/>
          </p:cNvSpPr>
          <p:nvPr>
            <p:ph type="title"/>
          </p:nvPr>
        </p:nvSpPr>
        <p:spPr>
          <a:xfrm>
            <a:off x="588963" y="457200"/>
            <a:ext cx="10767076" cy="1107996"/>
          </a:xfrm>
        </p:spPr>
        <p:txBody>
          <a:bodyPr>
            <a:normAutofit fontScale="90000"/>
          </a:bodyPr>
          <a:lstStyle/>
          <a:p>
            <a:pPr algn="ctr"/>
            <a:r>
              <a:rPr lang="en-US"/>
              <a:t>M365 Copilot + Microsoft Purview: </a:t>
            </a:r>
            <a:br>
              <a:rPr lang="en-US"/>
            </a:br>
            <a:r>
              <a:rPr lang="en-US"/>
              <a:t>Enterprise ready on day 0</a:t>
            </a:r>
          </a:p>
        </p:txBody>
      </p:sp>
      <p:sp>
        <p:nvSpPr>
          <p:cNvPr id="30" name="Rectangle 29" descr="&quot;Microsoft Purview’s solutions&quot; highlighted in blue color font from the title">
            <a:extLst>
              <a:ext uri="{FF2B5EF4-FFF2-40B4-BE49-F238E27FC236}">
                <a16:creationId xmlns:a16="http://schemas.microsoft.com/office/drawing/2014/main" id="{BCAAE473-1EF9-3B2B-4250-32807CA56C38}"/>
              </a:ext>
            </a:extLst>
          </p:cNvPr>
          <p:cNvSpPr/>
          <p:nvPr/>
        </p:nvSpPr>
        <p:spPr bwMode="auto">
          <a:xfrm>
            <a:off x="9222377" y="1240971"/>
            <a:ext cx="52252" cy="1343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A837124F-E741-AA6F-03E7-3E8DBDF3E9F9}"/>
              </a:ext>
              <a:ext uri="{C183D7F6-B498-43B3-948B-1728B52AA6E4}">
                <adec:decorative xmlns:adec="http://schemas.microsoft.com/office/drawing/2017/decorative" val="0"/>
              </a:ext>
            </a:extLst>
          </p:cNvPr>
          <p:cNvSpPr txBox="1">
            <a:spLocks/>
          </p:cNvSpPr>
          <p:nvPr/>
        </p:nvSpPr>
        <p:spPr>
          <a:xfrm>
            <a:off x="4895850" y="2641569"/>
            <a:ext cx="2543175" cy="579123"/>
          </a:xfrm>
          <a:prstGeom prst="roundRect">
            <a:avLst/>
          </a:prstGeom>
          <a:gradFill flip="none" rotWithShape="1">
            <a:gsLst>
              <a:gs pos="0">
                <a:srgbClr val="0078D4"/>
              </a:gs>
              <a:gs pos="80000">
                <a:srgbClr val="399A91"/>
              </a:gs>
            </a:gsLst>
            <a:path path="circle">
              <a:fillToRect l="100000" t="100000"/>
            </a:path>
            <a:tileRect r="-100000" b="-100000"/>
          </a:gradFill>
          <a:ln w="63897" cap="flat">
            <a:noFill/>
            <a:prstDash val="solid"/>
            <a:miter/>
          </a:ln>
          <a:effectLst>
            <a:outerShdw blurRad="63500" dist="63500" dir="2700000" algn="tl" rotWithShape="0">
              <a:srgbClr val="000000">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14400">
              <a:defRPr sz="700">
                <a:solidFill>
                  <a:srgbClr val="FFFFFF"/>
                </a:solidFill>
                <a:latin typeface="Segoe UI"/>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bg1"/>
                </a:solidFill>
                <a:effectLst/>
                <a:uLnTx/>
                <a:uFillTx/>
                <a:latin typeface="Segoe UI Semibold"/>
                <a:ea typeface="+mn-ea"/>
                <a:cs typeface="+mn-cs"/>
                <a:sym typeface="Helvetica Neue"/>
              </a:rPr>
              <a:t>November 2023</a:t>
            </a:r>
          </a:p>
        </p:txBody>
      </p:sp>
      <p:grpSp>
        <p:nvGrpSpPr>
          <p:cNvPr id="31" name="Group 30">
            <a:extLst>
              <a:ext uri="{FF2B5EF4-FFF2-40B4-BE49-F238E27FC236}">
                <a16:creationId xmlns:a16="http://schemas.microsoft.com/office/drawing/2014/main" id="{B763FE3A-8D1E-97D5-8E9A-5A30C4145EDC}"/>
              </a:ext>
            </a:extLst>
          </p:cNvPr>
          <p:cNvGrpSpPr/>
          <p:nvPr/>
        </p:nvGrpSpPr>
        <p:grpSpPr>
          <a:xfrm>
            <a:off x="339091" y="3422721"/>
            <a:ext cx="1925754" cy="1374037"/>
            <a:chOff x="910888" y="3428760"/>
            <a:chExt cx="1925754" cy="1374037"/>
          </a:xfrm>
        </p:grpSpPr>
        <p:pic>
          <p:nvPicPr>
            <p:cNvPr id="16" name="Picture 15" descr="Copilot logo">
              <a:extLst>
                <a:ext uri="{FF2B5EF4-FFF2-40B4-BE49-F238E27FC236}">
                  <a16:creationId xmlns:a16="http://schemas.microsoft.com/office/drawing/2014/main" id="{EAC1450A-0F3C-0CE0-BED1-E883D1D6F321}"/>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452386" y="3428760"/>
              <a:ext cx="789805" cy="703787"/>
            </a:xfrm>
            <a:prstGeom prst="rect">
              <a:avLst/>
            </a:prstGeom>
          </p:spPr>
        </p:pic>
        <p:sp>
          <p:nvSpPr>
            <p:cNvPr id="21" name="TextBox 20">
              <a:extLst>
                <a:ext uri="{FF2B5EF4-FFF2-40B4-BE49-F238E27FC236}">
                  <a16:creationId xmlns:a16="http://schemas.microsoft.com/office/drawing/2014/main" id="{1709FBC0-CB50-AA13-DCF3-028590C79B5A}"/>
                </a:ext>
                <a:ext uri="{C183D7F6-B498-43B3-948B-1728B52AA6E4}">
                  <adec:decorative xmlns:adec="http://schemas.microsoft.com/office/drawing/2017/decorative" val="0"/>
                </a:ext>
              </a:extLst>
            </p:cNvPr>
            <p:cNvSpPr txBox="1"/>
            <p:nvPr/>
          </p:nvSpPr>
          <p:spPr>
            <a:xfrm>
              <a:off x="910888" y="4187244"/>
              <a:ext cx="1925754"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30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a:ea typeface="+mn-ea"/>
                  <a:cs typeface="Segoe UI Semibold" panose="020B0702040204020203" pitchFamily="34" charset="0"/>
                </a:rPr>
                <a:t>Microsoft 365 Copilot</a:t>
              </a:r>
            </a:p>
          </p:txBody>
        </p:sp>
      </p:grpSp>
      <p:sp>
        <p:nvSpPr>
          <p:cNvPr id="3" name="Oval 10_1">
            <a:extLst>
              <a:ext uri="{FF2B5EF4-FFF2-40B4-BE49-F238E27FC236}">
                <a16:creationId xmlns:a16="http://schemas.microsoft.com/office/drawing/2014/main" id="{B56E6033-9471-8386-9197-49E084AD23B5}"/>
              </a:ext>
              <a:ext uri="{C183D7F6-B498-43B3-948B-1728B52AA6E4}">
                <adec:decorative xmlns:adec="http://schemas.microsoft.com/office/drawing/2017/decorative" val="1"/>
              </a:ext>
            </a:extLst>
          </p:cNvPr>
          <p:cNvSpPr/>
          <p:nvPr/>
        </p:nvSpPr>
        <p:spPr>
          <a:xfrm>
            <a:off x="5847336" y="1829782"/>
            <a:ext cx="629794" cy="629794"/>
          </a:xfrm>
          <a:prstGeom prst="ellipse">
            <a:avLst/>
          </a:prstGeom>
          <a:solidFill>
            <a:schemeClr val="bg1"/>
          </a:solidFill>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4" name="Oval 3">
            <a:extLst>
              <a:ext uri="{FF2B5EF4-FFF2-40B4-BE49-F238E27FC236}">
                <a16:creationId xmlns:a16="http://schemas.microsoft.com/office/drawing/2014/main" id="{C5B7392C-77A0-4E13-06B7-BE4D90A88C5D}"/>
              </a:ext>
              <a:ext uri="{C183D7F6-B498-43B3-948B-1728B52AA6E4}">
                <adec:decorative xmlns:adec="http://schemas.microsoft.com/office/drawing/2017/decorative" val="1"/>
              </a:ext>
            </a:extLst>
          </p:cNvPr>
          <p:cNvSpPr/>
          <p:nvPr/>
        </p:nvSpPr>
        <p:spPr>
          <a:xfrm>
            <a:off x="6035911" y="2018357"/>
            <a:ext cx="252645" cy="252645"/>
          </a:xfrm>
          <a:prstGeom prst="ellipse">
            <a:avLst/>
          </a:prstGeom>
          <a:gradFill flip="none" rotWithShape="1">
            <a:gsLst>
              <a:gs pos="0">
                <a:srgbClr val="0078D4"/>
              </a:gs>
              <a:gs pos="80000">
                <a:srgbClr val="399A91"/>
              </a:gs>
            </a:gsLst>
            <a:path path="circle">
              <a:fillToRect l="100000" t="100000"/>
            </a:path>
            <a:tileRect r="-100000" b="-100000"/>
          </a:gradFill>
          <a:ln w="63897" cap="flat">
            <a:noFill/>
            <a:prstDash val="solid"/>
            <a:miter/>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cxnSp>
        <p:nvCxnSpPr>
          <p:cNvPr id="13" name="!!line1">
            <a:extLst>
              <a:ext uri="{FF2B5EF4-FFF2-40B4-BE49-F238E27FC236}">
                <a16:creationId xmlns:a16="http://schemas.microsoft.com/office/drawing/2014/main" id="{124023F5-568B-586F-DA11-98EA5334B35B}"/>
              </a:ext>
              <a:ext uri="{C183D7F6-B498-43B3-948B-1728B52AA6E4}">
                <adec:decorative xmlns:adec="http://schemas.microsoft.com/office/drawing/2017/decorative" val="1"/>
              </a:ext>
            </a:extLst>
          </p:cNvPr>
          <p:cNvCxnSpPr>
            <a:cxnSpLocks/>
            <a:stCxn id="4" idx="4"/>
            <a:endCxn id="14" idx="0"/>
          </p:cNvCxnSpPr>
          <p:nvPr/>
        </p:nvCxnSpPr>
        <p:spPr>
          <a:xfrm flipH="1">
            <a:off x="6162233" y="2271002"/>
            <a:ext cx="1" cy="285975"/>
          </a:xfrm>
          <a:prstGeom prst="line">
            <a:avLst/>
          </a:prstGeom>
          <a:ln cap="rnd">
            <a:solidFill>
              <a:schemeClr val="tx1">
                <a:alpha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3A6831D8-14BB-EA90-FEA5-AED09804DD9B}"/>
              </a:ext>
              <a:ext uri="{C183D7F6-B498-43B3-948B-1728B52AA6E4}">
                <adec:decorative xmlns:adec="http://schemas.microsoft.com/office/drawing/2017/decorative" val="1"/>
              </a:ext>
            </a:extLst>
          </p:cNvPr>
          <p:cNvSpPr/>
          <p:nvPr/>
        </p:nvSpPr>
        <p:spPr>
          <a:xfrm>
            <a:off x="6083797" y="2556977"/>
            <a:ext cx="156872" cy="156872"/>
          </a:xfrm>
          <a:prstGeom prst="ellipse">
            <a:avLst/>
          </a:prstGeom>
          <a:gradFill flip="none" rotWithShape="1">
            <a:gsLst>
              <a:gs pos="0">
                <a:srgbClr val="0078D4"/>
              </a:gs>
              <a:gs pos="80000">
                <a:srgbClr val="399A91"/>
              </a:gs>
            </a:gsLst>
            <a:path path="circle">
              <a:fillToRect l="100000" t="100000"/>
            </a:path>
            <a:tileRect r="-100000" b="-100000"/>
          </a:gradFill>
          <a:ln w="47625" cap="flat">
            <a:solidFill>
              <a:schemeClr val="bg1"/>
            </a:solidFill>
            <a:prstDash val="solid"/>
            <a:miter/>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effectLst/>
              <a:uLnTx/>
              <a:uFillTx/>
              <a:latin typeface="Segoe UI Semibold"/>
              <a:ea typeface="+mn-ea"/>
              <a:cs typeface="Segoe UI" pitchFamily="34" charset="0"/>
            </a:endParaRPr>
          </a:p>
        </p:txBody>
      </p:sp>
      <p:grpSp>
        <p:nvGrpSpPr>
          <p:cNvPr id="23" name="Group 22">
            <a:extLst>
              <a:ext uri="{FF2B5EF4-FFF2-40B4-BE49-F238E27FC236}">
                <a16:creationId xmlns:a16="http://schemas.microsoft.com/office/drawing/2014/main" id="{F07430AC-5E74-2793-C079-49BDDF8D345C}"/>
              </a:ext>
              <a:ext uri="{C183D7F6-B498-43B3-948B-1728B52AA6E4}">
                <adec:decorative xmlns:adec="http://schemas.microsoft.com/office/drawing/2017/decorative" val="1"/>
              </a:ext>
            </a:extLst>
          </p:cNvPr>
          <p:cNvGrpSpPr/>
          <p:nvPr/>
        </p:nvGrpSpPr>
        <p:grpSpPr>
          <a:xfrm rot="5400000" flipH="1" flipV="1">
            <a:off x="11613493" y="2039427"/>
            <a:ext cx="149292" cy="198910"/>
            <a:chOff x="6667356" y="2954907"/>
            <a:chExt cx="594920" cy="721978"/>
          </a:xfrm>
          <a:solidFill>
            <a:schemeClr val="tx1"/>
          </a:solidFill>
        </p:grpSpPr>
        <p:sp>
          <p:nvSpPr>
            <p:cNvPr id="24" name="Graphic 9">
              <a:extLst>
                <a:ext uri="{FF2B5EF4-FFF2-40B4-BE49-F238E27FC236}">
                  <a16:creationId xmlns:a16="http://schemas.microsoft.com/office/drawing/2014/main" id="{197AF32F-3A9D-AD48-2C98-01A93EF552D8}"/>
                </a:ext>
              </a:extLst>
            </p:cNvPr>
            <p:cNvSpPr/>
            <p:nvPr/>
          </p:nvSpPr>
          <p:spPr>
            <a:xfrm rot="5400000">
              <a:off x="6784802" y="2837461"/>
              <a:ext cx="360028" cy="594920"/>
            </a:xfrm>
            <a:custGeom>
              <a:avLst/>
              <a:gdLst>
                <a:gd name="connsiteX0" fmla="*/ 763036 w 1308282"/>
                <a:gd name="connsiteY0" fmla="*/ 1084040 h 2161841"/>
                <a:gd name="connsiteX1" fmla="*/ 732841 w 1308282"/>
                <a:gd name="connsiteY1" fmla="*/ 1059275 h 2161841"/>
                <a:gd name="connsiteX2" fmla="*/ 69330 w 1308282"/>
                <a:gd name="connsiteY2" fmla="*/ 396335 h 2161841"/>
                <a:gd name="connsiteX3" fmla="*/ 107525 w 1308282"/>
                <a:gd name="connsiteY3" fmla="*/ 34862 h 2161841"/>
                <a:gd name="connsiteX4" fmla="*/ 389275 w 1308282"/>
                <a:gd name="connsiteY4" fmla="*/ 66199 h 2161841"/>
                <a:gd name="connsiteX5" fmla="*/ 556057 w 1308282"/>
                <a:gd name="connsiteY5" fmla="*/ 232791 h 2161841"/>
                <a:gd name="connsiteX6" fmla="*/ 1234047 w 1308282"/>
                <a:gd name="connsiteY6" fmla="*/ 914972 h 2161841"/>
                <a:gd name="connsiteX7" fmla="*/ 1233856 w 1308282"/>
                <a:gd name="connsiteY7" fmla="*/ 1252157 h 2161841"/>
                <a:gd name="connsiteX8" fmla="*/ 396799 w 1308282"/>
                <a:gd name="connsiteY8" fmla="*/ 2088737 h 2161841"/>
                <a:gd name="connsiteX9" fmla="*/ 163151 w 1308282"/>
                <a:gd name="connsiteY9" fmla="*/ 2151317 h 2161841"/>
                <a:gd name="connsiteX10" fmla="*/ 4465 w 1308282"/>
                <a:gd name="connsiteY10" fmla="*/ 1972818 h 2161841"/>
                <a:gd name="connsiteX11" fmla="*/ 69235 w 1308282"/>
                <a:gd name="connsiteY11" fmla="*/ 1770983 h 2161841"/>
                <a:gd name="connsiteX12" fmla="*/ 734651 w 1308282"/>
                <a:gd name="connsiteY12" fmla="*/ 1106424 h 2161841"/>
                <a:gd name="connsiteX13" fmla="*/ 763036 w 1308282"/>
                <a:gd name="connsiteY13" fmla="*/ 1084136 h 2161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8282" h="2161841">
                  <a:moveTo>
                    <a:pt x="763036" y="1084040"/>
                  </a:moveTo>
                  <a:cubicBezTo>
                    <a:pt x="749129" y="1072706"/>
                    <a:pt x="740271" y="1066705"/>
                    <a:pt x="732841" y="1059275"/>
                  </a:cubicBezTo>
                  <a:cubicBezTo>
                    <a:pt x="511576" y="838391"/>
                    <a:pt x="290215" y="617601"/>
                    <a:pt x="69330" y="396335"/>
                  </a:cubicBezTo>
                  <a:cubicBezTo>
                    <a:pt x="-37160" y="289560"/>
                    <a:pt x="-18300" y="114872"/>
                    <a:pt x="107525" y="34862"/>
                  </a:cubicBezTo>
                  <a:cubicBezTo>
                    <a:pt x="196012" y="-21336"/>
                    <a:pt x="313170" y="-8668"/>
                    <a:pt x="389275" y="66199"/>
                  </a:cubicBezTo>
                  <a:cubicBezTo>
                    <a:pt x="445282" y="121349"/>
                    <a:pt x="500717" y="177070"/>
                    <a:pt x="556057" y="232791"/>
                  </a:cubicBezTo>
                  <a:cubicBezTo>
                    <a:pt x="782086" y="460153"/>
                    <a:pt x="1007923" y="687705"/>
                    <a:pt x="1234047" y="914972"/>
                  </a:cubicBezTo>
                  <a:cubicBezTo>
                    <a:pt x="1332821" y="1014222"/>
                    <a:pt x="1333297" y="1152716"/>
                    <a:pt x="1233856" y="1252157"/>
                  </a:cubicBezTo>
                  <a:cubicBezTo>
                    <a:pt x="954964" y="1531144"/>
                    <a:pt x="675787" y="1809845"/>
                    <a:pt x="396799" y="2088737"/>
                  </a:cubicBezTo>
                  <a:cubicBezTo>
                    <a:pt x="330886" y="2154651"/>
                    <a:pt x="252115" y="2177320"/>
                    <a:pt x="163151" y="2151317"/>
                  </a:cubicBezTo>
                  <a:cubicBezTo>
                    <a:pt x="74664" y="2125409"/>
                    <a:pt x="20562" y="2063306"/>
                    <a:pt x="4465" y="1972818"/>
                  </a:cubicBezTo>
                  <a:cubicBezTo>
                    <a:pt x="-9347" y="1895475"/>
                    <a:pt x="12847" y="1827276"/>
                    <a:pt x="69235" y="1770983"/>
                  </a:cubicBezTo>
                  <a:cubicBezTo>
                    <a:pt x="291072" y="1549527"/>
                    <a:pt x="512719" y="1327880"/>
                    <a:pt x="734651" y="1106424"/>
                  </a:cubicBezTo>
                  <a:cubicBezTo>
                    <a:pt x="741509" y="1099661"/>
                    <a:pt x="749891" y="1094423"/>
                    <a:pt x="763036" y="10841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Graphic 9">
              <a:extLst>
                <a:ext uri="{FF2B5EF4-FFF2-40B4-BE49-F238E27FC236}">
                  <a16:creationId xmlns:a16="http://schemas.microsoft.com/office/drawing/2014/main" id="{B99F3FAD-C9E1-610D-0509-478531BE03CE}"/>
                </a:ext>
              </a:extLst>
            </p:cNvPr>
            <p:cNvSpPr/>
            <p:nvPr/>
          </p:nvSpPr>
          <p:spPr>
            <a:xfrm rot="5400000">
              <a:off x="6784802" y="3199411"/>
              <a:ext cx="360028" cy="594920"/>
            </a:xfrm>
            <a:custGeom>
              <a:avLst/>
              <a:gdLst>
                <a:gd name="connsiteX0" fmla="*/ 763036 w 1308282"/>
                <a:gd name="connsiteY0" fmla="*/ 1084040 h 2161841"/>
                <a:gd name="connsiteX1" fmla="*/ 732841 w 1308282"/>
                <a:gd name="connsiteY1" fmla="*/ 1059275 h 2161841"/>
                <a:gd name="connsiteX2" fmla="*/ 69330 w 1308282"/>
                <a:gd name="connsiteY2" fmla="*/ 396335 h 2161841"/>
                <a:gd name="connsiteX3" fmla="*/ 107525 w 1308282"/>
                <a:gd name="connsiteY3" fmla="*/ 34862 h 2161841"/>
                <a:gd name="connsiteX4" fmla="*/ 389275 w 1308282"/>
                <a:gd name="connsiteY4" fmla="*/ 66199 h 2161841"/>
                <a:gd name="connsiteX5" fmla="*/ 556057 w 1308282"/>
                <a:gd name="connsiteY5" fmla="*/ 232791 h 2161841"/>
                <a:gd name="connsiteX6" fmla="*/ 1234047 w 1308282"/>
                <a:gd name="connsiteY6" fmla="*/ 914972 h 2161841"/>
                <a:gd name="connsiteX7" fmla="*/ 1233856 w 1308282"/>
                <a:gd name="connsiteY7" fmla="*/ 1252157 h 2161841"/>
                <a:gd name="connsiteX8" fmla="*/ 396799 w 1308282"/>
                <a:gd name="connsiteY8" fmla="*/ 2088737 h 2161841"/>
                <a:gd name="connsiteX9" fmla="*/ 163151 w 1308282"/>
                <a:gd name="connsiteY9" fmla="*/ 2151317 h 2161841"/>
                <a:gd name="connsiteX10" fmla="*/ 4465 w 1308282"/>
                <a:gd name="connsiteY10" fmla="*/ 1972818 h 2161841"/>
                <a:gd name="connsiteX11" fmla="*/ 69235 w 1308282"/>
                <a:gd name="connsiteY11" fmla="*/ 1770983 h 2161841"/>
                <a:gd name="connsiteX12" fmla="*/ 734651 w 1308282"/>
                <a:gd name="connsiteY12" fmla="*/ 1106424 h 2161841"/>
                <a:gd name="connsiteX13" fmla="*/ 763036 w 1308282"/>
                <a:gd name="connsiteY13" fmla="*/ 1084136 h 2161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8282" h="2161841">
                  <a:moveTo>
                    <a:pt x="763036" y="1084040"/>
                  </a:moveTo>
                  <a:cubicBezTo>
                    <a:pt x="749129" y="1072706"/>
                    <a:pt x="740271" y="1066705"/>
                    <a:pt x="732841" y="1059275"/>
                  </a:cubicBezTo>
                  <a:cubicBezTo>
                    <a:pt x="511576" y="838391"/>
                    <a:pt x="290215" y="617601"/>
                    <a:pt x="69330" y="396335"/>
                  </a:cubicBezTo>
                  <a:cubicBezTo>
                    <a:pt x="-37160" y="289560"/>
                    <a:pt x="-18300" y="114872"/>
                    <a:pt x="107525" y="34862"/>
                  </a:cubicBezTo>
                  <a:cubicBezTo>
                    <a:pt x="196012" y="-21336"/>
                    <a:pt x="313170" y="-8668"/>
                    <a:pt x="389275" y="66199"/>
                  </a:cubicBezTo>
                  <a:cubicBezTo>
                    <a:pt x="445282" y="121349"/>
                    <a:pt x="500717" y="177070"/>
                    <a:pt x="556057" y="232791"/>
                  </a:cubicBezTo>
                  <a:cubicBezTo>
                    <a:pt x="782086" y="460153"/>
                    <a:pt x="1007923" y="687705"/>
                    <a:pt x="1234047" y="914972"/>
                  </a:cubicBezTo>
                  <a:cubicBezTo>
                    <a:pt x="1332821" y="1014222"/>
                    <a:pt x="1333297" y="1152716"/>
                    <a:pt x="1233856" y="1252157"/>
                  </a:cubicBezTo>
                  <a:cubicBezTo>
                    <a:pt x="954964" y="1531144"/>
                    <a:pt x="675787" y="1809845"/>
                    <a:pt x="396799" y="2088737"/>
                  </a:cubicBezTo>
                  <a:cubicBezTo>
                    <a:pt x="330886" y="2154651"/>
                    <a:pt x="252115" y="2177320"/>
                    <a:pt x="163151" y="2151317"/>
                  </a:cubicBezTo>
                  <a:cubicBezTo>
                    <a:pt x="74664" y="2125409"/>
                    <a:pt x="20562" y="2063306"/>
                    <a:pt x="4465" y="1972818"/>
                  </a:cubicBezTo>
                  <a:cubicBezTo>
                    <a:pt x="-9347" y="1895475"/>
                    <a:pt x="12847" y="1827276"/>
                    <a:pt x="69235" y="1770983"/>
                  </a:cubicBezTo>
                  <a:cubicBezTo>
                    <a:pt x="291072" y="1549527"/>
                    <a:pt x="512719" y="1327880"/>
                    <a:pt x="734651" y="1106424"/>
                  </a:cubicBezTo>
                  <a:cubicBezTo>
                    <a:pt x="741509" y="1099661"/>
                    <a:pt x="749891" y="1094423"/>
                    <a:pt x="763036" y="10841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aphicFrame>
        <p:nvGraphicFramePr>
          <p:cNvPr id="28" name="Table 27">
            <a:extLst>
              <a:ext uri="{FF2B5EF4-FFF2-40B4-BE49-F238E27FC236}">
                <a16:creationId xmlns:a16="http://schemas.microsoft.com/office/drawing/2014/main" id="{CAD3E8CA-9382-A845-9590-7052012BBBEA}"/>
              </a:ext>
            </a:extLst>
          </p:cNvPr>
          <p:cNvGraphicFramePr>
            <a:graphicFrameLocks noGrp="1"/>
          </p:cNvGraphicFramePr>
          <p:nvPr>
            <p:extLst>
              <p:ext uri="{D42A27DB-BD31-4B8C-83A1-F6EECF244321}">
                <p14:modId xmlns:p14="http://schemas.microsoft.com/office/powerpoint/2010/main" val="1727403450"/>
              </p:ext>
            </p:extLst>
          </p:nvPr>
        </p:nvGraphicFramePr>
        <p:xfrm>
          <a:off x="2514717" y="3379438"/>
          <a:ext cx="9144000" cy="2834640"/>
        </p:xfrm>
        <a:graphic>
          <a:graphicData uri="http://schemas.openxmlformats.org/drawingml/2006/table">
            <a:tbl>
              <a:tblPr firstRow="1" bandRow="1">
                <a:tableStyleId>{5C22544A-7EE6-4342-B048-85BDC9FD1C3A}</a:tableStyleId>
              </a:tblPr>
              <a:tblGrid>
                <a:gridCol w="5729023">
                  <a:extLst>
                    <a:ext uri="{9D8B030D-6E8A-4147-A177-3AD203B41FA5}">
                      <a16:colId xmlns:a16="http://schemas.microsoft.com/office/drawing/2014/main" val="2795189067"/>
                    </a:ext>
                  </a:extLst>
                </a:gridCol>
                <a:gridCol w="3414977">
                  <a:extLst>
                    <a:ext uri="{9D8B030D-6E8A-4147-A177-3AD203B41FA5}">
                      <a16:colId xmlns:a16="http://schemas.microsoft.com/office/drawing/2014/main" val="2873385886"/>
                    </a:ext>
                  </a:extLst>
                </a:gridCol>
              </a:tblGrid>
              <a:tr h="191890">
                <a:tc>
                  <a:txBody>
                    <a:bodyPr/>
                    <a:lstStyle/>
                    <a:p>
                      <a:r>
                        <a:rPr lang="en-US" sz="1600">
                          <a:solidFill>
                            <a:sysClr val="windowText" lastClr="000000"/>
                          </a:solidFill>
                        </a:rPr>
                        <a:t>I need …</a:t>
                      </a: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ysClr val="windowText" lastClr="000000"/>
                          </a:solidFill>
                        </a:rPr>
                        <a:t>Microsoft Purview</a:t>
                      </a: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9498682"/>
                  </a:ext>
                </a:extLst>
              </a:tr>
              <a:tr h="0">
                <a:tc>
                  <a:txBody>
                    <a:bodyPr/>
                    <a:lstStyle/>
                    <a:p>
                      <a:r>
                        <a:rPr lang="en-US" sz="1600">
                          <a:solidFill>
                            <a:sysClr val="windowText" lastClr="000000"/>
                          </a:solidFill>
                        </a:rPr>
                        <a:t>an audit log of Copilot interactions</a:t>
                      </a:r>
                    </a:p>
                  </a:txBody>
                  <a:tcPr marT="182880" marB="182880">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ysClr val="windowText" lastClr="000000"/>
                          </a:solidFill>
                        </a:rPr>
                        <a:t>Audit</a:t>
                      </a:r>
                    </a:p>
                  </a:txBody>
                  <a:tcPr marT="182880" marB="182880">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0278486"/>
                  </a:ext>
                </a:extLst>
              </a:tr>
              <a:tr h="299663">
                <a:tc>
                  <a:txBody>
                    <a:bodyPr/>
                    <a:lstStyle/>
                    <a:p>
                      <a:r>
                        <a:rPr lang="en-US" sz="1600">
                          <a:solidFill>
                            <a:sysClr val="windowText" lastClr="000000"/>
                          </a:solidFill>
                        </a:rPr>
                        <a:t>to include Copilot interactions in legal holds and searches</a:t>
                      </a:r>
                    </a:p>
                  </a:txBody>
                  <a:tcPr marB="18288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ysClr val="windowText" lastClr="000000"/>
                          </a:solidFill>
                        </a:rPr>
                        <a:t>eDiscovery</a:t>
                      </a:r>
                    </a:p>
                  </a:txBody>
                  <a:tcPr marB="18288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9422776"/>
                  </a:ext>
                </a:extLst>
              </a:tr>
              <a:tr h="0">
                <a:tc>
                  <a:txBody>
                    <a:bodyPr/>
                    <a:lstStyle/>
                    <a:p>
                      <a:r>
                        <a:rPr lang="en-US" sz="1600">
                          <a:solidFill>
                            <a:sysClr val="windowText" lastClr="000000"/>
                          </a:solidFill>
                        </a:rPr>
                        <a:t>retention or deletion of Copilot interactions</a:t>
                      </a:r>
                    </a:p>
                  </a:txBody>
                  <a:tcPr marB="18288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ysClr val="windowText" lastClr="000000"/>
                          </a:solidFill>
                        </a:rPr>
                        <a:t>Data Lifecycle Management</a:t>
                      </a:r>
                    </a:p>
                  </a:txBody>
                  <a:tcPr marB="18288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1602970"/>
                  </a:ext>
                </a:extLst>
              </a:tr>
              <a:tr h="0">
                <a:tc>
                  <a:txBody>
                    <a:bodyPr/>
                    <a:lstStyle/>
                    <a:p>
                      <a:r>
                        <a:rPr lang="en-US" sz="1600">
                          <a:solidFill>
                            <a:sysClr val="windowText" lastClr="000000"/>
                          </a:solidFill>
                        </a:rPr>
                        <a:t>alerts when users misuse Copilot</a:t>
                      </a:r>
                    </a:p>
                  </a:txBody>
                  <a:tcPr marB="18288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ysClr val="windowText" lastClr="000000"/>
                          </a:solidFill>
                        </a:rPr>
                        <a:t>Communication Compliance</a:t>
                      </a:r>
                    </a:p>
                  </a:txBody>
                  <a:tcPr marB="18288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9178518"/>
                  </a:ext>
                </a:extLst>
              </a:tr>
              <a:tr h="299663">
                <a:tc>
                  <a:txBody>
                    <a:bodyPr/>
                    <a:lstStyle/>
                    <a:p>
                      <a:r>
                        <a:rPr lang="en-US" sz="1600">
                          <a:solidFill>
                            <a:sysClr val="windowText" lastClr="000000"/>
                          </a:solidFill>
                        </a:rPr>
                        <a:t>Copilot to respect the data protections I already have in place</a:t>
                      </a:r>
                    </a:p>
                  </a:txBody>
                  <a:tcPr marB="18288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ysClr val="windowText" lastClr="000000"/>
                          </a:solidFill>
                        </a:rPr>
                        <a:t>Information Protection</a:t>
                      </a:r>
                    </a:p>
                  </a:txBody>
                  <a:tcPr marB="18288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8878474"/>
                  </a:ext>
                </a:extLst>
              </a:tr>
            </a:tbl>
          </a:graphicData>
        </a:graphic>
      </p:graphicFrame>
    </p:spTree>
    <p:extLst>
      <p:ext uri="{BB962C8B-B14F-4D97-AF65-F5344CB8AC3E}">
        <p14:creationId xmlns:p14="http://schemas.microsoft.com/office/powerpoint/2010/main" val="184798634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Microsoft Purview dashboard displaying an audit search">
            <a:extLst>
              <a:ext uri="{FF2B5EF4-FFF2-40B4-BE49-F238E27FC236}">
                <a16:creationId xmlns:a16="http://schemas.microsoft.com/office/drawing/2014/main" id="{6CFE4FDB-9E36-BCCE-5EE8-FC2A50B9CC01}"/>
              </a:ext>
            </a:extLst>
          </p:cNvPr>
          <p:cNvPicPr>
            <a:picLocks/>
          </p:cNvPicPr>
          <p:nvPr/>
        </p:nvPicPr>
        <p:blipFill>
          <a:blip r:embed="rId3"/>
          <a:stretch>
            <a:fillRect/>
          </a:stretch>
        </p:blipFill>
        <p:spPr>
          <a:xfrm>
            <a:off x="718746" y="402708"/>
            <a:ext cx="10754511" cy="6049412"/>
          </a:xfrm>
          <a:custGeom>
            <a:avLst/>
            <a:gdLst>
              <a:gd name="connsiteX0" fmla="*/ 79362 w 10754511"/>
              <a:gd name="connsiteY0" fmla="*/ 0 h 6049412"/>
              <a:gd name="connsiteX1" fmla="*/ 10675148 w 10754511"/>
              <a:gd name="connsiteY1" fmla="*/ 0 h 6049412"/>
              <a:gd name="connsiteX2" fmla="*/ 10706037 w 10754511"/>
              <a:gd name="connsiteY2" fmla="*/ 6236 h 6049412"/>
              <a:gd name="connsiteX3" fmla="*/ 10754511 w 10754511"/>
              <a:gd name="connsiteY3" fmla="*/ 79367 h 6049412"/>
              <a:gd name="connsiteX4" fmla="*/ 10754511 w 10754511"/>
              <a:gd name="connsiteY4" fmla="*/ 5970044 h 6049412"/>
              <a:gd name="connsiteX5" fmla="*/ 10675143 w 10754511"/>
              <a:gd name="connsiteY5" fmla="*/ 6049412 h 6049412"/>
              <a:gd name="connsiteX6" fmla="*/ 79367 w 10754511"/>
              <a:gd name="connsiteY6" fmla="*/ 6049412 h 6049412"/>
              <a:gd name="connsiteX7" fmla="*/ 6236 w 10754511"/>
              <a:gd name="connsiteY7" fmla="*/ 6000938 h 6049412"/>
              <a:gd name="connsiteX8" fmla="*/ 0 w 10754511"/>
              <a:gd name="connsiteY8" fmla="*/ 5970049 h 6049412"/>
              <a:gd name="connsiteX9" fmla="*/ 0 w 10754511"/>
              <a:gd name="connsiteY9" fmla="*/ 79362 h 6049412"/>
              <a:gd name="connsiteX10" fmla="*/ 6236 w 10754511"/>
              <a:gd name="connsiteY10" fmla="*/ 48473 h 6049412"/>
              <a:gd name="connsiteX11" fmla="*/ 48474 w 10754511"/>
              <a:gd name="connsiteY11" fmla="*/ 6236 h 604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54511" h="6049412">
                <a:moveTo>
                  <a:pt x="79362" y="0"/>
                </a:moveTo>
                <a:lnTo>
                  <a:pt x="10675148" y="0"/>
                </a:lnTo>
                <a:lnTo>
                  <a:pt x="10706037" y="6236"/>
                </a:lnTo>
                <a:cubicBezTo>
                  <a:pt x="10734523" y="18285"/>
                  <a:pt x="10754511" y="46492"/>
                  <a:pt x="10754511" y="79367"/>
                </a:cubicBezTo>
                <a:lnTo>
                  <a:pt x="10754511" y="5970044"/>
                </a:lnTo>
                <a:cubicBezTo>
                  <a:pt x="10754511" y="6013878"/>
                  <a:pt x="10718977" y="6049412"/>
                  <a:pt x="10675143" y="6049412"/>
                </a:cubicBezTo>
                <a:lnTo>
                  <a:pt x="79367" y="6049412"/>
                </a:lnTo>
                <a:cubicBezTo>
                  <a:pt x="46492" y="6049412"/>
                  <a:pt x="18285" y="6029424"/>
                  <a:pt x="6236" y="6000938"/>
                </a:cubicBezTo>
                <a:lnTo>
                  <a:pt x="0" y="5970049"/>
                </a:lnTo>
                <a:lnTo>
                  <a:pt x="0" y="79362"/>
                </a:lnTo>
                <a:lnTo>
                  <a:pt x="6236" y="48473"/>
                </a:lnTo>
                <a:cubicBezTo>
                  <a:pt x="14269" y="29482"/>
                  <a:pt x="29483" y="14269"/>
                  <a:pt x="48474" y="6236"/>
                </a:cubicBezTo>
                <a:close/>
              </a:path>
            </a:pathLst>
          </a:custGeom>
          <a:solidFill>
            <a:srgbClr val="F0F0F0"/>
          </a:solidFill>
        </p:spPr>
      </p:pic>
      <p:sp>
        <p:nvSpPr>
          <p:cNvPr id="8" name="Rectangle: Rounded Corners 7">
            <a:extLst>
              <a:ext uri="{FF2B5EF4-FFF2-40B4-BE49-F238E27FC236}">
                <a16:creationId xmlns:a16="http://schemas.microsoft.com/office/drawing/2014/main" id="{763D62E9-8507-6A46-9921-803A761FF367}"/>
              </a:ext>
              <a:ext uri="{C183D7F6-B498-43B3-948B-1728B52AA6E4}">
                <adec:decorative xmlns:adec="http://schemas.microsoft.com/office/drawing/2017/decorative" val="1"/>
              </a:ext>
            </a:extLst>
          </p:cNvPr>
          <p:cNvSpPr>
            <a:spLocks/>
          </p:cNvSpPr>
          <p:nvPr/>
        </p:nvSpPr>
        <p:spPr bwMode="auto">
          <a:xfrm>
            <a:off x="582612" y="267935"/>
            <a:ext cx="11026776" cy="6318956"/>
          </a:xfrm>
          <a:prstGeom prst="roundRect">
            <a:avLst>
              <a:gd name="adj" fmla="val 2582"/>
            </a:avLst>
          </a:prstGeom>
          <a:noFill/>
          <a:ln w="12700" cap="rnd">
            <a:gradFill flip="none" rotWithShape="1">
              <a:gsLst>
                <a:gs pos="0">
                  <a:srgbClr val="F65567"/>
                </a:gs>
                <a:gs pos="32000">
                  <a:srgbClr val="AC35AF"/>
                </a:gs>
                <a:gs pos="6800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52000" tIns="146304" rIns="25200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mn-cs"/>
            </a:endParaRPr>
          </a:p>
        </p:txBody>
      </p:sp>
      <p:sp>
        <p:nvSpPr>
          <p:cNvPr id="9" name="Title 8">
            <a:extLst>
              <a:ext uri="{FF2B5EF4-FFF2-40B4-BE49-F238E27FC236}">
                <a16:creationId xmlns:a16="http://schemas.microsoft.com/office/drawing/2014/main" id="{CCCC4394-70FD-1257-D738-559EFFBA7D34}"/>
              </a:ext>
              <a:ext uri="{C183D7F6-B498-43B3-948B-1728B52AA6E4}">
                <adec:decorative xmlns:adec="http://schemas.microsoft.com/office/drawing/2017/decorative" val="1"/>
              </a:ext>
            </a:extLst>
          </p:cNvPr>
          <p:cNvSpPr>
            <a:spLocks noGrp="1"/>
          </p:cNvSpPr>
          <p:nvPr>
            <p:ph type="title" idx="4294967295"/>
          </p:nvPr>
        </p:nvSpPr>
        <p:spPr bwMode="auto">
          <a:xfrm>
            <a:off x="718746" y="6028793"/>
            <a:ext cx="10754511" cy="423327"/>
          </a:xfrm>
          <a:prstGeom prst="round2SameRect">
            <a:avLst>
              <a:gd name="adj1" fmla="val 0"/>
              <a:gd name="adj2" fmla="val 18201"/>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r>
              <a:rPr kumimoji="0" lang="en-US" sz="2000" b="1" i="0" u="none" strike="noStrike" kern="1200" cap="none" spc="0" normalizeH="0" baseline="0" noProof="0">
                <a:ln>
                  <a:noFill/>
                </a:ln>
                <a:solidFill>
                  <a:schemeClr val="bg1"/>
                </a:solidFill>
                <a:effectLst/>
                <a:uLnTx/>
                <a:uFillTx/>
                <a:latin typeface="+mj-lt"/>
                <a:ea typeface="+mn-ea"/>
                <a:cs typeface="+mn-cs"/>
              </a:rPr>
              <a:t>Audit</a:t>
            </a:r>
          </a:p>
        </p:txBody>
      </p:sp>
    </p:spTree>
    <p:extLst>
      <p:ext uri="{BB962C8B-B14F-4D97-AF65-F5344CB8AC3E}">
        <p14:creationId xmlns:p14="http://schemas.microsoft.com/office/powerpoint/2010/main" val="381988441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F26A2B-AB99-069F-3DC8-F16E1ABE9C1B}"/>
              </a:ext>
            </a:extLst>
          </p:cNvPr>
          <p:cNvSpPr>
            <a:spLocks noGrp="1"/>
          </p:cNvSpPr>
          <p:nvPr>
            <p:ph type="title" idx="4294967295"/>
          </p:nvPr>
        </p:nvSpPr>
        <p:spPr>
          <a:xfrm>
            <a:off x="582612" y="-927100"/>
            <a:ext cx="11018520" cy="553998"/>
          </a:xfrm>
        </p:spPr>
        <p:txBody>
          <a:bodyPr>
            <a:normAutofit fontScale="90000"/>
          </a:bodyPr>
          <a:lstStyle/>
          <a:p>
            <a:r>
              <a:rPr lang="en-US"/>
              <a:t>Demo</a:t>
            </a:r>
          </a:p>
        </p:txBody>
      </p:sp>
      <p:pic>
        <p:nvPicPr>
          <p:cNvPr id="3" name="Picture 2" descr="Microsoft Purview dashboard displaying a filtered list">
            <a:extLst>
              <a:ext uri="{FF2B5EF4-FFF2-40B4-BE49-F238E27FC236}">
                <a16:creationId xmlns:a16="http://schemas.microsoft.com/office/drawing/2014/main" id="{AB86319A-D93C-9F18-D2C8-8CB5466C7187}"/>
              </a:ext>
            </a:extLst>
          </p:cNvPr>
          <p:cNvPicPr>
            <a:picLocks/>
          </p:cNvPicPr>
          <p:nvPr/>
        </p:nvPicPr>
        <p:blipFill>
          <a:blip r:embed="rId3"/>
          <a:stretch>
            <a:fillRect/>
          </a:stretch>
        </p:blipFill>
        <p:spPr>
          <a:xfrm>
            <a:off x="718746" y="402708"/>
            <a:ext cx="10754511" cy="6049412"/>
          </a:xfrm>
          <a:custGeom>
            <a:avLst/>
            <a:gdLst>
              <a:gd name="connsiteX0" fmla="*/ 79362 w 10754511"/>
              <a:gd name="connsiteY0" fmla="*/ 0 h 6049412"/>
              <a:gd name="connsiteX1" fmla="*/ 10675148 w 10754511"/>
              <a:gd name="connsiteY1" fmla="*/ 0 h 6049412"/>
              <a:gd name="connsiteX2" fmla="*/ 10706037 w 10754511"/>
              <a:gd name="connsiteY2" fmla="*/ 6236 h 6049412"/>
              <a:gd name="connsiteX3" fmla="*/ 10754511 w 10754511"/>
              <a:gd name="connsiteY3" fmla="*/ 79367 h 6049412"/>
              <a:gd name="connsiteX4" fmla="*/ 10754511 w 10754511"/>
              <a:gd name="connsiteY4" fmla="*/ 5970044 h 6049412"/>
              <a:gd name="connsiteX5" fmla="*/ 10675143 w 10754511"/>
              <a:gd name="connsiteY5" fmla="*/ 6049412 h 6049412"/>
              <a:gd name="connsiteX6" fmla="*/ 79367 w 10754511"/>
              <a:gd name="connsiteY6" fmla="*/ 6049412 h 6049412"/>
              <a:gd name="connsiteX7" fmla="*/ 6236 w 10754511"/>
              <a:gd name="connsiteY7" fmla="*/ 6000938 h 6049412"/>
              <a:gd name="connsiteX8" fmla="*/ 0 w 10754511"/>
              <a:gd name="connsiteY8" fmla="*/ 5970049 h 6049412"/>
              <a:gd name="connsiteX9" fmla="*/ 0 w 10754511"/>
              <a:gd name="connsiteY9" fmla="*/ 79362 h 6049412"/>
              <a:gd name="connsiteX10" fmla="*/ 6236 w 10754511"/>
              <a:gd name="connsiteY10" fmla="*/ 48473 h 6049412"/>
              <a:gd name="connsiteX11" fmla="*/ 48474 w 10754511"/>
              <a:gd name="connsiteY11" fmla="*/ 6236 h 604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54511" h="6049412">
                <a:moveTo>
                  <a:pt x="79362" y="0"/>
                </a:moveTo>
                <a:lnTo>
                  <a:pt x="10675148" y="0"/>
                </a:lnTo>
                <a:lnTo>
                  <a:pt x="10706037" y="6236"/>
                </a:lnTo>
                <a:cubicBezTo>
                  <a:pt x="10734523" y="18285"/>
                  <a:pt x="10754511" y="46492"/>
                  <a:pt x="10754511" y="79367"/>
                </a:cubicBezTo>
                <a:lnTo>
                  <a:pt x="10754511" y="5970044"/>
                </a:lnTo>
                <a:cubicBezTo>
                  <a:pt x="10754511" y="6013878"/>
                  <a:pt x="10718977" y="6049412"/>
                  <a:pt x="10675143" y="6049412"/>
                </a:cubicBezTo>
                <a:lnTo>
                  <a:pt x="79367" y="6049412"/>
                </a:lnTo>
                <a:cubicBezTo>
                  <a:pt x="46492" y="6049412"/>
                  <a:pt x="18285" y="6029424"/>
                  <a:pt x="6236" y="6000938"/>
                </a:cubicBezTo>
                <a:lnTo>
                  <a:pt x="0" y="5970049"/>
                </a:lnTo>
                <a:lnTo>
                  <a:pt x="0" y="79362"/>
                </a:lnTo>
                <a:lnTo>
                  <a:pt x="6236" y="48473"/>
                </a:lnTo>
                <a:cubicBezTo>
                  <a:pt x="14269" y="29482"/>
                  <a:pt x="29483" y="14269"/>
                  <a:pt x="48474" y="6236"/>
                </a:cubicBezTo>
                <a:close/>
              </a:path>
            </a:pathLst>
          </a:custGeom>
          <a:solidFill>
            <a:srgbClr val="F0F0F0"/>
          </a:solidFill>
        </p:spPr>
      </p:pic>
      <p:sp>
        <p:nvSpPr>
          <p:cNvPr id="8" name="Rectangle: Rounded Corners 7">
            <a:extLst>
              <a:ext uri="{FF2B5EF4-FFF2-40B4-BE49-F238E27FC236}">
                <a16:creationId xmlns:a16="http://schemas.microsoft.com/office/drawing/2014/main" id="{42B43992-0CC7-2E90-F9F3-2E1A8E5A4B2E}"/>
              </a:ext>
              <a:ext uri="{C183D7F6-B498-43B3-948B-1728B52AA6E4}">
                <adec:decorative xmlns:adec="http://schemas.microsoft.com/office/drawing/2017/decorative" val="1"/>
              </a:ext>
            </a:extLst>
          </p:cNvPr>
          <p:cNvSpPr>
            <a:spLocks/>
          </p:cNvSpPr>
          <p:nvPr/>
        </p:nvSpPr>
        <p:spPr bwMode="auto">
          <a:xfrm>
            <a:off x="582612" y="267935"/>
            <a:ext cx="11026776" cy="6318956"/>
          </a:xfrm>
          <a:prstGeom prst="roundRect">
            <a:avLst>
              <a:gd name="adj" fmla="val 2582"/>
            </a:avLst>
          </a:prstGeom>
          <a:noFill/>
          <a:ln w="12700" cap="rnd">
            <a:gradFill flip="none" rotWithShape="1">
              <a:gsLst>
                <a:gs pos="0">
                  <a:srgbClr val="F65567"/>
                </a:gs>
                <a:gs pos="32000">
                  <a:srgbClr val="AC35AF"/>
                </a:gs>
                <a:gs pos="6800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52000" tIns="146304" rIns="25200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mn-cs"/>
            </a:endParaRPr>
          </a:p>
        </p:txBody>
      </p:sp>
      <p:sp>
        <p:nvSpPr>
          <p:cNvPr id="9" name="Title 8">
            <a:extLst>
              <a:ext uri="{FF2B5EF4-FFF2-40B4-BE49-F238E27FC236}">
                <a16:creationId xmlns:a16="http://schemas.microsoft.com/office/drawing/2014/main" id="{B018951E-4CC5-4637-FF55-5A3774A19232}"/>
              </a:ext>
              <a:ext uri="{C183D7F6-B498-43B3-948B-1728B52AA6E4}">
                <adec:decorative xmlns:adec="http://schemas.microsoft.com/office/drawing/2017/decorative" val="1"/>
              </a:ext>
            </a:extLst>
          </p:cNvPr>
          <p:cNvSpPr>
            <a:spLocks/>
          </p:cNvSpPr>
          <p:nvPr/>
        </p:nvSpPr>
        <p:spPr bwMode="auto">
          <a:xfrm>
            <a:off x="718746" y="6028793"/>
            <a:ext cx="10754511" cy="423327"/>
          </a:xfrm>
          <a:prstGeom prst="round2SameRect">
            <a:avLst>
              <a:gd name="adj1" fmla="val 0"/>
              <a:gd name="adj2" fmla="val 18201"/>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r>
              <a:rPr kumimoji="0" lang="en-US" sz="2000" b="1" i="0" u="none" strike="noStrike" kern="1200" cap="none" spc="0" normalizeH="0" baseline="0" noProof="0">
                <a:ln>
                  <a:noFill/>
                </a:ln>
                <a:solidFill>
                  <a:srgbClr val="FFFFFF"/>
                </a:solidFill>
                <a:effectLst/>
                <a:uLnTx/>
                <a:uFillTx/>
                <a:latin typeface="Segoe UI Semibold"/>
                <a:ea typeface="+mn-ea"/>
                <a:cs typeface="+mn-cs"/>
              </a:rPr>
              <a:t>eDiscovery  </a:t>
            </a:r>
          </a:p>
        </p:txBody>
      </p:sp>
    </p:spTree>
    <p:extLst>
      <p:ext uri="{BB962C8B-B14F-4D97-AF65-F5344CB8AC3E}">
        <p14:creationId xmlns:p14="http://schemas.microsoft.com/office/powerpoint/2010/main" val="143715514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F029D6A-C075-7EF0-C6A2-07BC853E1898}"/>
              </a:ext>
            </a:extLst>
          </p:cNvPr>
          <p:cNvSpPr>
            <a:spLocks noGrp="1"/>
          </p:cNvSpPr>
          <p:nvPr>
            <p:ph type="title"/>
          </p:nvPr>
        </p:nvSpPr>
        <p:spPr>
          <a:xfrm>
            <a:off x="758597" y="2548242"/>
            <a:ext cx="10049816" cy="1495794"/>
          </a:xfrm>
        </p:spPr>
        <p:txBody>
          <a:bodyPr anchor="ctr"/>
          <a:lstStyle/>
          <a:p>
            <a:r>
              <a:rPr lang="en-US"/>
              <a:t>Securing AI Apps and Agents with Microsoft Purview</a:t>
            </a:r>
          </a:p>
        </p:txBody>
      </p:sp>
      <p:sp>
        <p:nvSpPr>
          <p:cNvPr id="6" name="Text Placeholder 5">
            <a:extLst>
              <a:ext uri="{FF2B5EF4-FFF2-40B4-BE49-F238E27FC236}">
                <a16:creationId xmlns:a16="http://schemas.microsoft.com/office/drawing/2014/main" id="{B8D03424-982A-49AB-59D0-BF6E84BFE0D5}"/>
              </a:ext>
            </a:extLst>
          </p:cNvPr>
          <p:cNvSpPr>
            <a:spLocks noGrp="1"/>
          </p:cNvSpPr>
          <p:nvPr>
            <p:ph type="body" sz="quarter" idx="13"/>
          </p:nvPr>
        </p:nvSpPr>
        <p:spPr/>
        <p:txBody>
          <a:bodyPr/>
          <a:lstStyle/>
          <a:p>
            <a:r>
              <a:rPr lang="en-US"/>
              <a:t>May 7, 2025</a:t>
            </a:r>
          </a:p>
        </p:txBody>
      </p:sp>
    </p:spTree>
    <p:extLst>
      <p:ext uri="{BB962C8B-B14F-4D97-AF65-F5344CB8AC3E}">
        <p14:creationId xmlns:p14="http://schemas.microsoft.com/office/powerpoint/2010/main" val="662025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9DE3301-DFFD-817D-70D2-986F0D7C66BA}"/>
              </a:ext>
            </a:extLst>
          </p:cNvPr>
          <p:cNvSpPr>
            <a:spLocks noGrp="1"/>
          </p:cNvSpPr>
          <p:nvPr>
            <p:ph type="title" idx="4294967295"/>
          </p:nvPr>
        </p:nvSpPr>
        <p:spPr>
          <a:xfrm>
            <a:off x="590868" y="-688916"/>
            <a:ext cx="11018520" cy="553998"/>
          </a:xfrm>
        </p:spPr>
        <p:txBody>
          <a:bodyPr>
            <a:normAutofit fontScale="90000"/>
          </a:bodyPr>
          <a:lstStyle/>
          <a:p>
            <a:r>
              <a:rPr lang="en-US"/>
              <a:t>Demo</a:t>
            </a:r>
          </a:p>
        </p:txBody>
      </p:sp>
      <p:pic>
        <p:nvPicPr>
          <p:cNvPr id="5" name="Picture 4" descr="Microsoft Purview dashboard ">
            <a:extLst>
              <a:ext uri="{FF2B5EF4-FFF2-40B4-BE49-F238E27FC236}">
                <a16:creationId xmlns:a16="http://schemas.microsoft.com/office/drawing/2014/main" id="{A547DC09-7A00-255F-A8B2-6524F273058E}"/>
              </a:ext>
            </a:extLst>
          </p:cNvPr>
          <p:cNvPicPr>
            <a:picLocks/>
          </p:cNvPicPr>
          <p:nvPr/>
        </p:nvPicPr>
        <p:blipFill>
          <a:blip r:embed="rId3"/>
          <a:stretch>
            <a:fillRect/>
          </a:stretch>
        </p:blipFill>
        <p:spPr>
          <a:xfrm>
            <a:off x="718746" y="402708"/>
            <a:ext cx="10754511" cy="6049412"/>
          </a:xfrm>
          <a:custGeom>
            <a:avLst/>
            <a:gdLst>
              <a:gd name="connsiteX0" fmla="*/ 79362 w 10754511"/>
              <a:gd name="connsiteY0" fmla="*/ 0 h 6049412"/>
              <a:gd name="connsiteX1" fmla="*/ 10675148 w 10754511"/>
              <a:gd name="connsiteY1" fmla="*/ 0 h 6049412"/>
              <a:gd name="connsiteX2" fmla="*/ 10706037 w 10754511"/>
              <a:gd name="connsiteY2" fmla="*/ 6236 h 6049412"/>
              <a:gd name="connsiteX3" fmla="*/ 10754511 w 10754511"/>
              <a:gd name="connsiteY3" fmla="*/ 79367 h 6049412"/>
              <a:gd name="connsiteX4" fmla="*/ 10754511 w 10754511"/>
              <a:gd name="connsiteY4" fmla="*/ 5970044 h 6049412"/>
              <a:gd name="connsiteX5" fmla="*/ 10675143 w 10754511"/>
              <a:gd name="connsiteY5" fmla="*/ 6049412 h 6049412"/>
              <a:gd name="connsiteX6" fmla="*/ 79367 w 10754511"/>
              <a:gd name="connsiteY6" fmla="*/ 6049412 h 6049412"/>
              <a:gd name="connsiteX7" fmla="*/ 6236 w 10754511"/>
              <a:gd name="connsiteY7" fmla="*/ 6000938 h 6049412"/>
              <a:gd name="connsiteX8" fmla="*/ 0 w 10754511"/>
              <a:gd name="connsiteY8" fmla="*/ 5970049 h 6049412"/>
              <a:gd name="connsiteX9" fmla="*/ 0 w 10754511"/>
              <a:gd name="connsiteY9" fmla="*/ 79362 h 6049412"/>
              <a:gd name="connsiteX10" fmla="*/ 6236 w 10754511"/>
              <a:gd name="connsiteY10" fmla="*/ 48473 h 6049412"/>
              <a:gd name="connsiteX11" fmla="*/ 48474 w 10754511"/>
              <a:gd name="connsiteY11" fmla="*/ 6236 h 604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54511" h="6049412">
                <a:moveTo>
                  <a:pt x="79362" y="0"/>
                </a:moveTo>
                <a:lnTo>
                  <a:pt x="10675148" y="0"/>
                </a:lnTo>
                <a:lnTo>
                  <a:pt x="10706037" y="6236"/>
                </a:lnTo>
                <a:cubicBezTo>
                  <a:pt x="10734523" y="18285"/>
                  <a:pt x="10754511" y="46492"/>
                  <a:pt x="10754511" y="79367"/>
                </a:cubicBezTo>
                <a:lnTo>
                  <a:pt x="10754511" y="5970044"/>
                </a:lnTo>
                <a:cubicBezTo>
                  <a:pt x="10754511" y="6013878"/>
                  <a:pt x="10718977" y="6049412"/>
                  <a:pt x="10675143" y="6049412"/>
                </a:cubicBezTo>
                <a:lnTo>
                  <a:pt x="79367" y="6049412"/>
                </a:lnTo>
                <a:cubicBezTo>
                  <a:pt x="46492" y="6049412"/>
                  <a:pt x="18285" y="6029424"/>
                  <a:pt x="6236" y="6000938"/>
                </a:cubicBezTo>
                <a:lnTo>
                  <a:pt x="0" y="5970049"/>
                </a:lnTo>
                <a:lnTo>
                  <a:pt x="0" y="79362"/>
                </a:lnTo>
                <a:lnTo>
                  <a:pt x="6236" y="48473"/>
                </a:lnTo>
                <a:cubicBezTo>
                  <a:pt x="14269" y="29482"/>
                  <a:pt x="29483" y="14269"/>
                  <a:pt x="48474" y="6236"/>
                </a:cubicBezTo>
                <a:close/>
              </a:path>
            </a:pathLst>
          </a:custGeom>
          <a:solidFill>
            <a:srgbClr val="F0F0F0"/>
          </a:solidFill>
        </p:spPr>
      </p:pic>
      <p:sp>
        <p:nvSpPr>
          <p:cNvPr id="8" name="Rectangle: Rounded Corners 7">
            <a:extLst>
              <a:ext uri="{FF2B5EF4-FFF2-40B4-BE49-F238E27FC236}">
                <a16:creationId xmlns:a16="http://schemas.microsoft.com/office/drawing/2014/main" id="{E5D7167A-D752-17C1-2204-4EB8BE1B762F}"/>
              </a:ext>
              <a:ext uri="{C183D7F6-B498-43B3-948B-1728B52AA6E4}">
                <adec:decorative xmlns:adec="http://schemas.microsoft.com/office/drawing/2017/decorative" val="1"/>
              </a:ext>
            </a:extLst>
          </p:cNvPr>
          <p:cNvSpPr>
            <a:spLocks/>
          </p:cNvSpPr>
          <p:nvPr/>
        </p:nvSpPr>
        <p:spPr bwMode="auto">
          <a:xfrm>
            <a:off x="582612" y="267935"/>
            <a:ext cx="11026776" cy="6318956"/>
          </a:xfrm>
          <a:prstGeom prst="roundRect">
            <a:avLst>
              <a:gd name="adj" fmla="val 2582"/>
            </a:avLst>
          </a:prstGeom>
          <a:noFill/>
          <a:ln w="12700" cap="rnd">
            <a:gradFill flip="none" rotWithShape="1">
              <a:gsLst>
                <a:gs pos="0">
                  <a:srgbClr val="F65567"/>
                </a:gs>
                <a:gs pos="32000">
                  <a:srgbClr val="AC35AF"/>
                </a:gs>
                <a:gs pos="6800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52000" tIns="146304" rIns="25200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mn-cs"/>
            </a:endParaRPr>
          </a:p>
        </p:txBody>
      </p:sp>
      <p:sp>
        <p:nvSpPr>
          <p:cNvPr id="9" name="Title 8">
            <a:extLst>
              <a:ext uri="{FF2B5EF4-FFF2-40B4-BE49-F238E27FC236}">
                <a16:creationId xmlns:a16="http://schemas.microsoft.com/office/drawing/2014/main" id="{03BE530D-1AF5-0F83-0166-D34B60854742}"/>
              </a:ext>
              <a:ext uri="{C183D7F6-B498-43B3-948B-1728B52AA6E4}">
                <adec:decorative xmlns:adec="http://schemas.microsoft.com/office/drawing/2017/decorative" val="1"/>
              </a:ext>
            </a:extLst>
          </p:cNvPr>
          <p:cNvSpPr>
            <a:spLocks/>
          </p:cNvSpPr>
          <p:nvPr/>
        </p:nvSpPr>
        <p:spPr bwMode="auto">
          <a:xfrm>
            <a:off x="718746" y="6028793"/>
            <a:ext cx="10754511" cy="423327"/>
          </a:xfrm>
          <a:prstGeom prst="round2SameRect">
            <a:avLst>
              <a:gd name="adj1" fmla="val 0"/>
              <a:gd name="adj2" fmla="val 18201"/>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r>
              <a:rPr kumimoji="0" lang="en-US" sz="2000" b="1" i="0" u="none" strike="noStrike" kern="1200" cap="none" spc="0" normalizeH="0" baseline="0" noProof="0">
                <a:ln>
                  <a:noFill/>
                </a:ln>
                <a:solidFill>
                  <a:srgbClr val="FFFFFF"/>
                </a:solidFill>
                <a:effectLst/>
                <a:uLnTx/>
                <a:uFillTx/>
                <a:latin typeface="Segoe UI Semibold"/>
                <a:ea typeface="+mn-ea"/>
                <a:cs typeface="+mn-cs"/>
              </a:rPr>
              <a:t>Data Lifecycle Management</a:t>
            </a:r>
          </a:p>
        </p:txBody>
      </p:sp>
      <p:sp>
        <p:nvSpPr>
          <p:cNvPr id="2" name="Rectangle: Rounded Corners 28">
            <a:extLst>
              <a:ext uri="{FF2B5EF4-FFF2-40B4-BE49-F238E27FC236}">
                <a16:creationId xmlns:a16="http://schemas.microsoft.com/office/drawing/2014/main" id="{80C6A9BF-D662-43FF-8F88-33CAB13A2DC4}"/>
              </a:ext>
              <a:ext uri="{C183D7F6-B498-43B3-948B-1728B52AA6E4}">
                <adec:decorative xmlns:adec="http://schemas.microsoft.com/office/drawing/2017/decorative" val="1"/>
              </a:ext>
            </a:extLst>
          </p:cNvPr>
          <p:cNvSpPr>
            <a:spLocks/>
          </p:cNvSpPr>
          <p:nvPr/>
        </p:nvSpPr>
        <p:spPr bwMode="auto">
          <a:xfrm>
            <a:off x="7483036" y="2654103"/>
            <a:ext cx="2386177" cy="342900"/>
          </a:xfrm>
          <a:prstGeom prst="roundRect">
            <a:avLst/>
          </a:prstGeom>
          <a:noFill/>
          <a:ln w="19050" cap="rnd">
            <a:gradFill>
              <a:gsLst>
                <a:gs pos="0">
                  <a:srgbClr val="FF5C39"/>
                </a:gs>
                <a:gs pos="32000">
                  <a:srgbClr val="C03BC4"/>
                </a:gs>
                <a:gs pos="68000">
                  <a:srgbClr val="0078D4"/>
                </a:gs>
                <a:gs pos="100000">
                  <a:srgbClr val="399A91"/>
                </a:gs>
              </a:gsLst>
              <a:lin ang="5400000" scaled="1"/>
            </a:gra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endParaRPr kumimoji="0" lang="en-GB" sz="800" b="1" i="0" u="none" strike="noStrike" kern="1200" cap="none" spc="0" normalizeH="0" baseline="0" noProof="0" err="1">
              <a:ln>
                <a:noFill/>
              </a:ln>
              <a:gradFill>
                <a:gsLst>
                  <a:gs pos="70629">
                    <a:srgbClr val="FFFFFF"/>
                  </a:gs>
                  <a:gs pos="48951">
                    <a:srgbClr val="FFFFFF"/>
                  </a:gs>
                </a:gsLst>
                <a:path path="circle">
                  <a:fillToRect l="100000" t="100000"/>
                </a:path>
              </a:gradFill>
              <a:effectLst/>
              <a:uLnTx/>
              <a:uFillTx/>
              <a:latin typeface="Segoe UI Semibold"/>
              <a:ea typeface="+mn-ea"/>
              <a:cs typeface="+mn-cs"/>
            </a:endParaRPr>
          </a:p>
        </p:txBody>
      </p:sp>
      <p:grpSp>
        <p:nvGrpSpPr>
          <p:cNvPr id="4" name="Group 3">
            <a:extLst>
              <a:ext uri="{FF2B5EF4-FFF2-40B4-BE49-F238E27FC236}">
                <a16:creationId xmlns:a16="http://schemas.microsoft.com/office/drawing/2014/main" id="{23D18418-D0A5-4C9E-EBB2-825AC409DB0D}"/>
              </a:ext>
              <a:ext uri="{C183D7F6-B498-43B3-948B-1728B52AA6E4}">
                <adec:decorative xmlns:adec="http://schemas.microsoft.com/office/drawing/2017/decorative" val="1"/>
              </a:ext>
            </a:extLst>
          </p:cNvPr>
          <p:cNvGrpSpPr/>
          <p:nvPr/>
        </p:nvGrpSpPr>
        <p:grpSpPr>
          <a:xfrm>
            <a:off x="7407000" y="3098887"/>
            <a:ext cx="3368731" cy="1300655"/>
            <a:chOff x="8676124" y="-1300656"/>
            <a:chExt cx="3368731" cy="1300655"/>
          </a:xfrm>
        </p:grpSpPr>
        <p:sp>
          <p:nvSpPr>
            <p:cNvPr id="3" name="Rectangle: Rounded Corners 2">
              <a:extLst>
                <a:ext uri="{FF2B5EF4-FFF2-40B4-BE49-F238E27FC236}">
                  <a16:creationId xmlns:a16="http://schemas.microsoft.com/office/drawing/2014/main" id="{CA6AC792-E98C-C8A2-8A34-42FD8F387956}"/>
                </a:ext>
                <a:ext uri="{C183D7F6-B498-43B3-948B-1728B52AA6E4}">
                  <adec:decorative xmlns:adec="http://schemas.microsoft.com/office/drawing/2017/decorative" val="1"/>
                </a:ext>
              </a:extLst>
            </p:cNvPr>
            <p:cNvSpPr>
              <a:spLocks/>
            </p:cNvSpPr>
            <p:nvPr/>
          </p:nvSpPr>
          <p:spPr bwMode="auto">
            <a:xfrm>
              <a:off x="8676124" y="-1300656"/>
              <a:ext cx="3368731" cy="1300655"/>
            </a:xfrm>
            <a:prstGeom prst="roundRect">
              <a:avLst>
                <a:gd name="adj" fmla="val 2582"/>
              </a:avLst>
            </a:prstGeom>
            <a:solidFill>
              <a:srgbClr val="FFFFFF"/>
            </a:solidFill>
            <a:ln w="34925" cap="rnd">
              <a:gradFill flip="none" rotWithShape="1">
                <a:gsLst>
                  <a:gs pos="0">
                    <a:srgbClr val="F65567"/>
                  </a:gs>
                  <a:gs pos="32000">
                    <a:srgbClr val="AC35AF"/>
                  </a:gs>
                  <a:gs pos="6800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52000" tIns="146304" rIns="25200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mn-cs"/>
              </a:endParaRPr>
            </a:p>
          </p:txBody>
        </p:sp>
        <p:pic>
          <p:nvPicPr>
            <p:cNvPr id="1026" name="Picture 2">
              <a:extLst>
                <a:ext uri="{FF2B5EF4-FFF2-40B4-BE49-F238E27FC236}">
                  <a16:creationId xmlns:a16="http://schemas.microsoft.com/office/drawing/2014/main" id="{080EA679-972B-42B3-56E6-BADB625FBAB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7456" t="75756" r="60172" b="11922"/>
            <a:stretch/>
          </p:blipFill>
          <p:spPr bwMode="auto">
            <a:xfrm>
              <a:off x="8999993" y="-1072057"/>
              <a:ext cx="2727434" cy="84345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164843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84BB3-BD8C-5298-B3C1-FFDD90C59469}"/>
              </a:ext>
            </a:extLst>
          </p:cNvPr>
          <p:cNvSpPr>
            <a:spLocks noGrp="1"/>
          </p:cNvSpPr>
          <p:nvPr>
            <p:ph type="title" idx="4294967295"/>
          </p:nvPr>
        </p:nvSpPr>
        <p:spPr>
          <a:xfrm>
            <a:off x="454737" y="-914400"/>
            <a:ext cx="11018520" cy="553998"/>
          </a:xfrm>
        </p:spPr>
        <p:txBody>
          <a:bodyPr>
            <a:normAutofit fontScale="90000"/>
          </a:bodyPr>
          <a:lstStyle/>
          <a:p>
            <a:r>
              <a:rPr lang="en-US"/>
              <a:t>Demo</a:t>
            </a:r>
          </a:p>
        </p:txBody>
      </p:sp>
      <p:pic>
        <p:nvPicPr>
          <p:cNvPr id="5" name="Picture 4" descr="Microsoft Purview dashboard ">
            <a:extLst>
              <a:ext uri="{FF2B5EF4-FFF2-40B4-BE49-F238E27FC236}">
                <a16:creationId xmlns:a16="http://schemas.microsoft.com/office/drawing/2014/main" id="{321515B3-0E61-6174-FF39-2EE89B63AE2F}"/>
              </a:ext>
            </a:extLst>
          </p:cNvPr>
          <p:cNvPicPr>
            <a:picLocks/>
          </p:cNvPicPr>
          <p:nvPr/>
        </p:nvPicPr>
        <p:blipFill>
          <a:blip r:embed="rId3"/>
          <a:stretch>
            <a:fillRect/>
          </a:stretch>
        </p:blipFill>
        <p:spPr>
          <a:xfrm>
            <a:off x="718746" y="402708"/>
            <a:ext cx="10754511" cy="6049412"/>
          </a:xfrm>
          <a:custGeom>
            <a:avLst/>
            <a:gdLst>
              <a:gd name="connsiteX0" fmla="*/ 79362 w 10754511"/>
              <a:gd name="connsiteY0" fmla="*/ 0 h 6049412"/>
              <a:gd name="connsiteX1" fmla="*/ 10675148 w 10754511"/>
              <a:gd name="connsiteY1" fmla="*/ 0 h 6049412"/>
              <a:gd name="connsiteX2" fmla="*/ 10706037 w 10754511"/>
              <a:gd name="connsiteY2" fmla="*/ 6236 h 6049412"/>
              <a:gd name="connsiteX3" fmla="*/ 10754511 w 10754511"/>
              <a:gd name="connsiteY3" fmla="*/ 79367 h 6049412"/>
              <a:gd name="connsiteX4" fmla="*/ 10754511 w 10754511"/>
              <a:gd name="connsiteY4" fmla="*/ 5970044 h 6049412"/>
              <a:gd name="connsiteX5" fmla="*/ 10675143 w 10754511"/>
              <a:gd name="connsiteY5" fmla="*/ 6049412 h 6049412"/>
              <a:gd name="connsiteX6" fmla="*/ 79367 w 10754511"/>
              <a:gd name="connsiteY6" fmla="*/ 6049412 h 6049412"/>
              <a:gd name="connsiteX7" fmla="*/ 6236 w 10754511"/>
              <a:gd name="connsiteY7" fmla="*/ 6000938 h 6049412"/>
              <a:gd name="connsiteX8" fmla="*/ 0 w 10754511"/>
              <a:gd name="connsiteY8" fmla="*/ 5970049 h 6049412"/>
              <a:gd name="connsiteX9" fmla="*/ 0 w 10754511"/>
              <a:gd name="connsiteY9" fmla="*/ 79362 h 6049412"/>
              <a:gd name="connsiteX10" fmla="*/ 6236 w 10754511"/>
              <a:gd name="connsiteY10" fmla="*/ 48473 h 6049412"/>
              <a:gd name="connsiteX11" fmla="*/ 48474 w 10754511"/>
              <a:gd name="connsiteY11" fmla="*/ 6236 h 604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54511" h="6049412">
                <a:moveTo>
                  <a:pt x="79362" y="0"/>
                </a:moveTo>
                <a:lnTo>
                  <a:pt x="10675148" y="0"/>
                </a:lnTo>
                <a:lnTo>
                  <a:pt x="10706037" y="6236"/>
                </a:lnTo>
                <a:cubicBezTo>
                  <a:pt x="10734523" y="18285"/>
                  <a:pt x="10754511" y="46492"/>
                  <a:pt x="10754511" y="79367"/>
                </a:cubicBezTo>
                <a:lnTo>
                  <a:pt x="10754511" y="5970044"/>
                </a:lnTo>
                <a:cubicBezTo>
                  <a:pt x="10754511" y="6013878"/>
                  <a:pt x="10718977" y="6049412"/>
                  <a:pt x="10675143" y="6049412"/>
                </a:cubicBezTo>
                <a:lnTo>
                  <a:pt x="79367" y="6049412"/>
                </a:lnTo>
                <a:cubicBezTo>
                  <a:pt x="46492" y="6049412"/>
                  <a:pt x="18285" y="6029424"/>
                  <a:pt x="6236" y="6000938"/>
                </a:cubicBezTo>
                <a:lnTo>
                  <a:pt x="0" y="5970049"/>
                </a:lnTo>
                <a:lnTo>
                  <a:pt x="0" y="79362"/>
                </a:lnTo>
                <a:lnTo>
                  <a:pt x="6236" y="48473"/>
                </a:lnTo>
                <a:cubicBezTo>
                  <a:pt x="14269" y="29482"/>
                  <a:pt x="29483" y="14269"/>
                  <a:pt x="48474" y="6236"/>
                </a:cubicBezTo>
                <a:close/>
              </a:path>
            </a:pathLst>
          </a:custGeom>
          <a:solidFill>
            <a:srgbClr val="F0F0F0"/>
          </a:solidFill>
        </p:spPr>
      </p:pic>
      <p:sp>
        <p:nvSpPr>
          <p:cNvPr id="8" name="Rectangle: Rounded Corners 7">
            <a:extLst>
              <a:ext uri="{FF2B5EF4-FFF2-40B4-BE49-F238E27FC236}">
                <a16:creationId xmlns:a16="http://schemas.microsoft.com/office/drawing/2014/main" id="{5498645D-B080-8ED4-04F4-E2909F6DD6A2}"/>
              </a:ext>
              <a:ext uri="{C183D7F6-B498-43B3-948B-1728B52AA6E4}">
                <adec:decorative xmlns:adec="http://schemas.microsoft.com/office/drawing/2017/decorative" val="1"/>
              </a:ext>
            </a:extLst>
          </p:cNvPr>
          <p:cNvSpPr>
            <a:spLocks/>
          </p:cNvSpPr>
          <p:nvPr/>
        </p:nvSpPr>
        <p:spPr bwMode="auto">
          <a:xfrm>
            <a:off x="582612" y="267935"/>
            <a:ext cx="11026776" cy="6318956"/>
          </a:xfrm>
          <a:prstGeom prst="roundRect">
            <a:avLst>
              <a:gd name="adj" fmla="val 2582"/>
            </a:avLst>
          </a:prstGeom>
          <a:noFill/>
          <a:ln w="12700" cap="rnd">
            <a:gradFill flip="none" rotWithShape="1">
              <a:gsLst>
                <a:gs pos="0">
                  <a:srgbClr val="F65567"/>
                </a:gs>
                <a:gs pos="32000">
                  <a:srgbClr val="AC35AF"/>
                </a:gs>
                <a:gs pos="6800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52000" tIns="146304" rIns="25200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mn-cs"/>
            </a:endParaRPr>
          </a:p>
        </p:txBody>
      </p:sp>
      <p:sp>
        <p:nvSpPr>
          <p:cNvPr id="9" name="Title 8">
            <a:extLst>
              <a:ext uri="{FF2B5EF4-FFF2-40B4-BE49-F238E27FC236}">
                <a16:creationId xmlns:a16="http://schemas.microsoft.com/office/drawing/2014/main" id="{D584B98C-5FF1-4413-F650-FFC5393BA9AC}"/>
              </a:ext>
              <a:ext uri="{C183D7F6-B498-43B3-948B-1728B52AA6E4}">
                <adec:decorative xmlns:adec="http://schemas.microsoft.com/office/drawing/2017/decorative" val="1"/>
              </a:ext>
            </a:extLst>
          </p:cNvPr>
          <p:cNvSpPr>
            <a:spLocks/>
          </p:cNvSpPr>
          <p:nvPr/>
        </p:nvSpPr>
        <p:spPr bwMode="auto">
          <a:xfrm>
            <a:off x="718746" y="6028793"/>
            <a:ext cx="10754511" cy="423327"/>
          </a:xfrm>
          <a:prstGeom prst="round2SameRect">
            <a:avLst>
              <a:gd name="adj1" fmla="val 0"/>
              <a:gd name="adj2" fmla="val 18201"/>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r>
              <a:rPr kumimoji="0" lang="en-US" sz="2000" b="1" i="0" u="none" strike="noStrike" kern="1200" cap="none" spc="0" normalizeH="0" baseline="0" noProof="0">
                <a:ln>
                  <a:noFill/>
                </a:ln>
                <a:solidFill>
                  <a:srgbClr val="FFFFFF"/>
                </a:solidFill>
                <a:effectLst/>
                <a:uLnTx/>
                <a:uFillTx/>
                <a:latin typeface="Segoe UI Semibold"/>
                <a:ea typeface="+mn-ea"/>
                <a:cs typeface="+mn-cs"/>
              </a:rPr>
              <a:t>Communication Compliance</a:t>
            </a:r>
          </a:p>
        </p:txBody>
      </p:sp>
    </p:spTree>
    <p:extLst>
      <p:ext uri="{BB962C8B-B14F-4D97-AF65-F5344CB8AC3E}">
        <p14:creationId xmlns:p14="http://schemas.microsoft.com/office/powerpoint/2010/main" val="164275226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06BB85-F3F4-F810-F874-959E79C09E60}"/>
            </a:ext>
          </a:extLst>
        </p:cNvPr>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A1EA0C8B-7C74-FCC0-8359-1EA90F012830}"/>
              </a:ext>
              <a:ext uri="{C183D7F6-B498-43B3-948B-1728B52AA6E4}">
                <adec:decorative xmlns:adec="http://schemas.microsoft.com/office/drawing/2017/decorative" val="1"/>
              </a:ext>
            </a:extLst>
          </p:cNvPr>
          <p:cNvSpPr>
            <a:spLocks/>
          </p:cNvSpPr>
          <p:nvPr/>
        </p:nvSpPr>
        <p:spPr bwMode="auto">
          <a:xfrm>
            <a:off x="582612" y="267935"/>
            <a:ext cx="11026776" cy="6318956"/>
          </a:xfrm>
          <a:prstGeom prst="roundRect">
            <a:avLst>
              <a:gd name="adj" fmla="val 2582"/>
            </a:avLst>
          </a:prstGeom>
          <a:noFill/>
          <a:ln w="12700" cap="rnd">
            <a:gradFill flip="none" rotWithShape="1">
              <a:gsLst>
                <a:gs pos="0">
                  <a:srgbClr val="F65567"/>
                </a:gs>
                <a:gs pos="32000">
                  <a:srgbClr val="AC35AF"/>
                </a:gs>
                <a:gs pos="6800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52000" tIns="146304" rIns="25200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mn-cs"/>
            </a:endParaRPr>
          </a:p>
        </p:txBody>
      </p:sp>
      <p:sp>
        <p:nvSpPr>
          <p:cNvPr id="4" name="Rectangle: Top Corners Rounded 3">
            <a:extLst>
              <a:ext uri="{FF2B5EF4-FFF2-40B4-BE49-F238E27FC236}">
                <a16:creationId xmlns:a16="http://schemas.microsoft.com/office/drawing/2014/main" id="{2FC78162-3A8E-C6B3-4089-3D20AB99E76D}"/>
              </a:ext>
              <a:ext uri="{C183D7F6-B498-43B3-948B-1728B52AA6E4}">
                <adec:decorative xmlns:adec="http://schemas.microsoft.com/office/drawing/2017/decorative" val="1"/>
              </a:ext>
            </a:extLst>
          </p:cNvPr>
          <p:cNvSpPr/>
          <p:nvPr/>
        </p:nvSpPr>
        <p:spPr bwMode="auto">
          <a:xfrm>
            <a:off x="718746" y="6028793"/>
            <a:ext cx="10754511" cy="423327"/>
          </a:xfrm>
          <a:prstGeom prst="round2SameRect">
            <a:avLst>
              <a:gd name="adj1" fmla="val 0"/>
              <a:gd name="adj2" fmla="val 18201"/>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r>
              <a:rPr kumimoji="0" lang="en-US" sz="2000" b="1" i="0" u="none" strike="noStrike" kern="1200" cap="none" spc="0" normalizeH="0" baseline="0" noProof="0">
                <a:ln>
                  <a:noFill/>
                </a:ln>
                <a:solidFill>
                  <a:srgbClr val="FFFFFF"/>
                </a:solidFill>
                <a:effectLst/>
                <a:uLnTx/>
                <a:uFillTx/>
                <a:latin typeface="Segoe UI Semibold"/>
                <a:ea typeface="+mn-ea"/>
                <a:cs typeface="+mn-cs"/>
              </a:rPr>
              <a:t>Information Protection	 </a:t>
            </a:r>
          </a:p>
        </p:txBody>
      </p:sp>
      <p:sp>
        <p:nvSpPr>
          <p:cNvPr id="3" name="Title 2">
            <a:extLst>
              <a:ext uri="{FF2B5EF4-FFF2-40B4-BE49-F238E27FC236}">
                <a16:creationId xmlns:a16="http://schemas.microsoft.com/office/drawing/2014/main" id="{763EEE28-37B5-5743-BC0C-613580DC71A9}"/>
              </a:ext>
            </a:extLst>
          </p:cNvPr>
          <p:cNvSpPr>
            <a:spLocks noGrp="1"/>
          </p:cNvSpPr>
          <p:nvPr>
            <p:ph type="title" idx="4294967295"/>
          </p:nvPr>
        </p:nvSpPr>
        <p:spPr>
          <a:xfrm>
            <a:off x="718746" y="-911066"/>
            <a:ext cx="11018520" cy="553998"/>
          </a:xfrm>
        </p:spPr>
        <p:txBody>
          <a:bodyPr>
            <a:normAutofit fontScale="90000"/>
          </a:bodyPr>
          <a:lstStyle/>
          <a:p>
            <a:r>
              <a:rPr lang="en-US"/>
              <a:t>Demo</a:t>
            </a:r>
          </a:p>
        </p:txBody>
      </p:sp>
      <p:pic>
        <p:nvPicPr>
          <p:cNvPr id="2" name="Purview data security demo final" descr="Contoso Electronics demo of Copilot chat about Project Obsidian.">
            <a:hlinkClick r:id="" action="ppaction://media"/>
            <a:extLst>
              <a:ext uri="{FF2B5EF4-FFF2-40B4-BE49-F238E27FC236}">
                <a16:creationId xmlns:a16="http://schemas.microsoft.com/office/drawing/2014/main" id="{3079E5B0-890A-4235-58AD-8CF1855680F4}"/>
              </a:ext>
            </a:extLst>
          </p:cNvPr>
          <p:cNvPicPr>
            <a:picLocks/>
          </p:cNvPicPr>
          <p:nvPr>
            <a:videoFile r:link="rId1"/>
            <p:extLst>
              <p:ext uri="{DAA4B4D4-6D71-4841-9C94-3DE7FCFB9230}">
                <p14:media xmlns:p14="http://schemas.microsoft.com/office/powerpoint/2010/main" r:embed="rId2">
                  <p14:trim st="23793" end="13034"/>
                  <p14:extLst>
                    <p:ext uri="{3AFAAA56-56D3-431D-BCD4-E75A35582382}">
                      <p173:tracksInfo xmlns:p173="http://schemas.microsoft.com/office/powerpoint/2017/3/main" displayLoc="media">
                        <p173:trackLst>
                          <p173:track id="{AAB18A56-E710-456A-A681-3211159DE23C}" label="Dummy video CC 12 2" lang="" r:embed="rId5"/>
                        </p173:trackLst>
                      </p173:tracksInfo>
                    </p:ext>
                  </p14:extLst>
                </p14:media>
              </p:ext>
            </p:extLst>
          </p:nvPr>
        </p:nvPicPr>
        <p:blipFill rotWithShape="1">
          <a:blip r:embed="rId6"/>
          <a:srcRect/>
          <a:stretch>
            <a:fillRect/>
          </a:stretch>
        </p:blipFill>
        <p:spPr>
          <a:xfrm>
            <a:off x="638875" y="335619"/>
            <a:ext cx="10904511" cy="5626269"/>
          </a:xfrm>
          <a:prstGeom prst="roundRect">
            <a:avLst>
              <a:gd name="adj" fmla="val 1446"/>
            </a:avLst>
          </a:prstGeom>
        </p:spPr>
      </p:pic>
    </p:spTree>
    <p:extLst>
      <p:ext uri="{BB962C8B-B14F-4D97-AF65-F5344CB8AC3E}">
        <p14:creationId xmlns:p14="http://schemas.microsoft.com/office/powerpoint/2010/main" val="14075560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244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
                                        </p:tgtEl>
                                      </p:cBhvr>
                                    </p:cmd>
                                  </p:childTnLst>
                                </p:cTn>
                              </p:par>
                            </p:childTnLst>
                          </p:cTn>
                        </p:par>
                      </p:childTnLst>
                    </p:cTn>
                  </p:par>
                </p:childTnLst>
              </p:cTn>
              <p:nextCondLst>
                <p:cond evt="onClick" delay="0">
                  <p:tgtEl>
                    <p:spTgt spid="2"/>
                  </p:tgtEl>
                </p:cond>
              </p:nextCondLst>
            </p:seq>
            <p:video>
              <p:cMediaNode vol="80000">
                <p:cTn id="12" fill="hold" display="0">
                  <p:stCondLst>
                    <p:cond delay="indefinite"/>
                  </p:stCondLst>
                </p:cTn>
                <p:tgtEl>
                  <p:spTgt spid="2"/>
                </p:tgtEl>
              </p:cMediaNode>
            </p:vide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31C942-E345-75C7-392F-C7A9EEB922B9}"/>
            </a:ext>
          </a:extLst>
        </p:cNvPr>
        <p:cNvGrpSpPr/>
        <p:nvPr/>
      </p:nvGrpSpPr>
      <p:grpSpPr>
        <a:xfrm>
          <a:off x="0" y="0"/>
          <a:ext cx="0" cy="0"/>
          <a:chOff x="0" y="0"/>
          <a:chExt cx="0" cy="0"/>
        </a:xfrm>
      </p:grpSpPr>
      <p:sp>
        <p:nvSpPr>
          <p:cNvPr id="2" name="Rectangle: Rounded Corners 28">
            <a:extLst>
              <a:ext uri="{FF2B5EF4-FFF2-40B4-BE49-F238E27FC236}">
                <a16:creationId xmlns:a16="http://schemas.microsoft.com/office/drawing/2014/main" id="{F339ECE8-4189-C872-E0B0-AE1BAA52CC31}"/>
              </a:ext>
              <a:ext uri="{C183D7F6-B498-43B3-948B-1728B52AA6E4}">
                <adec:decorative xmlns:adec="http://schemas.microsoft.com/office/drawing/2017/decorative" val="1"/>
              </a:ext>
            </a:extLst>
          </p:cNvPr>
          <p:cNvSpPr>
            <a:spLocks/>
          </p:cNvSpPr>
          <p:nvPr/>
        </p:nvSpPr>
        <p:spPr bwMode="auto">
          <a:xfrm>
            <a:off x="339091" y="2036751"/>
            <a:ext cx="11513819" cy="204263"/>
          </a:xfrm>
          <a:prstGeom prst="roundRect">
            <a:avLst>
              <a:gd name="adj" fmla="val 50000"/>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endParaRPr kumimoji="0" lang="en-GB" sz="800" b="1" i="0" u="none" strike="noStrike" kern="1200" cap="none" spc="0" normalizeH="0" baseline="0" noProof="0" err="1">
              <a:ln>
                <a:noFill/>
              </a:ln>
              <a:gradFill>
                <a:gsLst>
                  <a:gs pos="70629">
                    <a:srgbClr val="FFFFFF"/>
                  </a:gs>
                  <a:gs pos="48951">
                    <a:srgbClr val="FFFFFF"/>
                  </a:gs>
                </a:gsLst>
                <a:path path="circle">
                  <a:fillToRect l="100000" t="100000"/>
                </a:path>
              </a:gradFill>
              <a:effectLst/>
              <a:uLnTx/>
              <a:uFillTx/>
              <a:latin typeface="Segoe UI Semibold"/>
              <a:ea typeface="+mn-ea"/>
              <a:cs typeface="+mn-cs"/>
            </a:endParaRPr>
          </a:p>
        </p:txBody>
      </p:sp>
      <p:sp>
        <p:nvSpPr>
          <p:cNvPr id="29" name="Title 1">
            <a:extLst>
              <a:ext uri="{FF2B5EF4-FFF2-40B4-BE49-F238E27FC236}">
                <a16:creationId xmlns:a16="http://schemas.microsoft.com/office/drawing/2014/main" id="{5DEED903-3310-AE68-EABD-71D40275E92A}"/>
              </a:ext>
            </a:extLst>
          </p:cNvPr>
          <p:cNvSpPr>
            <a:spLocks noGrp="1"/>
          </p:cNvSpPr>
          <p:nvPr>
            <p:ph type="title"/>
          </p:nvPr>
        </p:nvSpPr>
        <p:spPr>
          <a:xfrm>
            <a:off x="588963" y="457200"/>
            <a:ext cx="10767076" cy="1107996"/>
          </a:xfrm>
        </p:spPr>
        <p:txBody>
          <a:bodyPr>
            <a:normAutofit fontScale="90000"/>
          </a:bodyPr>
          <a:lstStyle/>
          <a:p>
            <a:pPr algn="ctr"/>
            <a:r>
              <a:rPr lang="en-US"/>
              <a:t>Microsoft Purview: </a:t>
            </a:r>
            <a:r>
              <a:rPr lang="en-US">
                <a:latin typeface="Segoe UI Semibold"/>
                <a:cs typeface="Segoe UI" pitchFamily="34" charset="0"/>
              </a:rPr>
              <a:t>Unlock visibility into AI usage and data security posture</a:t>
            </a:r>
            <a:endParaRPr lang="en-US"/>
          </a:p>
        </p:txBody>
      </p:sp>
      <p:sp>
        <p:nvSpPr>
          <p:cNvPr id="30" name="Rectangle 29" descr="&quot;Microsoft Purview’s solutions&quot; highlighted in blue color font from the title">
            <a:extLst>
              <a:ext uri="{FF2B5EF4-FFF2-40B4-BE49-F238E27FC236}">
                <a16:creationId xmlns:a16="http://schemas.microsoft.com/office/drawing/2014/main" id="{E0725056-F074-6FE2-B3F5-B948D9570DEB}"/>
              </a:ext>
            </a:extLst>
          </p:cNvPr>
          <p:cNvSpPr/>
          <p:nvPr/>
        </p:nvSpPr>
        <p:spPr bwMode="auto">
          <a:xfrm>
            <a:off x="9222377" y="1240971"/>
            <a:ext cx="52252" cy="1343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09D74DB9-A625-F90D-10E3-72E642BC60AA}"/>
              </a:ext>
              <a:ext uri="{C183D7F6-B498-43B3-948B-1728B52AA6E4}">
                <adec:decorative xmlns:adec="http://schemas.microsoft.com/office/drawing/2017/decorative" val="0"/>
              </a:ext>
            </a:extLst>
          </p:cNvPr>
          <p:cNvSpPr txBox="1">
            <a:spLocks/>
          </p:cNvSpPr>
          <p:nvPr/>
        </p:nvSpPr>
        <p:spPr>
          <a:xfrm>
            <a:off x="5362575" y="2641569"/>
            <a:ext cx="1752600" cy="579123"/>
          </a:xfrm>
          <a:prstGeom prst="roundRect">
            <a:avLst/>
          </a:prstGeom>
          <a:gradFill flip="none" rotWithShape="1">
            <a:gsLst>
              <a:gs pos="0">
                <a:srgbClr val="C03BC4"/>
              </a:gs>
              <a:gs pos="80000">
                <a:srgbClr val="0078D4"/>
              </a:gs>
            </a:gsLst>
            <a:path path="circle">
              <a:fillToRect l="100000" t="100000"/>
            </a:path>
            <a:tileRect r="-100000" b="-100000"/>
          </a:gradFill>
          <a:effectLst>
            <a:outerShdw blurRad="63500" dist="63500" dir="2700000" algn="tl" rotWithShape="0">
              <a:srgbClr val="000000">
                <a:alpha val="20000"/>
              </a:srgbClr>
            </a:outerShdw>
          </a:effectLst>
        </p:spPr>
        <p:txBody>
          <a:bodyPr wrap="square" lIns="91440" tIns="45720" rIns="91440" bIns="45720" rtlCol="0" anchor="ctr" anchorCtr="0">
            <a:noAutofit/>
          </a:bodyPr>
          <a:lstStyle>
            <a:defPPr>
              <a:defRPr lang="en-US"/>
            </a:defPPr>
            <a:lvl1pPr algn="ctr" defTabSz="1219170">
              <a:buClr>
                <a:srgbClr val="BFE8F6"/>
              </a:buClr>
              <a:buSzPts val="1000"/>
              <a:defRPr sz="1800" b="1" kern="0">
                <a:latin typeface="+mj-lt"/>
              </a:defRPr>
            </a:lvl1pPr>
          </a:lstStyle>
          <a:p>
            <a:pPr marL="0" marR="0" lvl="0" indent="0" algn="ctr" defTabSz="914400" rtl="0" eaLnBrk="1" fontAlgn="auto" latinLnBrk="0" hangingPunct="1">
              <a:lnSpc>
                <a:spcPct val="100000"/>
              </a:lnSpc>
              <a:spcBef>
                <a:spcPts val="0"/>
              </a:spcBef>
              <a:spcAft>
                <a:spcPts val="0"/>
              </a:spcAft>
              <a:buClr>
                <a:srgbClr val="BFE8F6"/>
              </a:buClr>
              <a:buSzPts val="1000"/>
              <a:buFontTx/>
              <a:buNone/>
              <a:tabLst/>
              <a:defRPr/>
            </a:pPr>
            <a:r>
              <a:rPr kumimoji="0" lang="en-US" sz="2000" b="1" i="0" u="none" strike="noStrike" kern="1200" cap="none" spc="0" normalizeH="0" baseline="0" noProof="0">
                <a:ln>
                  <a:noFill/>
                </a:ln>
                <a:solidFill>
                  <a:srgbClr val="FFFFFF"/>
                </a:solidFill>
                <a:effectLst/>
                <a:uLnTx/>
                <a:uFillTx/>
                <a:latin typeface="Segoe UI Semibold"/>
                <a:ea typeface="+mn-ea"/>
                <a:cs typeface="+mn-cs"/>
                <a:sym typeface="Helvetica Neue"/>
              </a:rPr>
              <a:t>May 2024</a:t>
            </a:r>
          </a:p>
        </p:txBody>
      </p:sp>
      <p:grpSp>
        <p:nvGrpSpPr>
          <p:cNvPr id="20" name="Group 19">
            <a:extLst>
              <a:ext uri="{FF2B5EF4-FFF2-40B4-BE49-F238E27FC236}">
                <a16:creationId xmlns:a16="http://schemas.microsoft.com/office/drawing/2014/main" id="{8F1F5F92-72E7-4BE5-C8D6-421BA7347115}"/>
              </a:ext>
            </a:extLst>
          </p:cNvPr>
          <p:cNvGrpSpPr/>
          <p:nvPr/>
        </p:nvGrpSpPr>
        <p:grpSpPr>
          <a:xfrm>
            <a:off x="339091" y="3545014"/>
            <a:ext cx="1769894" cy="1039203"/>
            <a:chOff x="724424" y="3741265"/>
            <a:chExt cx="1769894" cy="1039203"/>
          </a:xfrm>
        </p:grpSpPr>
        <p:pic>
          <p:nvPicPr>
            <p:cNvPr id="32" name="Picture 31" descr="Microsoft Purview logo">
              <a:extLst>
                <a:ext uri="{FF2B5EF4-FFF2-40B4-BE49-F238E27FC236}">
                  <a16:creationId xmlns:a16="http://schemas.microsoft.com/office/drawing/2014/main" id="{627176AE-93EA-EE66-4C17-E390A6F63EA7}"/>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6475" y="3741265"/>
              <a:ext cx="665791" cy="665791"/>
            </a:xfrm>
            <a:prstGeom prst="rect">
              <a:avLst/>
            </a:prstGeom>
          </p:spPr>
        </p:pic>
        <p:sp>
          <p:nvSpPr>
            <p:cNvPr id="33" name="TextBox 32">
              <a:extLst>
                <a:ext uri="{FF2B5EF4-FFF2-40B4-BE49-F238E27FC236}">
                  <a16:creationId xmlns:a16="http://schemas.microsoft.com/office/drawing/2014/main" id="{1BAF542A-3E55-F469-B837-CA45D5125E05}"/>
                </a:ext>
                <a:ext uri="{C183D7F6-B498-43B3-948B-1728B52AA6E4}">
                  <adec:decorative xmlns:adec="http://schemas.microsoft.com/office/drawing/2017/decorative" val="0"/>
                </a:ext>
              </a:extLst>
            </p:cNvPr>
            <p:cNvSpPr txBox="1"/>
            <p:nvPr/>
          </p:nvSpPr>
          <p:spPr>
            <a:xfrm>
              <a:off x="724424" y="4472691"/>
              <a:ext cx="1769894"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30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a:ea typeface="+mn-ea"/>
                  <a:cs typeface="Segoe UI Semibold" panose="020B0702040204020203" pitchFamily="34" charset="0"/>
                </a:rPr>
                <a:t>DSPM for AI</a:t>
              </a:r>
            </a:p>
          </p:txBody>
        </p:sp>
      </p:grpSp>
      <p:sp>
        <p:nvSpPr>
          <p:cNvPr id="8" name="Oval 10_1">
            <a:extLst>
              <a:ext uri="{FF2B5EF4-FFF2-40B4-BE49-F238E27FC236}">
                <a16:creationId xmlns:a16="http://schemas.microsoft.com/office/drawing/2014/main" id="{D4C08CC2-B76F-E8C1-680A-4D71160652AD}"/>
              </a:ext>
              <a:ext uri="{C183D7F6-B498-43B3-948B-1728B52AA6E4}">
                <adec:decorative xmlns:adec="http://schemas.microsoft.com/office/drawing/2017/decorative" val="1"/>
              </a:ext>
            </a:extLst>
          </p:cNvPr>
          <p:cNvSpPr/>
          <p:nvPr/>
        </p:nvSpPr>
        <p:spPr>
          <a:xfrm>
            <a:off x="5928873" y="1829782"/>
            <a:ext cx="629794" cy="629794"/>
          </a:xfrm>
          <a:prstGeom prst="ellipse">
            <a:avLst/>
          </a:prstGeom>
          <a:solidFill>
            <a:schemeClr val="bg1"/>
          </a:solidFill>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9" name="Oval 8">
            <a:extLst>
              <a:ext uri="{FF2B5EF4-FFF2-40B4-BE49-F238E27FC236}">
                <a16:creationId xmlns:a16="http://schemas.microsoft.com/office/drawing/2014/main" id="{65766B8C-0FED-7D92-1942-7402072C3FEB}"/>
              </a:ext>
              <a:ext uri="{C183D7F6-B498-43B3-948B-1728B52AA6E4}">
                <adec:decorative xmlns:adec="http://schemas.microsoft.com/office/drawing/2017/decorative" val="1"/>
              </a:ext>
            </a:extLst>
          </p:cNvPr>
          <p:cNvSpPr/>
          <p:nvPr/>
        </p:nvSpPr>
        <p:spPr>
          <a:xfrm>
            <a:off x="6117448" y="2018357"/>
            <a:ext cx="252645" cy="252645"/>
          </a:xfrm>
          <a:prstGeom prst="ellipse">
            <a:avLst/>
          </a:prstGeom>
          <a:gradFill flip="none" rotWithShape="1">
            <a:gsLst>
              <a:gs pos="0">
                <a:srgbClr val="C03BC4"/>
              </a:gs>
              <a:gs pos="80000">
                <a:srgbClr val="0078D4"/>
              </a:gs>
            </a:gsLst>
            <a:path path="circle">
              <a:fillToRect l="100000" t="100000"/>
            </a:path>
            <a:tileRect r="-100000" b="-100000"/>
          </a:gradFill>
          <a:effectLst>
            <a:outerShdw blurRad="63500" dist="63500" dir="2700000" algn="tl" rotWithShape="0">
              <a:srgbClr val="000000">
                <a:alpha val="20000"/>
              </a:srgbClr>
            </a:outerShdw>
          </a:effectLst>
        </p:spPr>
        <p:txBody>
          <a:bodyPr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
                <a:srgbClr val="BFE8F6"/>
              </a:buClr>
              <a:buSzPts val="1000"/>
              <a:buFontTx/>
              <a:buNone/>
              <a:tabLst/>
              <a:defRPr/>
            </a:pPr>
            <a:endParaRPr kumimoji="0" lang="en-US" sz="2000" b="1" i="0" u="none" strike="noStrike" kern="1200" cap="none" spc="0" normalizeH="0" baseline="0" noProof="0" err="1">
              <a:ln>
                <a:noFill/>
              </a:ln>
              <a:solidFill>
                <a:srgbClr val="FFFFFF"/>
              </a:solidFill>
              <a:effectLst/>
              <a:uLnTx/>
              <a:uFillTx/>
              <a:latin typeface="Segoe UI Semibold"/>
              <a:ea typeface="+mn-ea"/>
              <a:cs typeface="+mn-cs"/>
            </a:endParaRPr>
          </a:p>
        </p:txBody>
      </p:sp>
      <p:grpSp>
        <p:nvGrpSpPr>
          <p:cNvPr id="10" name="Group 9">
            <a:extLst>
              <a:ext uri="{FF2B5EF4-FFF2-40B4-BE49-F238E27FC236}">
                <a16:creationId xmlns:a16="http://schemas.microsoft.com/office/drawing/2014/main" id="{CB345C61-A5A3-4074-7942-35BD08AC48EA}"/>
              </a:ext>
              <a:ext uri="{C183D7F6-B498-43B3-948B-1728B52AA6E4}">
                <adec:decorative xmlns:adec="http://schemas.microsoft.com/office/drawing/2017/decorative" val="1"/>
              </a:ext>
            </a:extLst>
          </p:cNvPr>
          <p:cNvGrpSpPr/>
          <p:nvPr/>
        </p:nvGrpSpPr>
        <p:grpSpPr>
          <a:xfrm rot="5400000" flipH="1" flipV="1">
            <a:off x="11613493" y="2039427"/>
            <a:ext cx="149292" cy="198910"/>
            <a:chOff x="6667356" y="2954907"/>
            <a:chExt cx="594920" cy="721978"/>
          </a:xfrm>
          <a:solidFill>
            <a:schemeClr val="tx1"/>
          </a:solidFill>
        </p:grpSpPr>
        <p:sp>
          <p:nvSpPr>
            <p:cNvPr id="11" name="Graphic 9">
              <a:extLst>
                <a:ext uri="{FF2B5EF4-FFF2-40B4-BE49-F238E27FC236}">
                  <a16:creationId xmlns:a16="http://schemas.microsoft.com/office/drawing/2014/main" id="{3EC77381-D96E-AC3C-0B5E-CF5C2EE10DD2}"/>
                </a:ext>
              </a:extLst>
            </p:cNvPr>
            <p:cNvSpPr/>
            <p:nvPr/>
          </p:nvSpPr>
          <p:spPr>
            <a:xfrm rot="5400000">
              <a:off x="6784802" y="2837461"/>
              <a:ext cx="360028" cy="594920"/>
            </a:xfrm>
            <a:custGeom>
              <a:avLst/>
              <a:gdLst>
                <a:gd name="connsiteX0" fmla="*/ 763036 w 1308282"/>
                <a:gd name="connsiteY0" fmla="*/ 1084040 h 2161841"/>
                <a:gd name="connsiteX1" fmla="*/ 732841 w 1308282"/>
                <a:gd name="connsiteY1" fmla="*/ 1059275 h 2161841"/>
                <a:gd name="connsiteX2" fmla="*/ 69330 w 1308282"/>
                <a:gd name="connsiteY2" fmla="*/ 396335 h 2161841"/>
                <a:gd name="connsiteX3" fmla="*/ 107525 w 1308282"/>
                <a:gd name="connsiteY3" fmla="*/ 34862 h 2161841"/>
                <a:gd name="connsiteX4" fmla="*/ 389275 w 1308282"/>
                <a:gd name="connsiteY4" fmla="*/ 66199 h 2161841"/>
                <a:gd name="connsiteX5" fmla="*/ 556057 w 1308282"/>
                <a:gd name="connsiteY5" fmla="*/ 232791 h 2161841"/>
                <a:gd name="connsiteX6" fmla="*/ 1234047 w 1308282"/>
                <a:gd name="connsiteY6" fmla="*/ 914972 h 2161841"/>
                <a:gd name="connsiteX7" fmla="*/ 1233856 w 1308282"/>
                <a:gd name="connsiteY7" fmla="*/ 1252157 h 2161841"/>
                <a:gd name="connsiteX8" fmla="*/ 396799 w 1308282"/>
                <a:gd name="connsiteY8" fmla="*/ 2088737 h 2161841"/>
                <a:gd name="connsiteX9" fmla="*/ 163151 w 1308282"/>
                <a:gd name="connsiteY9" fmla="*/ 2151317 h 2161841"/>
                <a:gd name="connsiteX10" fmla="*/ 4465 w 1308282"/>
                <a:gd name="connsiteY10" fmla="*/ 1972818 h 2161841"/>
                <a:gd name="connsiteX11" fmla="*/ 69235 w 1308282"/>
                <a:gd name="connsiteY11" fmla="*/ 1770983 h 2161841"/>
                <a:gd name="connsiteX12" fmla="*/ 734651 w 1308282"/>
                <a:gd name="connsiteY12" fmla="*/ 1106424 h 2161841"/>
                <a:gd name="connsiteX13" fmla="*/ 763036 w 1308282"/>
                <a:gd name="connsiteY13" fmla="*/ 1084136 h 2161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8282" h="2161841">
                  <a:moveTo>
                    <a:pt x="763036" y="1084040"/>
                  </a:moveTo>
                  <a:cubicBezTo>
                    <a:pt x="749129" y="1072706"/>
                    <a:pt x="740271" y="1066705"/>
                    <a:pt x="732841" y="1059275"/>
                  </a:cubicBezTo>
                  <a:cubicBezTo>
                    <a:pt x="511576" y="838391"/>
                    <a:pt x="290215" y="617601"/>
                    <a:pt x="69330" y="396335"/>
                  </a:cubicBezTo>
                  <a:cubicBezTo>
                    <a:pt x="-37160" y="289560"/>
                    <a:pt x="-18300" y="114872"/>
                    <a:pt x="107525" y="34862"/>
                  </a:cubicBezTo>
                  <a:cubicBezTo>
                    <a:pt x="196012" y="-21336"/>
                    <a:pt x="313170" y="-8668"/>
                    <a:pt x="389275" y="66199"/>
                  </a:cubicBezTo>
                  <a:cubicBezTo>
                    <a:pt x="445282" y="121349"/>
                    <a:pt x="500717" y="177070"/>
                    <a:pt x="556057" y="232791"/>
                  </a:cubicBezTo>
                  <a:cubicBezTo>
                    <a:pt x="782086" y="460153"/>
                    <a:pt x="1007923" y="687705"/>
                    <a:pt x="1234047" y="914972"/>
                  </a:cubicBezTo>
                  <a:cubicBezTo>
                    <a:pt x="1332821" y="1014222"/>
                    <a:pt x="1333297" y="1152716"/>
                    <a:pt x="1233856" y="1252157"/>
                  </a:cubicBezTo>
                  <a:cubicBezTo>
                    <a:pt x="954964" y="1531144"/>
                    <a:pt x="675787" y="1809845"/>
                    <a:pt x="396799" y="2088737"/>
                  </a:cubicBezTo>
                  <a:cubicBezTo>
                    <a:pt x="330886" y="2154651"/>
                    <a:pt x="252115" y="2177320"/>
                    <a:pt x="163151" y="2151317"/>
                  </a:cubicBezTo>
                  <a:cubicBezTo>
                    <a:pt x="74664" y="2125409"/>
                    <a:pt x="20562" y="2063306"/>
                    <a:pt x="4465" y="1972818"/>
                  </a:cubicBezTo>
                  <a:cubicBezTo>
                    <a:pt x="-9347" y="1895475"/>
                    <a:pt x="12847" y="1827276"/>
                    <a:pt x="69235" y="1770983"/>
                  </a:cubicBezTo>
                  <a:cubicBezTo>
                    <a:pt x="291072" y="1549527"/>
                    <a:pt x="512719" y="1327880"/>
                    <a:pt x="734651" y="1106424"/>
                  </a:cubicBezTo>
                  <a:cubicBezTo>
                    <a:pt x="741509" y="1099661"/>
                    <a:pt x="749891" y="1094423"/>
                    <a:pt x="763036" y="10841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Graphic 9">
              <a:extLst>
                <a:ext uri="{FF2B5EF4-FFF2-40B4-BE49-F238E27FC236}">
                  <a16:creationId xmlns:a16="http://schemas.microsoft.com/office/drawing/2014/main" id="{43E14506-9484-3A03-5CB8-D02E8A2A5999}"/>
                </a:ext>
              </a:extLst>
            </p:cNvPr>
            <p:cNvSpPr/>
            <p:nvPr/>
          </p:nvSpPr>
          <p:spPr>
            <a:xfrm rot="5400000">
              <a:off x="6784802" y="3199411"/>
              <a:ext cx="360028" cy="594920"/>
            </a:xfrm>
            <a:custGeom>
              <a:avLst/>
              <a:gdLst>
                <a:gd name="connsiteX0" fmla="*/ 763036 w 1308282"/>
                <a:gd name="connsiteY0" fmla="*/ 1084040 h 2161841"/>
                <a:gd name="connsiteX1" fmla="*/ 732841 w 1308282"/>
                <a:gd name="connsiteY1" fmla="*/ 1059275 h 2161841"/>
                <a:gd name="connsiteX2" fmla="*/ 69330 w 1308282"/>
                <a:gd name="connsiteY2" fmla="*/ 396335 h 2161841"/>
                <a:gd name="connsiteX3" fmla="*/ 107525 w 1308282"/>
                <a:gd name="connsiteY3" fmla="*/ 34862 h 2161841"/>
                <a:gd name="connsiteX4" fmla="*/ 389275 w 1308282"/>
                <a:gd name="connsiteY4" fmla="*/ 66199 h 2161841"/>
                <a:gd name="connsiteX5" fmla="*/ 556057 w 1308282"/>
                <a:gd name="connsiteY5" fmla="*/ 232791 h 2161841"/>
                <a:gd name="connsiteX6" fmla="*/ 1234047 w 1308282"/>
                <a:gd name="connsiteY6" fmla="*/ 914972 h 2161841"/>
                <a:gd name="connsiteX7" fmla="*/ 1233856 w 1308282"/>
                <a:gd name="connsiteY7" fmla="*/ 1252157 h 2161841"/>
                <a:gd name="connsiteX8" fmla="*/ 396799 w 1308282"/>
                <a:gd name="connsiteY8" fmla="*/ 2088737 h 2161841"/>
                <a:gd name="connsiteX9" fmla="*/ 163151 w 1308282"/>
                <a:gd name="connsiteY9" fmla="*/ 2151317 h 2161841"/>
                <a:gd name="connsiteX10" fmla="*/ 4465 w 1308282"/>
                <a:gd name="connsiteY10" fmla="*/ 1972818 h 2161841"/>
                <a:gd name="connsiteX11" fmla="*/ 69235 w 1308282"/>
                <a:gd name="connsiteY11" fmla="*/ 1770983 h 2161841"/>
                <a:gd name="connsiteX12" fmla="*/ 734651 w 1308282"/>
                <a:gd name="connsiteY12" fmla="*/ 1106424 h 2161841"/>
                <a:gd name="connsiteX13" fmla="*/ 763036 w 1308282"/>
                <a:gd name="connsiteY13" fmla="*/ 1084136 h 2161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8282" h="2161841">
                  <a:moveTo>
                    <a:pt x="763036" y="1084040"/>
                  </a:moveTo>
                  <a:cubicBezTo>
                    <a:pt x="749129" y="1072706"/>
                    <a:pt x="740271" y="1066705"/>
                    <a:pt x="732841" y="1059275"/>
                  </a:cubicBezTo>
                  <a:cubicBezTo>
                    <a:pt x="511576" y="838391"/>
                    <a:pt x="290215" y="617601"/>
                    <a:pt x="69330" y="396335"/>
                  </a:cubicBezTo>
                  <a:cubicBezTo>
                    <a:pt x="-37160" y="289560"/>
                    <a:pt x="-18300" y="114872"/>
                    <a:pt x="107525" y="34862"/>
                  </a:cubicBezTo>
                  <a:cubicBezTo>
                    <a:pt x="196012" y="-21336"/>
                    <a:pt x="313170" y="-8668"/>
                    <a:pt x="389275" y="66199"/>
                  </a:cubicBezTo>
                  <a:cubicBezTo>
                    <a:pt x="445282" y="121349"/>
                    <a:pt x="500717" y="177070"/>
                    <a:pt x="556057" y="232791"/>
                  </a:cubicBezTo>
                  <a:cubicBezTo>
                    <a:pt x="782086" y="460153"/>
                    <a:pt x="1007923" y="687705"/>
                    <a:pt x="1234047" y="914972"/>
                  </a:cubicBezTo>
                  <a:cubicBezTo>
                    <a:pt x="1332821" y="1014222"/>
                    <a:pt x="1333297" y="1152716"/>
                    <a:pt x="1233856" y="1252157"/>
                  </a:cubicBezTo>
                  <a:cubicBezTo>
                    <a:pt x="954964" y="1531144"/>
                    <a:pt x="675787" y="1809845"/>
                    <a:pt x="396799" y="2088737"/>
                  </a:cubicBezTo>
                  <a:cubicBezTo>
                    <a:pt x="330886" y="2154651"/>
                    <a:pt x="252115" y="2177320"/>
                    <a:pt x="163151" y="2151317"/>
                  </a:cubicBezTo>
                  <a:cubicBezTo>
                    <a:pt x="74664" y="2125409"/>
                    <a:pt x="20562" y="2063306"/>
                    <a:pt x="4465" y="1972818"/>
                  </a:cubicBezTo>
                  <a:cubicBezTo>
                    <a:pt x="-9347" y="1895475"/>
                    <a:pt x="12847" y="1827276"/>
                    <a:pt x="69235" y="1770983"/>
                  </a:cubicBezTo>
                  <a:cubicBezTo>
                    <a:pt x="291072" y="1549527"/>
                    <a:pt x="512719" y="1327880"/>
                    <a:pt x="734651" y="1106424"/>
                  </a:cubicBezTo>
                  <a:cubicBezTo>
                    <a:pt x="741509" y="1099661"/>
                    <a:pt x="749891" y="1094423"/>
                    <a:pt x="763036" y="10841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9" name="!!line2">
            <a:extLst>
              <a:ext uri="{FF2B5EF4-FFF2-40B4-BE49-F238E27FC236}">
                <a16:creationId xmlns:a16="http://schemas.microsoft.com/office/drawing/2014/main" id="{93C55A07-686B-8D55-FCCE-3E403A348199}"/>
              </a:ext>
              <a:ext uri="{C183D7F6-B498-43B3-948B-1728B52AA6E4}">
                <adec:decorative xmlns:adec="http://schemas.microsoft.com/office/drawing/2017/decorative" val="1"/>
              </a:ext>
            </a:extLst>
          </p:cNvPr>
          <p:cNvCxnSpPr>
            <a:cxnSpLocks/>
          </p:cNvCxnSpPr>
          <p:nvPr/>
        </p:nvCxnSpPr>
        <p:spPr>
          <a:xfrm flipH="1">
            <a:off x="6243770" y="2271002"/>
            <a:ext cx="1" cy="285975"/>
          </a:xfrm>
          <a:prstGeom prst="line">
            <a:avLst/>
          </a:prstGeom>
          <a:ln cap="rnd">
            <a:solidFill>
              <a:schemeClr val="tx1">
                <a:alpha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EF8B5173-ED22-09CD-51E0-68D91BB9DEC6}"/>
              </a:ext>
              <a:ext uri="{C183D7F6-B498-43B3-948B-1728B52AA6E4}">
                <adec:decorative xmlns:adec="http://schemas.microsoft.com/office/drawing/2017/decorative" val="1"/>
              </a:ext>
            </a:extLst>
          </p:cNvPr>
          <p:cNvSpPr/>
          <p:nvPr/>
        </p:nvSpPr>
        <p:spPr>
          <a:xfrm>
            <a:off x="6165334" y="2556977"/>
            <a:ext cx="156872" cy="156872"/>
          </a:xfrm>
          <a:prstGeom prst="ellipse">
            <a:avLst/>
          </a:prstGeom>
          <a:gradFill>
            <a:gsLst>
              <a:gs pos="0">
                <a:srgbClr val="C03BC4"/>
              </a:gs>
              <a:gs pos="80000">
                <a:srgbClr val="0078D4"/>
              </a:gs>
            </a:gsLst>
            <a:path path="circle">
              <a:fillToRect l="100000" t="100000"/>
            </a:path>
          </a:gradFill>
          <a:ln w="47625" cap="flat">
            <a:solidFill>
              <a:schemeClr val="bg1"/>
            </a:solidFill>
            <a:prstDash val="solid"/>
            <a:miter/>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graphicFrame>
        <p:nvGraphicFramePr>
          <p:cNvPr id="17" name="Table 16">
            <a:extLst>
              <a:ext uri="{FF2B5EF4-FFF2-40B4-BE49-F238E27FC236}">
                <a16:creationId xmlns:a16="http://schemas.microsoft.com/office/drawing/2014/main" id="{4A3CE218-10B1-3F1C-B6F9-E0D20143AB2B}"/>
              </a:ext>
            </a:extLst>
          </p:cNvPr>
          <p:cNvGraphicFramePr>
            <a:graphicFrameLocks noGrp="1"/>
          </p:cNvGraphicFramePr>
          <p:nvPr>
            <p:extLst>
              <p:ext uri="{D42A27DB-BD31-4B8C-83A1-F6EECF244321}">
                <p14:modId xmlns:p14="http://schemas.microsoft.com/office/powerpoint/2010/main" val="1913086466"/>
              </p:ext>
            </p:extLst>
          </p:nvPr>
        </p:nvGraphicFramePr>
        <p:xfrm>
          <a:off x="2444684" y="3545014"/>
          <a:ext cx="9144000" cy="2606040"/>
        </p:xfrm>
        <a:graphic>
          <a:graphicData uri="http://schemas.openxmlformats.org/drawingml/2006/table">
            <a:tbl>
              <a:tblPr firstRow="1" bandRow="1">
                <a:tableStyleId>{5C22544A-7EE6-4342-B048-85BDC9FD1C3A}</a:tableStyleId>
              </a:tblPr>
              <a:tblGrid>
                <a:gridCol w="5729024">
                  <a:extLst>
                    <a:ext uri="{9D8B030D-6E8A-4147-A177-3AD203B41FA5}">
                      <a16:colId xmlns:a16="http://schemas.microsoft.com/office/drawing/2014/main" val="2795189067"/>
                    </a:ext>
                  </a:extLst>
                </a:gridCol>
                <a:gridCol w="3414976">
                  <a:extLst>
                    <a:ext uri="{9D8B030D-6E8A-4147-A177-3AD203B41FA5}">
                      <a16:colId xmlns:a16="http://schemas.microsoft.com/office/drawing/2014/main" val="2873385886"/>
                    </a:ext>
                  </a:extLst>
                </a:gridCol>
              </a:tblGrid>
              <a:tr h="191890">
                <a:tc>
                  <a:txBody>
                    <a:bodyPr/>
                    <a:lstStyle/>
                    <a:p>
                      <a:r>
                        <a:rPr lang="en-US" sz="1600">
                          <a:solidFill>
                            <a:sysClr val="windowText" lastClr="000000"/>
                          </a:solidFill>
                        </a:rPr>
                        <a:t>I need …</a:t>
                      </a: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ysClr val="windowText" lastClr="000000"/>
                          </a:solidFill>
                        </a:rPr>
                        <a:t>Microsoft Purview</a:t>
                      </a: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9498682"/>
                  </a:ext>
                </a:extLst>
              </a:tr>
              <a:tr h="0">
                <a:tc>
                  <a:txBody>
                    <a:bodyPr/>
                    <a:lstStyle/>
                    <a:p>
                      <a:r>
                        <a:rPr lang="en-US" sz="1600">
                          <a:solidFill>
                            <a:sysClr val="windowText" lastClr="000000"/>
                          </a:solidFill>
                        </a:rPr>
                        <a:t>visibility into Copilot usage in the context of security &amp; compliance</a:t>
                      </a:r>
                    </a:p>
                  </a:txBody>
                  <a:tcPr marT="182880" marB="182880">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ysClr val="windowText" lastClr="000000"/>
                          </a:solidFill>
                        </a:rPr>
                        <a:t>DSPM for AI: Reports</a:t>
                      </a:r>
                    </a:p>
                  </a:txBody>
                  <a:tcPr marT="182880" marB="182880">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0278486"/>
                  </a:ext>
                </a:extLst>
              </a:tr>
              <a:tr h="299663">
                <a:tc>
                  <a:txBody>
                    <a:bodyPr/>
                    <a:lstStyle/>
                    <a:p>
                      <a:r>
                        <a:rPr lang="en-US" sz="1600">
                          <a:solidFill>
                            <a:sysClr val="windowText" lastClr="000000"/>
                          </a:solidFill>
                        </a:rPr>
                        <a:t>ways to mitigate any risks I find</a:t>
                      </a:r>
                    </a:p>
                  </a:txBody>
                  <a:tcPr marB="18288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ysClr val="windowText" lastClr="000000"/>
                          </a:solidFill>
                        </a:rPr>
                        <a:t>DSPM for AI: Recommendations</a:t>
                      </a:r>
                    </a:p>
                  </a:txBody>
                  <a:tcPr marB="18288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9422776"/>
                  </a:ext>
                </a:extLst>
              </a:tr>
              <a:tr h="0">
                <a:tc>
                  <a:txBody>
                    <a:bodyPr/>
                    <a:lstStyle/>
                    <a:p>
                      <a:r>
                        <a:rPr lang="en-US" sz="1600">
                          <a:solidFill>
                            <a:sysClr val="windowText" lastClr="000000"/>
                          </a:solidFill>
                        </a:rPr>
                        <a:t>visibility into the text of risky prompts and responses</a:t>
                      </a:r>
                    </a:p>
                  </a:txBody>
                  <a:tcPr marB="18288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a:ea typeface="+mn-ea"/>
                          <a:cs typeface="+mn-cs"/>
                        </a:rPr>
                        <a:t>DSPM for AI: Activity Explorer</a:t>
                      </a:r>
                    </a:p>
                  </a:txBody>
                  <a:tcPr marB="18288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9178518"/>
                  </a:ext>
                </a:extLst>
              </a:tr>
              <a:tr h="299663">
                <a:tc>
                  <a:txBody>
                    <a:bodyPr/>
                    <a:lstStyle/>
                    <a:p>
                      <a:r>
                        <a:rPr lang="en-US" sz="1600">
                          <a:solidFill>
                            <a:sysClr val="windowText" lastClr="000000"/>
                          </a:solidFill>
                        </a:rPr>
                        <a:t>guidance on how to comply with regulations</a:t>
                      </a:r>
                    </a:p>
                  </a:txBody>
                  <a:tcPr marB="18288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ysClr val="windowText" lastClr="000000"/>
                          </a:solidFill>
                        </a:rPr>
                        <a:t>Compliance Manager</a:t>
                      </a:r>
                    </a:p>
                  </a:txBody>
                  <a:tcPr marB="18288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8878474"/>
                  </a:ext>
                </a:extLst>
              </a:tr>
            </a:tbl>
          </a:graphicData>
        </a:graphic>
      </p:graphicFrame>
    </p:spTree>
    <p:extLst>
      <p:ext uri="{BB962C8B-B14F-4D97-AF65-F5344CB8AC3E}">
        <p14:creationId xmlns:p14="http://schemas.microsoft.com/office/powerpoint/2010/main" val="168141092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D4908F-4E7E-4EF1-C089-C1DD399579E7}"/>
            </a:ext>
          </a:extLst>
        </p:cNvPr>
        <p:cNvGrpSpPr/>
        <p:nvPr/>
      </p:nvGrpSpPr>
      <p:grpSpPr>
        <a:xfrm>
          <a:off x="0" y="0"/>
          <a:ext cx="0" cy="0"/>
          <a:chOff x="0" y="0"/>
          <a:chExt cx="0" cy="0"/>
        </a:xfrm>
      </p:grpSpPr>
      <p:grpSp>
        <p:nvGrpSpPr>
          <p:cNvPr id="4" name="Group 3" descr="Demo screenshot">
            <a:extLst>
              <a:ext uri="{FF2B5EF4-FFF2-40B4-BE49-F238E27FC236}">
                <a16:creationId xmlns:a16="http://schemas.microsoft.com/office/drawing/2014/main" id="{E1883CEA-CAE4-7B55-40B2-42AEF1F79E82}"/>
              </a:ext>
            </a:extLst>
          </p:cNvPr>
          <p:cNvGrpSpPr/>
          <p:nvPr/>
        </p:nvGrpSpPr>
        <p:grpSpPr>
          <a:xfrm>
            <a:off x="718744" y="402708"/>
            <a:ext cx="10754512" cy="6464923"/>
            <a:chOff x="718744" y="402708"/>
            <a:chExt cx="10754512" cy="6464923"/>
          </a:xfrm>
        </p:grpSpPr>
        <p:pic>
          <p:nvPicPr>
            <p:cNvPr id="6" name="Picture 5" descr="A screenshot of a computer&#10;&#10;Description automatically generated">
              <a:extLst>
                <a:ext uri="{FF2B5EF4-FFF2-40B4-BE49-F238E27FC236}">
                  <a16:creationId xmlns:a16="http://schemas.microsoft.com/office/drawing/2014/main" id="{78343204-6BA9-F760-A17A-B33523375CBC}"/>
                </a:ext>
              </a:extLst>
            </p:cNvPr>
            <p:cNvPicPr>
              <a:picLocks noChangeAspect="1"/>
            </p:cNvPicPr>
            <p:nvPr/>
          </p:nvPicPr>
          <p:blipFill>
            <a:blip r:embed="rId3">
              <a:extLst>
                <a:ext uri="{28A0092B-C50C-407E-A947-70E740481C1C}">
                  <a14:useLocalDpi xmlns:a14="http://schemas.microsoft.com/office/drawing/2010/main" val="0"/>
                </a:ext>
              </a:extLst>
            </a:blip>
            <a:srcRect b="93407"/>
            <a:stretch/>
          </p:blipFill>
          <p:spPr>
            <a:xfrm>
              <a:off x="718745" y="402708"/>
              <a:ext cx="10754511" cy="734114"/>
            </a:xfrm>
            <a:custGeom>
              <a:avLst/>
              <a:gdLst>
                <a:gd name="connsiteX0" fmla="*/ 79362 w 10754511"/>
                <a:gd name="connsiteY0" fmla="*/ 0 h 6049412"/>
                <a:gd name="connsiteX1" fmla="*/ 10675148 w 10754511"/>
                <a:gd name="connsiteY1" fmla="*/ 0 h 6049412"/>
                <a:gd name="connsiteX2" fmla="*/ 10706037 w 10754511"/>
                <a:gd name="connsiteY2" fmla="*/ 6236 h 6049412"/>
                <a:gd name="connsiteX3" fmla="*/ 10754511 w 10754511"/>
                <a:gd name="connsiteY3" fmla="*/ 79367 h 6049412"/>
                <a:gd name="connsiteX4" fmla="*/ 10754511 w 10754511"/>
                <a:gd name="connsiteY4" fmla="*/ 5970044 h 6049412"/>
                <a:gd name="connsiteX5" fmla="*/ 10675143 w 10754511"/>
                <a:gd name="connsiteY5" fmla="*/ 6049412 h 6049412"/>
                <a:gd name="connsiteX6" fmla="*/ 79367 w 10754511"/>
                <a:gd name="connsiteY6" fmla="*/ 6049412 h 6049412"/>
                <a:gd name="connsiteX7" fmla="*/ 6236 w 10754511"/>
                <a:gd name="connsiteY7" fmla="*/ 6000938 h 6049412"/>
                <a:gd name="connsiteX8" fmla="*/ 0 w 10754511"/>
                <a:gd name="connsiteY8" fmla="*/ 5970049 h 6049412"/>
                <a:gd name="connsiteX9" fmla="*/ 0 w 10754511"/>
                <a:gd name="connsiteY9" fmla="*/ 79362 h 6049412"/>
                <a:gd name="connsiteX10" fmla="*/ 6236 w 10754511"/>
                <a:gd name="connsiteY10" fmla="*/ 48473 h 6049412"/>
                <a:gd name="connsiteX11" fmla="*/ 48474 w 10754511"/>
                <a:gd name="connsiteY11" fmla="*/ 6236 h 604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54511" h="6049412">
                  <a:moveTo>
                    <a:pt x="79362" y="0"/>
                  </a:moveTo>
                  <a:lnTo>
                    <a:pt x="10675148" y="0"/>
                  </a:lnTo>
                  <a:lnTo>
                    <a:pt x="10706037" y="6236"/>
                  </a:lnTo>
                  <a:cubicBezTo>
                    <a:pt x="10734523" y="18285"/>
                    <a:pt x="10754511" y="46492"/>
                    <a:pt x="10754511" y="79367"/>
                  </a:cubicBezTo>
                  <a:lnTo>
                    <a:pt x="10754511" y="5970044"/>
                  </a:lnTo>
                  <a:cubicBezTo>
                    <a:pt x="10754511" y="6013878"/>
                    <a:pt x="10718977" y="6049412"/>
                    <a:pt x="10675143" y="6049412"/>
                  </a:cubicBezTo>
                  <a:lnTo>
                    <a:pt x="79367" y="6049412"/>
                  </a:lnTo>
                  <a:cubicBezTo>
                    <a:pt x="46492" y="6049412"/>
                    <a:pt x="18285" y="6029424"/>
                    <a:pt x="6236" y="6000938"/>
                  </a:cubicBezTo>
                  <a:lnTo>
                    <a:pt x="0" y="5970049"/>
                  </a:lnTo>
                  <a:lnTo>
                    <a:pt x="0" y="79362"/>
                  </a:lnTo>
                  <a:lnTo>
                    <a:pt x="6236" y="48473"/>
                  </a:lnTo>
                  <a:cubicBezTo>
                    <a:pt x="14269" y="29482"/>
                    <a:pt x="29483" y="14269"/>
                    <a:pt x="48474" y="6236"/>
                  </a:cubicBezTo>
                  <a:close/>
                </a:path>
              </a:pathLst>
            </a:custGeom>
          </p:spPr>
        </p:pic>
        <p:pic>
          <p:nvPicPr>
            <p:cNvPr id="3" name="Picture 2">
              <a:extLst>
                <a:ext uri="{FF2B5EF4-FFF2-40B4-BE49-F238E27FC236}">
                  <a16:creationId xmlns:a16="http://schemas.microsoft.com/office/drawing/2014/main" id="{FA146E3A-3765-01E2-DD5D-518732FB739D}"/>
                </a:ext>
              </a:extLst>
            </p:cNvPr>
            <p:cNvPicPr>
              <a:picLocks noChangeAspect="1"/>
            </p:cNvPicPr>
            <p:nvPr/>
          </p:nvPicPr>
          <p:blipFill>
            <a:blip r:embed="rId4"/>
            <a:srcRect/>
            <a:stretch/>
          </p:blipFill>
          <p:spPr>
            <a:xfrm>
              <a:off x="718744" y="1122533"/>
              <a:ext cx="10754511" cy="5745098"/>
            </a:xfrm>
            <a:prstGeom prst="rect">
              <a:avLst/>
            </a:prstGeom>
          </p:spPr>
        </p:pic>
      </p:grpSp>
      <p:grpSp>
        <p:nvGrpSpPr>
          <p:cNvPr id="5" name="Group 4">
            <a:extLst>
              <a:ext uri="{FF2B5EF4-FFF2-40B4-BE49-F238E27FC236}">
                <a16:creationId xmlns:a16="http://schemas.microsoft.com/office/drawing/2014/main" id="{568290C3-A564-E220-10C3-8A5D8F63015B}"/>
              </a:ext>
            </a:extLst>
          </p:cNvPr>
          <p:cNvGrpSpPr/>
          <p:nvPr/>
        </p:nvGrpSpPr>
        <p:grpSpPr>
          <a:xfrm>
            <a:off x="0" y="0"/>
            <a:ext cx="12192000" cy="6858000"/>
            <a:chOff x="0" y="0"/>
            <a:chExt cx="12192000" cy="6858000"/>
          </a:xfrm>
        </p:grpSpPr>
        <p:sp>
          <p:nvSpPr>
            <p:cNvPr id="8" name="Freeform 15">
              <a:extLst>
                <a:ext uri="{FF2B5EF4-FFF2-40B4-BE49-F238E27FC236}">
                  <a16:creationId xmlns:a16="http://schemas.microsoft.com/office/drawing/2014/main" id="{54E26FE1-9939-8460-D3B7-88011AB85DF6}"/>
                </a:ext>
                <a:ext uri="{C183D7F6-B498-43B3-948B-1728B52AA6E4}">
                  <adec:decorative xmlns:adec="http://schemas.microsoft.com/office/drawing/2017/decorative" val="1"/>
                </a:ext>
              </a:extLst>
            </p:cNvPr>
            <p:cNvSpPr/>
            <p:nvPr/>
          </p:nvSpPr>
          <p:spPr bwMode="auto">
            <a:xfrm>
              <a:off x="0" y="0"/>
              <a:ext cx="12192000" cy="6858000"/>
            </a:xfrm>
            <a:custGeom>
              <a:avLst/>
              <a:gdLst>
                <a:gd name="connsiteX0" fmla="*/ 812571 w 12192000"/>
                <a:gd name="connsiteY0" fmla="*/ 402708 h 6858000"/>
                <a:gd name="connsiteX1" fmla="*/ 718745 w 12192000"/>
                <a:gd name="connsiteY1" fmla="*/ 496534 h 6858000"/>
                <a:gd name="connsiteX2" fmla="*/ 718745 w 12192000"/>
                <a:gd name="connsiteY2" fmla="*/ 6358292 h 6858000"/>
                <a:gd name="connsiteX3" fmla="*/ 812571 w 12192000"/>
                <a:gd name="connsiteY3" fmla="*/ 6452118 h 6858000"/>
                <a:gd name="connsiteX4" fmla="*/ 11379429 w 12192000"/>
                <a:gd name="connsiteY4" fmla="*/ 6452118 h 6858000"/>
                <a:gd name="connsiteX5" fmla="*/ 11473255 w 12192000"/>
                <a:gd name="connsiteY5" fmla="*/ 6358292 h 6858000"/>
                <a:gd name="connsiteX6" fmla="*/ 11473255 w 12192000"/>
                <a:gd name="connsiteY6" fmla="*/ 496534 h 6858000"/>
                <a:gd name="connsiteX7" fmla="*/ 11379429 w 12192000"/>
                <a:gd name="connsiteY7" fmla="*/ 402708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12571" y="402708"/>
                  </a:moveTo>
                  <a:cubicBezTo>
                    <a:pt x="760752" y="402708"/>
                    <a:pt x="718745" y="444715"/>
                    <a:pt x="718745" y="496534"/>
                  </a:cubicBezTo>
                  <a:lnTo>
                    <a:pt x="718745" y="6358292"/>
                  </a:lnTo>
                  <a:cubicBezTo>
                    <a:pt x="718745" y="6410111"/>
                    <a:pt x="760752" y="6452118"/>
                    <a:pt x="812571" y="6452118"/>
                  </a:cubicBezTo>
                  <a:lnTo>
                    <a:pt x="11379429" y="6452118"/>
                  </a:lnTo>
                  <a:cubicBezTo>
                    <a:pt x="11431248" y="6452118"/>
                    <a:pt x="11473255" y="6410111"/>
                    <a:pt x="11473255" y="6358292"/>
                  </a:cubicBezTo>
                  <a:lnTo>
                    <a:pt x="11473255" y="496534"/>
                  </a:lnTo>
                  <a:cubicBezTo>
                    <a:pt x="11473255" y="444715"/>
                    <a:pt x="11431248" y="402708"/>
                    <a:pt x="11379429" y="402708"/>
                  </a:cubicBezTo>
                  <a:close/>
                  <a:moveTo>
                    <a:pt x="0" y="0"/>
                  </a:moveTo>
                  <a:lnTo>
                    <a:pt x="12192000" y="0"/>
                  </a:lnTo>
                  <a:lnTo>
                    <a:pt x="12192000" y="6858000"/>
                  </a:lnTo>
                  <a:lnTo>
                    <a:pt x="0" y="6858000"/>
                  </a:lnTo>
                  <a:close/>
                </a:path>
              </a:pathLst>
            </a:custGeom>
            <a:gradFill>
              <a:gsLst>
                <a:gs pos="2000">
                  <a:srgbClr val="0179D4"/>
                </a:gs>
                <a:gs pos="32000">
                  <a:srgbClr val="2CB6FF"/>
                </a:gs>
                <a:gs pos="44000">
                  <a:srgbClr val="2DB6FF"/>
                </a:gs>
                <a:gs pos="81000">
                  <a:srgbClr val="D962FA"/>
                </a:gs>
                <a:gs pos="96000">
                  <a:srgbClr val="F69991"/>
                </a:gs>
              </a:gsLst>
              <a:lin ang="3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9" name="Freeform 15">
              <a:extLst>
                <a:ext uri="{FF2B5EF4-FFF2-40B4-BE49-F238E27FC236}">
                  <a16:creationId xmlns:a16="http://schemas.microsoft.com/office/drawing/2014/main" id="{AF9E2FA6-7D3D-6077-22F2-338A4C1F1529}"/>
                </a:ext>
                <a:ext uri="{C183D7F6-B498-43B3-948B-1728B52AA6E4}">
                  <adec:decorative xmlns:adec="http://schemas.microsoft.com/office/drawing/2017/decorative" val="1"/>
                </a:ext>
              </a:extLst>
            </p:cNvPr>
            <p:cNvSpPr/>
            <p:nvPr/>
          </p:nvSpPr>
          <p:spPr bwMode="auto">
            <a:xfrm>
              <a:off x="0" y="0"/>
              <a:ext cx="12192000" cy="6858000"/>
            </a:xfrm>
            <a:custGeom>
              <a:avLst/>
              <a:gdLst>
                <a:gd name="connsiteX0" fmla="*/ 812571 w 12192000"/>
                <a:gd name="connsiteY0" fmla="*/ 402708 h 6858000"/>
                <a:gd name="connsiteX1" fmla="*/ 718745 w 12192000"/>
                <a:gd name="connsiteY1" fmla="*/ 496534 h 6858000"/>
                <a:gd name="connsiteX2" fmla="*/ 718745 w 12192000"/>
                <a:gd name="connsiteY2" fmla="*/ 6358292 h 6858000"/>
                <a:gd name="connsiteX3" fmla="*/ 812571 w 12192000"/>
                <a:gd name="connsiteY3" fmla="*/ 6452118 h 6858000"/>
                <a:gd name="connsiteX4" fmla="*/ 11379429 w 12192000"/>
                <a:gd name="connsiteY4" fmla="*/ 6452118 h 6858000"/>
                <a:gd name="connsiteX5" fmla="*/ 11473255 w 12192000"/>
                <a:gd name="connsiteY5" fmla="*/ 6358292 h 6858000"/>
                <a:gd name="connsiteX6" fmla="*/ 11473255 w 12192000"/>
                <a:gd name="connsiteY6" fmla="*/ 496534 h 6858000"/>
                <a:gd name="connsiteX7" fmla="*/ 11379429 w 12192000"/>
                <a:gd name="connsiteY7" fmla="*/ 402708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12571" y="402708"/>
                  </a:moveTo>
                  <a:cubicBezTo>
                    <a:pt x="760752" y="402708"/>
                    <a:pt x="718745" y="444715"/>
                    <a:pt x="718745" y="496534"/>
                  </a:cubicBezTo>
                  <a:lnTo>
                    <a:pt x="718745" y="6358292"/>
                  </a:lnTo>
                  <a:cubicBezTo>
                    <a:pt x="718745" y="6410111"/>
                    <a:pt x="760752" y="6452118"/>
                    <a:pt x="812571" y="6452118"/>
                  </a:cubicBezTo>
                  <a:lnTo>
                    <a:pt x="11379429" y="6452118"/>
                  </a:lnTo>
                  <a:cubicBezTo>
                    <a:pt x="11431248" y="6452118"/>
                    <a:pt x="11473255" y="6410111"/>
                    <a:pt x="11473255" y="6358292"/>
                  </a:cubicBezTo>
                  <a:lnTo>
                    <a:pt x="11473255" y="496534"/>
                  </a:lnTo>
                  <a:cubicBezTo>
                    <a:pt x="11473255" y="444715"/>
                    <a:pt x="11431248" y="402708"/>
                    <a:pt x="11379429" y="402708"/>
                  </a:cubicBezTo>
                  <a:close/>
                  <a:moveTo>
                    <a:pt x="0" y="0"/>
                  </a:moveTo>
                  <a:lnTo>
                    <a:pt x="12192000" y="0"/>
                  </a:lnTo>
                  <a:lnTo>
                    <a:pt x="12192000" y="6858000"/>
                  </a:lnTo>
                  <a:lnTo>
                    <a:pt x="0" y="6858000"/>
                  </a:lnTo>
                  <a:close/>
                </a:path>
              </a:pathLst>
            </a:cu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grpSp>
      <p:sp>
        <p:nvSpPr>
          <p:cNvPr id="23" name="Title 22">
            <a:extLst>
              <a:ext uri="{FF2B5EF4-FFF2-40B4-BE49-F238E27FC236}">
                <a16:creationId xmlns:a16="http://schemas.microsoft.com/office/drawing/2014/main" id="{7F8D2F4E-E9B6-5783-6D3B-02BFFEDE6CF0}"/>
              </a:ext>
            </a:extLst>
          </p:cNvPr>
          <p:cNvSpPr>
            <a:spLocks noGrp="1"/>
          </p:cNvSpPr>
          <p:nvPr>
            <p:ph type="title" idx="4294967295"/>
          </p:nvPr>
        </p:nvSpPr>
        <p:spPr>
          <a:xfrm>
            <a:off x="588263" y="-553998"/>
            <a:ext cx="11018520" cy="553998"/>
          </a:xfrm>
        </p:spPr>
        <p:txBody>
          <a:bodyPr vert="horz" wrap="square" lIns="0" tIns="0" rIns="0" bIns="0" rtlCol="0" anchor="b">
            <a:spAutoFit/>
          </a:bodyPr>
          <a:lstStyle/>
          <a:p>
            <a:r>
              <a:rPr lang="en-IN">
                <a:solidFill>
                  <a:schemeClr val="bg1"/>
                </a:solidFill>
              </a:rPr>
              <a:t>Microsoft Purview</a:t>
            </a:r>
          </a:p>
        </p:txBody>
      </p:sp>
      <p:sp>
        <p:nvSpPr>
          <p:cNvPr id="11" name="Rectangle: Rounded Corners 10">
            <a:extLst>
              <a:ext uri="{FF2B5EF4-FFF2-40B4-BE49-F238E27FC236}">
                <a16:creationId xmlns:a16="http://schemas.microsoft.com/office/drawing/2014/main" id="{C44D3404-90CA-A450-6426-B3C162507308}"/>
              </a:ext>
              <a:ext uri="{C183D7F6-B498-43B3-948B-1728B52AA6E4}">
                <adec:decorative xmlns:adec="http://schemas.microsoft.com/office/drawing/2017/decorative" val="1"/>
              </a:ext>
            </a:extLst>
          </p:cNvPr>
          <p:cNvSpPr>
            <a:spLocks/>
          </p:cNvSpPr>
          <p:nvPr/>
        </p:nvSpPr>
        <p:spPr bwMode="auto">
          <a:xfrm>
            <a:off x="582612" y="267935"/>
            <a:ext cx="11026776" cy="6318956"/>
          </a:xfrm>
          <a:prstGeom prst="roundRect">
            <a:avLst>
              <a:gd name="adj" fmla="val 2582"/>
            </a:avLst>
          </a:prstGeom>
          <a:noFill/>
          <a:ln w="12700" cap="rnd">
            <a:gradFill flip="none" rotWithShape="1">
              <a:gsLst>
                <a:gs pos="0">
                  <a:srgbClr val="F65567"/>
                </a:gs>
                <a:gs pos="32000">
                  <a:srgbClr val="AC35AF"/>
                </a:gs>
                <a:gs pos="6800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52000" tIns="146304" rIns="25200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mn-cs"/>
            </a:endParaRPr>
          </a:p>
        </p:txBody>
      </p:sp>
      <p:sp>
        <p:nvSpPr>
          <p:cNvPr id="2" name="Title 8">
            <a:extLst>
              <a:ext uri="{FF2B5EF4-FFF2-40B4-BE49-F238E27FC236}">
                <a16:creationId xmlns:a16="http://schemas.microsoft.com/office/drawing/2014/main" id="{2C3CA30A-1C89-D481-C25C-265F4025632B}"/>
              </a:ext>
              <a:ext uri="{C183D7F6-B498-43B3-948B-1728B52AA6E4}">
                <adec:decorative xmlns:adec="http://schemas.microsoft.com/office/drawing/2017/decorative" val="1"/>
              </a:ext>
            </a:extLst>
          </p:cNvPr>
          <p:cNvSpPr>
            <a:spLocks/>
          </p:cNvSpPr>
          <p:nvPr/>
        </p:nvSpPr>
        <p:spPr bwMode="auto">
          <a:xfrm>
            <a:off x="718744" y="6031965"/>
            <a:ext cx="10754511" cy="423327"/>
          </a:xfrm>
          <a:prstGeom prst="round2SameRect">
            <a:avLst>
              <a:gd name="adj1" fmla="val 0"/>
              <a:gd name="adj2" fmla="val 18201"/>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r>
              <a:rPr kumimoji="0" lang="en-US" sz="2000" b="1" i="0" u="none" strike="noStrike" kern="1200" cap="none" spc="0" normalizeH="0" baseline="0" noProof="0">
                <a:ln>
                  <a:noFill/>
                </a:ln>
                <a:solidFill>
                  <a:srgbClr val="FFFFFF"/>
                </a:solidFill>
                <a:effectLst/>
                <a:uLnTx/>
                <a:uFillTx/>
                <a:latin typeface="Segoe UI Semibold"/>
                <a:ea typeface="+mn-ea"/>
                <a:cs typeface="+mn-cs"/>
              </a:rPr>
              <a:t>Data Security Posture Management (DSPM) for AI</a:t>
            </a:r>
          </a:p>
        </p:txBody>
      </p:sp>
      <p:sp>
        <p:nvSpPr>
          <p:cNvPr id="7" name="Rectangle 6">
            <a:extLst>
              <a:ext uri="{FF2B5EF4-FFF2-40B4-BE49-F238E27FC236}">
                <a16:creationId xmlns:a16="http://schemas.microsoft.com/office/drawing/2014/main" id="{CB8422E4-D241-CA84-671A-35C0DD59355F}"/>
              </a:ext>
            </a:extLst>
          </p:cNvPr>
          <p:cNvSpPr/>
          <p:nvPr/>
        </p:nvSpPr>
        <p:spPr>
          <a:xfrm>
            <a:off x="1824087" y="904973"/>
            <a:ext cx="311084" cy="152211"/>
          </a:xfrm>
          <a:prstGeom prst="rect">
            <a:avLst/>
          </a:prstGeom>
          <a:solidFill>
            <a:srgbClr val="004E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644929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ACD5E-2295-E77A-729D-F26308B370AD}"/>
            </a:ext>
          </a:extLst>
        </p:cNvPr>
        <p:cNvGrpSpPr/>
        <p:nvPr/>
      </p:nvGrpSpPr>
      <p:grpSpPr>
        <a:xfrm>
          <a:off x="0" y="0"/>
          <a:ext cx="0" cy="0"/>
          <a:chOff x="0" y="0"/>
          <a:chExt cx="0" cy="0"/>
        </a:xfrm>
      </p:grpSpPr>
      <p:grpSp>
        <p:nvGrpSpPr>
          <p:cNvPr id="17" name="Group 16" descr="Report screenshot">
            <a:extLst>
              <a:ext uri="{FF2B5EF4-FFF2-40B4-BE49-F238E27FC236}">
                <a16:creationId xmlns:a16="http://schemas.microsoft.com/office/drawing/2014/main" id="{640684A4-3BC4-ED39-95CB-14B059311743}"/>
              </a:ext>
            </a:extLst>
          </p:cNvPr>
          <p:cNvGrpSpPr/>
          <p:nvPr/>
        </p:nvGrpSpPr>
        <p:grpSpPr>
          <a:xfrm>
            <a:off x="718289" y="402708"/>
            <a:ext cx="10754966" cy="17541708"/>
            <a:chOff x="718289" y="402708"/>
            <a:chExt cx="10754966" cy="17541708"/>
          </a:xfrm>
        </p:grpSpPr>
        <p:grpSp>
          <p:nvGrpSpPr>
            <p:cNvPr id="9" name="Group 8" descr="Microsoft Purview dashboard displaying various reports on AI interactions and data usage. The page is titled 'Reports' with tabs for different categories: 'Microsoft Copilot experiences,' 'Enterprise AI apps,' and 'Other AI apps.' The dashboard includes sections on 'Activity,' with line graphs showing 'Total interactions over time' for Microsoft 365 Copilot, OpenAI ChatGPT, and other apps. The 'Data' section has pie and bar charts for 'Top unethical use in AI interactions,' 'Sensitive interactions per app,' 'Sensitive interactions by department,' and 'Top sensitivity labels referenced in Microsoft 365 Copilot.' The 'User' section highlights potential risky prompts and insider risk severity per app, represented by horizontal bar charts with risk level indicators. Buttons for viewing details and recommendations are present under most charts.">
              <a:extLst>
                <a:ext uri="{FF2B5EF4-FFF2-40B4-BE49-F238E27FC236}">
                  <a16:creationId xmlns:a16="http://schemas.microsoft.com/office/drawing/2014/main" id="{3E6382C0-CFFB-9F4F-F065-814714B80FD3}"/>
                </a:ext>
              </a:extLst>
            </p:cNvPr>
            <p:cNvGrpSpPr/>
            <p:nvPr/>
          </p:nvGrpSpPr>
          <p:grpSpPr>
            <a:xfrm>
              <a:off x="718745" y="402708"/>
              <a:ext cx="10754510" cy="17509687"/>
              <a:chOff x="0" y="-1"/>
              <a:chExt cx="12192000" cy="19850101"/>
            </a:xfrm>
          </p:grpSpPr>
          <p:grpSp>
            <p:nvGrpSpPr>
              <p:cNvPr id="6" name="Group 5">
                <a:extLst>
                  <a:ext uri="{FF2B5EF4-FFF2-40B4-BE49-F238E27FC236}">
                    <a16:creationId xmlns:a16="http://schemas.microsoft.com/office/drawing/2014/main" id="{D4C66B40-EAD2-77B2-6229-B0BBD660C2CF}"/>
                  </a:ext>
                </a:extLst>
              </p:cNvPr>
              <p:cNvGrpSpPr/>
              <p:nvPr/>
            </p:nvGrpSpPr>
            <p:grpSpPr>
              <a:xfrm>
                <a:off x="0" y="-1"/>
                <a:ext cx="12192000" cy="19850101"/>
                <a:chOff x="0" y="-1"/>
                <a:chExt cx="12192000" cy="19850101"/>
              </a:xfrm>
            </p:grpSpPr>
            <p:grpSp>
              <p:nvGrpSpPr>
                <p:cNvPr id="3" name="Group 2">
                  <a:extLst>
                    <a:ext uri="{FF2B5EF4-FFF2-40B4-BE49-F238E27FC236}">
                      <a16:creationId xmlns:a16="http://schemas.microsoft.com/office/drawing/2014/main" id="{7363AB6C-3DD6-3D81-B879-1F8CDCD744BF}"/>
                    </a:ext>
                  </a:extLst>
                </p:cNvPr>
                <p:cNvGrpSpPr/>
                <p:nvPr/>
              </p:nvGrpSpPr>
              <p:grpSpPr>
                <a:xfrm>
                  <a:off x="0" y="-1"/>
                  <a:ext cx="12192000" cy="19850101"/>
                  <a:chOff x="0" y="-1"/>
                  <a:chExt cx="12192000" cy="19850101"/>
                </a:xfrm>
              </p:grpSpPr>
              <p:pic>
                <p:nvPicPr>
                  <p:cNvPr id="22" name="Picture 21" descr="A screenshot of a computer&#10;&#10;Description automatically generated">
                    <a:extLst>
                      <a:ext uri="{FF2B5EF4-FFF2-40B4-BE49-F238E27FC236}">
                        <a16:creationId xmlns:a16="http://schemas.microsoft.com/office/drawing/2014/main" id="{91106D33-408F-48BD-B8BE-A3A61A2041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12192000" cy="19850101"/>
                  </a:xfrm>
                  <a:prstGeom prst="roundRect">
                    <a:avLst>
                      <a:gd name="adj" fmla="val 762"/>
                    </a:avLst>
                  </a:prstGeom>
                </p:spPr>
              </p:pic>
              <p:sp>
                <p:nvSpPr>
                  <p:cNvPr id="2" name="Rectangle 1">
                    <a:extLst>
                      <a:ext uri="{FF2B5EF4-FFF2-40B4-BE49-F238E27FC236}">
                        <a16:creationId xmlns:a16="http://schemas.microsoft.com/office/drawing/2014/main" id="{D5CEEB3B-2AC7-1557-4B84-2C3C29C423ED}"/>
                      </a:ext>
                    </a:extLst>
                  </p:cNvPr>
                  <p:cNvSpPr/>
                  <p:nvPr/>
                </p:nvSpPr>
                <p:spPr>
                  <a:xfrm>
                    <a:off x="1911350" y="16929100"/>
                    <a:ext cx="5003800" cy="2692400"/>
                  </a:xfrm>
                  <a:prstGeom prst="rect">
                    <a:avLst/>
                  </a:prstGeom>
                  <a:solidFill>
                    <a:srgbClr val="FAFA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7" name="Picture 6" descr="A screenshot of a computer&#10;&#10;Description automatically generated">
                    <a:extLst>
                      <a:ext uri="{FF2B5EF4-FFF2-40B4-BE49-F238E27FC236}">
                        <a16:creationId xmlns:a16="http://schemas.microsoft.com/office/drawing/2014/main" id="{9BD5479F-2A0E-FAA2-66C6-DFC3E293682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59272" y="16978764"/>
                    <a:ext cx="4907956" cy="2605771"/>
                  </a:xfrm>
                  <a:prstGeom prst="rect">
                    <a:avLst/>
                  </a:prstGeom>
                </p:spPr>
              </p:pic>
            </p:grpSp>
            <p:pic>
              <p:nvPicPr>
                <p:cNvPr id="5" name="Picture 4" descr="A graph with blue line&#10;&#10;Description automatically generated">
                  <a:extLst>
                    <a:ext uri="{FF2B5EF4-FFF2-40B4-BE49-F238E27FC236}">
                      <a16:creationId xmlns:a16="http://schemas.microsoft.com/office/drawing/2014/main" id="{D09A2EDE-6C85-6B63-0C3E-0D7620B73FD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52944" y="2667327"/>
                  <a:ext cx="4926984" cy="2615873"/>
                </a:xfrm>
                <a:prstGeom prst="rect">
                  <a:avLst/>
                </a:prstGeom>
              </p:spPr>
            </p:pic>
          </p:grpSp>
          <p:pic>
            <p:nvPicPr>
              <p:cNvPr id="4" name="Picture 2">
                <a:extLst>
                  <a:ext uri="{FF2B5EF4-FFF2-40B4-BE49-F238E27FC236}">
                    <a16:creationId xmlns:a16="http://schemas.microsoft.com/office/drawing/2014/main" id="{69C1A429-85F3-35A2-FE3A-5AAD3367EFA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84816" y="8450745"/>
                <a:ext cx="4933305" cy="26192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screenshot of a graph&#10;&#10;Description automatically generated">
                <a:extLst>
                  <a:ext uri="{FF2B5EF4-FFF2-40B4-BE49-F238E27FC236}">
                    <a16:creationId xmlns:a16="http://schemas.microsoft.com/office/drawing/2014/main" id="{D24368A7-0172-3C46-7DAD-518BE93390D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84816" y="16978764"/>
                <a:ext cx="4907889" cy="2466593"/>
              </a:xfrm>
              <a:prstGeom prst="rect">
                <a:avLst/>
              </a:prstGeom>
            </p:spPr>
          </p:pic>
        </p:grpSp>
        <p:pic>
          <p:nvPicPr>
            <p:cNvPr id="10" name="Picture 9">
              <a:extLst>
                <a:ext uri="{FF2B5EF4-FFF2-40B4-BE49-F238E27FC236}">
                  <a16:creationId xmlns:a16="http://schemas.microsoft.com/office/drawing/2014/main" id="{511382DC-FD0E-A8C1-58BC-5191C38D4B75}"/>
                </a:ext>
              </a:extLst>
            </p:cNvPr>
            <p:cNvPicPr>
              <a:picLocks noChangeAspect="1"/>
            </p:cNvPicPr>
            <p:nvPr/>
          </p:nvPicPr>
          <p:blipFill>
            <a:blip r:embed="rId8"/>
            <a:srcRect t="-1" r="86122" b="63155"/>
            <a:stretch/>
          </p:blipFill>
          <p:spPr>
            <a:xfrm>
              <a:off x="718745" y="1112127"/>
              <a:ext cx="1492466" cy="2116849"/>
            </a:xfrm>
            <a:prstGeom prst="rect">
              <a:avLst/>
            </a:prstGeom>
          </p:spPr>
        </p:pic>
        <p:sp>
          <p:nvSpPr>
            <p:cNvPr id="15" name="Rectangle 14">
              <a:extLst>
                <a:ext uri="{FF2B5EF4-FFF2-40B4-BE49-F238E27FC236}">
                  <a16:creationId xmlns:a16="http://schemas.microsoft.com/office/drawing/2014/main" id="{31F5B3D8-2C42-BD5E-47D8-059A6B9AE794}"/>
                </a:ext>
              </a:extLst>
            </p:cNvPr>
            <p:cNvSpPr/>
            <p:nvPr/>
          </p:nvSpPr>
          <p:spPr bwMode="auto">
            <a:xfrm>
              <a:off x="718289" y="3222576"/>
              <a:ext cx="361211" cy="14721840"/>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7BBA3A9F-BE98-CC9D-AC53-8BB2315DB3B5}"/>
              </a:ext>
            </a:extLst>
          </p:cNvPr>
          <p:cNvGrpSpPr/>
          <p:nvPr/>
        </p:nvGrpSpPr>
        <p:grpSpPr>
          <a:xfrm>
            <a:off x="0" y="0"/>
            <a:ext cx="12192000" cy="6858000"/>
            <a:chOff x="0" y="0"/>
            <a:chExt cx="12192000" cy="6858000"/>
          </a:xfrm>
        </p:grpSpPr>
        <p:sp>
          <p:nvSpPr>
            <p:cNvPr id="12" name="Freeform 15">
              <a:extLst>
                <a:ext uri="{FF2B5EF4-FFF2-40B4-BE49-F238E27FC236}">
                  <a16:creationId xmlns:a16="http://schemas.microsoft.com/office/drawing/2014/main" id="{6B430221-0706-D77D-15A6-AABD16C36AFD}"/>
                </a:ext>
                <a:ext uri="{C183D7F6-B498-43B3-948B-1728B52AA6E4}">
                  <adec:decorative xmlns:adec="http://schemas.microsoft.com/office/drawing/2017/decorative" val="1"/>
                </a:ext>
              </a:extLst>
            </p:cNvPr>
            <p:cNvSpPr/>
            <p:nvPr/>
          </p:nvSpPr>
          <p:spPr bwMode="auto">
            <a:xfrm>
              <a:off x="0" y="0"/>
              <a:ext cx="12192000" cy="6858000"/>
            </a:xfrm>
            <a:custGeom>
              <a:avLst/>
              <a:gdLst>
                <a:gd name="connsiteX0" fmla="*/ 812571 w 12192000"/>
                <a:gd name="connsiteY0" fmla="*/ 402708 h 6858000"/>
                <a:gd name="connsiteX1" fmla="*/ 718745 w 12192000"/>
                <a:gd name="connsiteY1" fmla="*/ 496534 h 6858000"/>
                <a:gd name="connsiteX2" fmla="*/ 718745 w 12192000"/>
                <a:gd name="connsiteY2" fmla="*/ 6358292 h 6858000"/>
                <a:gd name="connsiteX3" fmla="*/ 812571 w 12192000"/>
                <a:gd name="connsiteY3" fmla="*/ 6452118 h 6858000"/>
                <a:gd name="connsiteX4" fmla="*/ 11379429 w 12192000"/>
                <a:gd name="connsiteY4" fmla="*/ 6452118 h 6858000"/>
                <a:gd name="connsiteX5" fmla="*/ 11473255 w 12192000"/>
                <a:gd name="connsiteY5" fmla="*/ 6358292 h 6858000"/>
                <a:gd name="connsiteX6" fmla="*/ 11473255 w 12192000"/>
                <a:gd name="connsiteY6" fmla="*/ 496534 h 6858000"/>
                <a:gd name="connsiteX7" fmla="*/ 11379429 w 12192000"/>
                <a:gd name="connsiteY7" fmla="*/ 402708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12571" y="402708"/>
                  </a:moveTo>
                  <a:cubicBezTo>
                    <a:pt x="760752" y="402708"/>
                    <a:pt x="718745" y="444715"/>
                    <a:pt x="718745" y="496534"/>
                  </a:cubicBezTo>
                  <a:lnTo>
                    <a:pt x="718745" y="6358292"/>
                  </a:lnTo>
                  <a:cubicBezTo>
                    <a:pt x="718745" y="6410111"/>
                    <a:pt x="760752" y="6452118"/>
                    <a:pt x="812571" y="6452118"/>
                  </a:cubicBezTo>
                  <a:lnTo>
                    <a:pt x="11379429" y="6452118"/>
                  </a:lnTo>
                  <a:cubicBezTo>
                    <a:pt x="11431248" y="6452118"/>
                    <a:pt x="11473255" y="6410111"/>
                    <a:pt x="11473255" y="6358292"/>
                  </a:cubicBezTo>
                  <a:lnTo>
                    <a:pt x="11473255" y="496534"/>
                  </a:lnTo>
                  <a:cubicBezTo>
                    <a:pt x="11473255" y="444715"/>
                    <a:pt x="11431248" y="402708"/>
                    <a:pt x="11379429" y="402708"/>
                  </a:cubicBezTo>
                  <a:close/>
                  <a:moveTo>
                    <a:pt x="0" y="0"/>
                  </a:moveTo>
                  <a:lnTo>
                    <a:pt x="12192000" y="0"/>
                  </a:lnTo>
                  <a:lnTo>
                    <a:pt x="12192000" y="6858000"/>
                  </a:lnTo>
                  <a:lnTo>
                    <a:pt x="0" y="6858000"/>
                  </a:lnTo>
                  <a:close/>
                </a:path>
              </a:pathLst>
            </a:custGeom>
            <a:gradFill>
              <a:gsLst>
                <a:gs pos="2000">
                  <a:srgbClr val="0179D4"/>
                </a:gs>
                <a:gs pos="32000">
                  <a:srgbClr val="2CB6FF"/>
                </a:gs>
                <a:gs pos="44000">
                  <a:srgbClr val="2DB6FF"/>
                </a:gs>
                <a:gs pos="81000">
                  <a:srgbClr val="D962FA"/>
                </a:gs>
                <a:gs pos="96000">
                  <a:srgbClr val="F69991"/>
                </a:gs>
              </a:gsLst>
              <a:lin ang="3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16" name="Freeform 15">
              <a:extLst>
                <a:ext uri="{FF2B5EF4-FFF2-40B4-BE49-F238E27FC236}">
                  <a16:creationId xmlns:a16="http://schemas.microsoft.com/office/drawing/2014/main" id="{B0A215F1-488D-916A-C2DA-F817099D2251}"/>
                </a:ext>
                <a:ext uri="{C183D7F6-B498-43B3-948B-1728B52AA6E4}">
                  <adec:decorative xmlns:adec="http://schemas.microsoft.com/office/drawing/2017/decorative" val="1"/>
                </a:ext>
              </a:extLst>
            </p:cNvPr>
            <p:cNvSpPr/>
            <p:nvPr/>
          </p:nvSpPr>
          <p:spPr bwMode="auto">
            <a:xfrm>
              <a:off x="0" y="0"/>
              <a:ext cx="12192000" cy="6858000"/>
            </a:xfrm>
            <a:custGeom>
              <a:avLst/>
              <a:gdLst>
                <a:gd name="connsiteX0" fmla="*/ 812571 w 12192000"/>
                <a:gd name="connsiteY0" fmla="*/ 402708 h 6858000"/>
                <a:gd name="connsiteX1" fmla="*/ 718745 w 12192000"/>
                <a:gd name="connsiteY1" fmla="*/ 496534 h 6858000"/>
                <a:gd name="connsiteX2" fmla="*/ 718745 w 12192000"/>
                <a:gd name="connsiteY2" fmla="*/ 6358292 h 6858000"/>
                <a:gd name="connsiteX3" fmla="*/ 812571 w 12192000"/>
                <a:gd name="connsiteY3" fmla="*/ 6452118 h 6858000"/>
                <a:gd name="connsiteX4" fmla="*/ 11379429 w 12192000"/>
                <a:gd name="connsiteY4" fmla="*/ 6452118 h 6858000"/>
                <a:gd name="connsiteX5" fmla="*/ 11473255 w 12192000"/>
                <a:gd name="connsiteY5" fmla="*/ 6358292 h 6858000"/>
                <a:gd name="connsiteX6" fmla="*/ 11473255 w 12192000"/>
                <a:gd name="connsiteY6" fmla="*/ 496534 h 6858000"/>
                <a:gd name="connsiteX7" fmla="*/ 11379429 w 12192000"/>
                <a:gd name="connsiteY7" fmla="*/ 402708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12571" y="402708"/>
                  </a:moveTo>
                  <a:cubicBezTo>
                    <a:pt x="760752" y="402708"/>
                    <a:pt x="718745" y="444715"/>
                    <a:pt x="718745" y="496534"/>
                  </a:cubicBezTo>
                  <a:lnTo>
                    <a:pt x="718745" y="6358292"/>
                  </a:lnTo>
                  <a:cubicBezTo>
                    <a:pt x="718745" y="6410111"/>
                    <a:pt x="760752" y="6452118"/>
                    <a:pt x="812571" y="6452118"/>
                  </a:cubicBezTo>
                  <a:lnTo>
                    <a:pt x="11379429" y="6452118"/>
                  </a:lnTo>
                  <a:cubicBezTo>
                    <a:pt x="11431248" y="6452118"/>
                    <a:pt x="11473255" y="6410111"/>
                    <a:pt x="11473255" y="6358292"/>
                  </a:cubicBezTo>
                  <a:lnTo>
                    <a:pt x="11473255" y="496534"/>
                  </a:lnTo>
                  <a:cubicBezTo>
                    <a:pt x="11473255" y="444715"/>
                    <a:pt x="11431248" y="402708"/>
                    <a:pt x="11379429" y="402708"/>
                  </a:cubicBezTo>
                  <a:close/>
                  <a:moveTo>
                    <a:pt x="0" y="0"/>
                  </a:moveTo>
                  <a:lnTo>
                    <a:pt x="12192000" y="0"/>
                  </a:lnTo>
                  <a:lnTo>
                    <a:pt x="12192000" y="6858000"/>
                  </a:lnTo>
                  <a:lnTo>
                    <a:pt x="0" y="6858000"/>
                  </a:lnTo>
                  <a:close/>
                </a:path>
              </a:pathLst>
            </a:cu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grpSp>
      <p:sp>
        <p:nvSpPr>
          <p:cNvPr id="18" name="Title 17">
            <a:extLst>
              <a:ext uri="{FF2B5EF4-FFF2-40B4-BE49-F238E27FC236}">
                <a16:creationId xmlns:a16="http://schemas.microsoft.com/office/drawing/2014/main" id="{26B362D6-98D8-B227-7EDB-49C2B10C27DC}"/>
              </a:ext>
            </a:extLst>
          </p:cNvPr>
          <p:cNvSpPr>
            <a:spLocks noGrp="1"/>
          </p:cNvSpPr>
          <p:nvPr>
            <p:ph type="title" idx="4294967295"/>
          </p:nvPr>
        </p:nvSpPr>
        <p:spPr>
          <a:xfrm>
            <a:off x="588263" y="-553998"/>
            <a:ext cx="11018520" cy="553998"/>
          </a:xfrm>
        </p:spPr>
        <p:txBody>
          <a:bodyPr vert="horz" wrap="square" lIns="0" tIns="0" rIns="0" bIns="0" rtlCol="0" anchor="b">
            <a:spAutoFit/>
          </a:bodyPr>
          <a:lstStyle/>
          <a:p>
            <a:r>
              <a:rPr lang="en-IN">
                <a:solidFill>
                  <a:schemeClr val="bg1"/>
                </a:solidFill>
              </a:rPr>
              <a:t>Reports </a:t>
            </a:r>
          </a:p>
        </p:txBody>
      </p:sp>
      <p:sp>
        <p:nvSpPr>
          <p:cNvPr id="14" name="Rectangle: Rounded Corners 13">
            <a:extLst>
              <a:ext uri="{FF2B5EF4-FFF2-40B4-BE49-F238E27FC236}">
                <a16:creationId xmlns:a16="http://schemas.microsoft.com/office/drawing/2014/main" id="{BD4FAFF5-BDE9-F2C0-B75D-C6BED8ACFA0A}"/>
              </a:ext>
              <a:ext uri="{C183D7F6-B498-43B3-948B-1728B52AA6E4}">
                <adec:decorative xmlns:adec="http://schemas.microsoft.com/office/drawing/2017/decorative" val="1"/>
              </a:ext>
            </a:extLst>
          </p:cNvPr>
          <p:cNvSpPr>
            <a:spLocks/>
          </p:cNvSpPr>
          <p:nvPr/>
        </p:nvSpPr>
        <p:spPr bwMode="auto">
          <a:xfrm>
            <a:off x="582612" y="267935"/>
            <a:ext cx="11026776" cy="6318956"/>
          </a:xfrm>
          <a:prstGeom prst="roundRect">
            <a:avLst>
              <a:gd name="adj" fmla="val 2582"/>
            </a:avLst>
          </a:prstGeom>
          <a:noFill/>
          <a:ln w="12700" cap="rnd">
            <a:gradFill flip="none" rotWithShape="1">
              <a:gsLst>
                <a:gs pos="0">
                  <a:srgbClr val="F65567"/>
                </a:gs>
                <a:gs pos="32000">
                  <a:srgbClr val="AC35AF"/>
                </a:gs>
                <a:gs pos="6800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52000" tIns="146304" rIns="25200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mn-cs"/>
            </a:endParaRPr>
          </a:p>
        </p:txBody>
      </p:sp>
      <p:sp>
        <p:nvSpPr>
          <p:cNvPr id="11" name="Title 8">
            <a:extLst>
              <a:ext uri="{FF2B5EF4-FFF2-40B4-BE49-F238E27FC236}">
                <a16:creationId xmlns:a16="http://schemas.microsoft.com/office/drawing/2014/main" id="{E41C6362-F4A3-FD4C-E5B9-D70FA5148E90}"/>
              </a:ext>
              <a:ext uri="{C183D7F6-B498-43B3-948B-1728B52AA6E4}">
                <adec:decorative xmlns:adec="http://schemas.microsoft.com/office/drawing/2017/decorative" val="1"/>
              </a:ext>
            </a:extLst>
          </p:cNvPr>
          <p:cNvSpPr>
            <a:spLocks/>
          </p:cNvSpPr>
          <p:nvPr/>
        </p:nvSpPr>
        <p:spPr bwMode="auto">
          <a:xfrm>
            <a:off x="718744" y="6031965"/>
            <a:ext cx="10754511" cy="423327"/>
          </a:xfrm>
          <a:prstGeom prst="round2SameRect">
            <a:avLst>
              <a:gd name="adj1" fmla="val 0"/>
              <a:gd name="adj2" fmla="val 18201"/>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r>
              <a:rPr kumimoji="0" lang="en-US" sz="2000" b="1" i="0" u="none" strike="noStrike" kern="1200" cap="none" spc="0" normalizeH="0" baseline="0" noProof="0">
                <a:ln>
                  <a:noFill/>
                </a:ln>
                <a:solidFill>
                  <a:srgbClr val="FFFFFF"/>
                </a:solidFill>
                <a:effectLst/>
                <a:uLnTx/>
                <a:uFillTx/>
                <a:latin typeface="Segoe UI Semibold"/>
                <a:ea typeface="+mn-ea"/>
                <a:cs typeface="+mn-cs"/>
              </a:rPr>
              <a:t>DSPM for AI: Reports</a:t>
            </a:r>
          </a:p>
        </p:txBody>
      </p:sp>
    </p:spTree>
    <p:extLst>
      <p:ext uri="{BB962C8B-B14F-4D97-AF65-F5344CB8AC3E}">
        <p14:creationId xmlns:p14="http://schemas.microsoft.com/office/powerpoint/2010/main" val="14603338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2.08333E-7 -1.48148E-6 L 0.00013 -0.99514 " pathEditMode="relative" rAng="0" ptsTypes="AA">
                                      <p:cBhvr>
                                        <p:cTn id="6" dur="2000" fill="hold"/>
                                        <p:tgtEl>
                                          <p:spTgt spid="17"/>
                                        </p:tgtEl>
                                        <p:attrNameLst>
                                          <p:attrName>ppt_x</p:attrName>
                                          <p:attrName>ppt_y</p:attrName>
                                        </p:attrNameLst>
                                      </p:cBhvr>
                                      <p:rCtr x="0" y="-49769"/>
                                    </p:animMotion>
                                  </p:childTnLst>
                                </p:cTn>
                              </p:par>
                            </p:childTnLst>
                          </p:cTn>
                        </p:par>
                      </p:childTnLst>
                    </p:cTn>
                  </p:par>
                  <p:par>
                    <p:cTn id="7" fill="hold">
                      <p:stCondLst>
                        <p:cond delay="indefinite"/>
                      </p:stCondLst>
                      <p:childTnLst>
                        <p:par>
                          <p:cTn id="8" fill="hold">
                            <p:stCondLst>
                              <p:cond delay="0"/>
                            </p:stCondLst>
                            <p:childTnLst>
                              <p:par>
                                <p:cTn id="9" presetID="42" presetClass="path" presetSubtype="0" accel="50000" decel="50000" fill="hold" nodeType="clickEffect">
                                  <p:stCondLst>
                                    <p:cond delay="0"/>
                                  </p:stCondLst>
                                  <p:childTnLst>
                                    <p:animMotion origin="layout" path="M 0.00013 -0.99514 L 0.00013 -1.64699 " pathEditMode="relative" rAng="0" ptsTypes="AA">
                                      <p:cBhvr>
                                        <p:cTn id="10" dur="2000" fill="hold"/>
                                        <p:tgtEl>
                                          <p:spTgt spid="17"/>
                                        </p:tgtEl>
                                        <p:attrNameLst>
                                          <p:attrName>ppt_x</p:attrName>
                                          <p:attrName>ppt_y</p:attrName>
                                        </p:attrNameLst>
                                      </p:cBhvr>
                                      <p:rCtr x="0" y="-325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FA7D74-A3D7-8336-9A1F-C6F449D027D3}"/>
            </a:ext>
          </a:extLst>
        </p:cNvPr>
        <p:cNvGrpSpPr/>
        <p:nvPr/>
      </p:nvGrpSpPr>
      <p:grpSpPr>
        <a:xfrm>
          <a:off x="0" y="0"/>
          <a:ext cx="0" cy="0"/>
          <a:chOff x="0" y="0"/>
          <a:chExt cx="0" cy="0"/>
        </a:xfrm>
      </p:grpSpPr>
      <p:pic>
        <p:nvPicPr>
          <p:cNvPr id="2" name="Picture 1" descr="purview screenshot">
            <a:extLst>
              <a:ext uri="{FF2B5EF4-FFF2-40B4-BE49-F238E27FC236}">
                <a16:creationId xmlns:a16="http://schemas.microsoft.com/office/drawing/2014/main" id="{AB84F5C6-E98E-2BC9-A892-2B25DA43D561}"/>
              </a:ext>
            </a:extLst>
          </p:cNvPr>
          <p:cNvPicPr>
            <a:picLocks noChangeAspect="1"/>
          </p:cNvPicPr>
          <p:nvPr/>
        </p:nvPicPr>
        <p:blipFill>
          <a:blip r:embed="rId3"/>
          <a:stretch>
            <a:fillRect/>
          </a:stretch>
        </p:blipFill>
        <p:spPr>
          <a:xfrm>
            <a:off x="724778" y="409405"/>
            <a:ext cx="10760373" cy="6523285"/>
          </a:xfrm>
          <a:prstGeom prst="rect">
            <a:avLst/>
          </a:prstGeom>
        </p:spPr>
      </p:pic>
      <p:grpSp>
        <p:nvGrpSpPr>
          <p:cNvPr id="5" name="Group 4">
            <a:extLst>
              <a:ext uri="{FF2B5EF4-FFF2-40B4-BE49-F238E27FC236}">
                <a16:creationId xmlns:a16="http://schemas.microsoft.com/office/drawing/2014/main" id="{B84D8F35-1FAE-A706-29A3-563CD9974632}"/>
              </a:ext>
            </a:extLst>
          </p:cNvPr>
          <p:cNvGrpSpPr/>
          <p:nvPr/>
        </p:nvGrpSpPr>
        <p:grpSpPr>
          <a:xfrm>
            <a:off x="0" y="0"/>
            <a:ext cx="12192000" cy="6858000"/>
            <a:chOff x="0" y="0"/>
            <a:chExt cx="12192000" cy="6858000"/>
          </a:xfrm>
        </p:grpSpPr>
        <p:sp>
          <p:nvSpPr>
            <p:cNvPr id="6" name="Freeform 15">
              <a:extLst>
                <a:ext uri="{FF2B5EF4-FFF2-40B4-BE49-F238E27FC236}">
                  <a16:creationId xmlns:a16="http://schemas.microsoft.com/office/drawing/2014/main" id="{F7F5AA39-A967-A972-1B6D-800B73720183}"/>
                </a:ext>
                <a:ext uri="{C183D7F6-B498-43B3-948B-1728B52AA6E4}">
                  <adec:decorative xmlns:adec="http://schemas.microsoft.com/office/drawing/2017/decorative" val="1"/>
                </a:ext>
              </a:extLst>
            </p:cNvPr>
            <p:cNvSpPr/>
            <p:nvPr/>
          </p:nvSpPr>
          <p:spPr bwMode="auto">
            <a:xfrm>
              <a:off x="0" y="0"/>
              <a:ext cx="12192000" cy="6858000"/>
            </a:xfrm>
            <a:custGeom>
              <a:avLst/>
              <a:gdLst>
                <a:gd name="connsiteX0" fmla="*/ 812571 w 12192000"/>
                <a:gd name="connsiteY0" fmla="*/ 402708 h 6858000"/>
                <a:gd name="connsiteX1" fmla="*/ 718745 w 12192000"/>
                <a:gd name="connsiteY1" fmla="*/ 496534 h 6858000"/>
                <a:gd name="connsiteX2" fmla="*/ 718745 w 12192000"/>
                <a:gd name="connsiteY2" fmla="*/ 6358292 h 6858000"/>
                <a:gd name="connsiteX3" fmla="*/ 812571 w 12192000"/>
                <a:gd name="connsiteY3" fmla="*/ 6452118 h 6858000"/>
                <a:gd name="connsiteX4" fmla="*/ 11379429 w 12192000"/>
                <a:gd name="connsiteY4" fmla="*/ 6452118 h 6858000"/>
                <a:gd name="connsiteX5" fmla="*/ 11473255 w 12192000"/>
                <a:gd name="connsiteY5" fmla="*/ 6358292 h 6858000"/>
                <a:gd name="connsiteX6" fmla="*/ 11473255 w 12192000"/>
                <a:gd name="connsiteY6" fmla="*/ 496534 h 6858000"/>
                <a:gd name="connsiteX7" fmla="*/ 11379429 w 12192000"/>
                <a:gd name="connsiteY7" fmla="*/ 402708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12571" y="402708"/>
                  </a:moveTo>
                  <a:cubicBezTo>
                    <a:pt x="760752" y="402708"/>
                    <a:pt x="718745" y="444715"/>
                    <a:pt x="718745" y="496534"/>
                  </a:cubicBezTo>
                  <a:lnTo>
                    <a:pt x="718745" y="6358292"/>
                  </a:lnTo>
                  <a:cubicBezTo>
                    <a:pt x="718745" y="6410111"/>
                    <a:pt x="760752" y="6452118"/>
                    <a:pt x="812571" y="6452118"/>
                  </a:cubicBezTo>
                  <a:lnTo>
                    <a:pt x="11379429" y="6452118"/>
                  </a:lnTo>
                  <a:cubicBezTo>
                    <a:pt x="11431248" y="6452118"/>
                    <a:pt x="11473255" y="6410111"/>
                    <a:pt x="11473255" y="6358292"/>
                  </a:cubicBezTo>
                  <a:lnTo>
                    <a:pt x="11473255" y="496534"/>
                  </a:lnTo>
                  <a:cubicBezTo>
                    <a:pt x="11473255" y="444715"/>
                    <a:pt x="11431248" y="402708"/>
                    <a:pt x="11379429" y="402708"/>
                  </a:cubicBezTo>
                  <a:close/>
                  <a:moveTo>
                    <a:pt x="0" y="0"/>
                  </a:moveTo>
                  <a:lnTo>
                    <a:pt x="12192000" y="0"/>
                  </a:lnTo>
                  <a:lnTo>
                    <a:pt x="12192000" y="6858000"/>
                  </a:lnTo>
                  <a:lnTo>
                    <a:pt x="0" y="6858000"/>
                  </a:lnTo>
                  <a:close/>
                </a:path>
              </a:pathLst>
            </a:custGeom>
            <a:gradFill>
              <a:gsLst>
                <a:gs pos="2000">
                  <a:srgbClr val="0179D4"/>
                </a:gs>
                <a:gs pos="32000">
                  <a:srgbClr val="2CB6FF"/>
                </a:gs>
                <a:gs pos="44000">
                  <a:srgbClr val="2DB6FF"/>
                </a:gs>
                <a:gs pos="81000">
                  <a:srgbClr val="D962FA"/>
                </a:gs>
                <a:gs pos="96000">
                  <a:srgbClr val="F69991"/>
                </a:gs>
              </a:gsLst>
              <a:lin ang="3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7" name="Freeform 15">
              <a:extLst>
                <a:ext uri="{FF2B5EF4-FFF2-40B4-BE49-F238E27FC236}">
                  <a16:creationId xmlns:a16="http://schemas.microsoft.com/office/drawing/2014/main" id="{6F405AC9-2707-86A3-5196-57FC14F0F6B0}"/>
                </a:ext>
                <a:ext uri="{C183D7F6-B498-43B3-948B-1728B52AA6E4}">
                  <adec:decorative xmlns:adec="http://schemas.microsoft.com/office/drawing/2017/decorative" val="1"/>
                </a:ext>
              </a:extLst>
            </p:cNvPr>
            <p:cNvSpPr/>
            <p:nvPr/>
          </p:nvSpPr>
          <p:spPr bwMode="auto">
            <a:xfrm>
              <a:off x="0" y="0"/>
              <a:ext cx="12192000" cy="6858000"/>
            </a:xfrm>
            <a:custGeom>
              <a:avLst/>
              <a:gdLst>
                <a:gd name="connsiteX0" fmla="*/ 812571 w 12192000"/>
                <a:gd name="connsiteY0" fmla="*/ 402708 h 6858000"/>
                <a:gd name="connsiteX1" fmla="*/ 718745 w 12192000"/>
                <a:gd name="connsiteY1" fmla="*/ 496534 h 6858000"/>
                <a:gd name="connsiteX2" fmla="*/ 718745 w 12192000"/>
                <a:gd name="connsiteY2" fmla="*/ 6358292 h 6858000"/>
                <a:gd name="connsiteX3" fmla="*/ 812571 w 12192000"/>
                <a:gd name="connsiteY3" fmla="*/ 6452118 h 6858000"/>
                <a:gd name="connsiteX4" fmla="*/ 11379429 w 12192000"/>
                <a:gd name="connsiteY4" fmla="*/ 6452118 h 6858000"/>
                <a:gd name="connsiteX5" fmla="*/ 11473255 w 12192000"/>
                <a:gd name="connsiteY5" fmla="*/ 6358292 h 6858000"/>
                <a:gd name="connsiteX6" fmla="*/ 11473255 w 12192000"/>
                <a:gd name="connsiteY6" fmla="*/ 496534 h 6858000"/>
                <a:gd name="connsiteX7" fmla="*/ 11379429 w 12192000"/>
                <a:gd name="connsiteY7" fmla="*/ 402708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12571" y="402708"/>
                  </a:moveTo>
                  <a:cubicBezTo>
                    <a:pt x="760752" y="402708"/>
                    <a:pt x="718745" y="444715"/>
                    <a:pt x="718745" y="496534"/>
                  </a:cubicBezTo>
                  <a:lnTo>
                    <a:pt x="718745" y="6358292"/>
                  </a:lnTo>
                  <a:cubicBezTo>
                    <a:pt x="718745" y="6410111"/>
                    <a:pt x="760752" y="6452118"/>
                    <a:pt x="812571" y="6452118"/>
                  </a:cubicBezTo>
                  <a:lnTo>
                    <a:pt x="11379429" y="6452118"/>
                  </a:lnTo>
                  <a:cubicBezTo>
                    <a:pt x="11431248" y="6452118"/>
                    <a:pt x="11473255" y="6410111"/>
                    <a:pt x="11473255" y="6358292"/>
                  </a:cubicBezTo>
                  <a:lnTo>
                    <a:pt x="11473255" y="496534"/>
                  </a:lnTo>
                  <a:cubicBezTo>
                    <a:pt x="11473255" y="444715"/>
                    <a:pt x="11431248" y="402708"/>
                    <a:pt x="11379429" y="402708"/>
                  </a:cubicBezTo>
                  <a:close/>
                  <a:moveTo>
                    <a:pt x="0" y="0"/>
                  </a:moveTo>
                  <a:lnTo>
                    <a:pt x="12192000" y="0"/>
                  </a:lnTo>
                  <a:lnTo>
                    <a:pt x="12192000" y="6858000"/>
                  </a:lnTo>
                  <a:lnTo>
                    <a:pt x="0" y="6858000"/>
                  </a:lnTo>
                  <a:close/>
                </a:path>
              </a:pathLst>
            </a:cu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grpSp>
      <p:sp>
        <p:nvSpPr>
          <p:cNvPr id="23" name="Title 22">
            <a:extLst>
              <a:ext uri="{FF2B5EF4-FFF2-40B4-BE49-F238E27FC236}">
                <a16:creationId xmlns:a16="http://schemas.microsoft.com/office/drawing/2014/main" id="{290E2F36-F7DD-DF2C-F167-1B9E74981F53}"/>
              </a:ext>
            </a:extLst>
          </p:cNvPr>
          <p:cNvSpPr>
            <a:spLocks noGrp="1"/>
          </p:cNvSpPr>
          <p:nvPr>
            <p:ph type="title" idx="4294967295"/>
          </p:nvPr>
        </p:nvSpPr>
        <p:spPr>
          <a:xfrm>
            <a:off x="588263" y="-553998"/>
            <a:ext cx="11018520" cy="553998"/>
          </a:xfrm>
        </p:spPr>
        <p:txBody>
          <a:bodyPr vert="horz" wrap="square" lIns="0" tIns="0" rIns="0" bIns="0" rtlCol="0" anchor="b">
            <a:spAutoFit/>
          </a:bodyPr>
          <a:lstStyle/>
          <a:p>
            <a:r>
              <a:rPr lang="en-IN">
                <a:solidFill>
                  <a:schemeClr val="bg1"/>
                </a:solidFill>
              </a:rPr>
              <a:t>Microsoft Purview</a:t>
            </a:r>
          </a:p>
        </p:txBody>
      </p:sp>
      <p:sp>
        <p:nvSpPr>
          <p:cNvPr id="11" name="Rectangle: Rounded Corners 10">
            <a:extLst>
              <a:ext uri="{FF2B5EF4-FFF2-40B4-BE49-F238E27FC236}">
                <a16:creationId xmlns:a16="http://schemas.microsoft.com/office/drawing/2014/main" id="{BB3B623B-58AA-9A9C-C759-3F3CB95090F1}"/>
              </a:ext>
              <a:ext uri="{C183D7F6-B498-43B3-948B-1728B52AA6E4}">
                <adec:decorative xmlns:adec="http://schemas.microsoft.com/office/drawing/2017/decorative" val="1"/>
              </a:ext>
            </a:extLst>
          </p:cNvPr>
          <p:cNvSpPr>
            <a:spLocks/>
          </p:cNvSpPr>
          <p:nvPr/>
        </p:nvSpPr>
        <p:spPr bwMode="auto">
          <a:xfrm>
            <a:off x="582612" y="267935"/>
            <a:ext cx="11026776" cy="6318956"/>
          </a:xfrm>
          <a:prstGeom prst="roundRect">
            <a:avLst>
              <a:gd name="adj" fmla="val 2582"/>
            </a:avLst>
          </a:prstGeom>
          <a:noFill/>
          <a:ln w="12700" cap="rnd">
            <a:gradFill flip="none" rotWithShape="1">
              <a:gsLst>
                <a:gs pos="0">
                  <a:srgbClr val="F65567"/>
                </a:gs>
                <a:gs pos="32000">
                  <a:srgbClr val="AC35AF"/>
                </a:gs>
                <a:gs pos="6800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52000" tIns="146304" rIns="25200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mn-cs"/>
            </a:endParaRPr>
          </a:p>
        </p:txBody>
      </p:sp>
      <p:sp>
        <p:nvSpPr>
          <p:cNvPr id="3" name="Title 8">
            <a:extLst>
              <a:ext uri="{FF2B5EF4-FFF2-40B4-BE49-F238E27FC236}">
                <a16:creationId xmlns:a16="http://schemas.microsoft.com/office/drawing/2014/main" id="{4652CA23-0549-2F69-5531-712EB29F923A}"/>
              </a:ext>
              <a:ext uri="{C183D7F6-B498-43B3-948B-1728B52AA6E4}">
                <adec:decorative xmlns:adec="http://schemas.microsoft.com/office/drawing/2017/decorative" val="1"/>
              </a:ext>
            </a:extLst>
          </p:cNvPr>
          <p:cNvSpPr>
            <a:spLocks/>
          </p:cNvSpPr>
          <p:nvPr/>
        </p:nvSpPr>
        <p:spPr bwMode="auto">
          <a:xfrm>
            <a:off x="718744" y="6031965"/>
            <a:ext cx="10754511" cy="423327"/>
          </a:xfrm>
          <a:prstGeom prst="round2SameRect">
            <a:avLst>
              <a:gd name="adj1" fmla="val 0"/>
              <a:gd name="adj2" fmla="val 18201"/>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r>
              <a:rPr kumimoji="0" lang="en-US" sz="2000" b="1" i="0" u="none" strike="noStrike" kern="1200" cap="none" spc="0" normalizeH="0" baseline="0" noProof="0">
                <a:ln>
                  <a:noFill/>
                </a:ln>
                <a:solidFill>
                  <a:srgbClr val="FFFFFF"/>
                </a:solidFill>
                <a:effectLst/>
                <a:uLnTx/>
                <a:uFillTx/>
                <a:latin typeface="Segoe UI Semibold"/>
                <a:ea typeface="+mn-ea"/>
                <a:cs typeface="+mn-cs"/>
              </a:rPr>
              <a:t>DSPM for AI: Activity Explorer</a:t>
            </a:r>
          </a:p>
        </p:txBody>
      </p:sp>
      <p:sp>
        <p:nvSpPr>
          <p:cNvPr id="4" name="Rectangle 3">
            <a:extLst>
              <a:ext uri="{FF2B5EF4-FFF2-40B4-BE49-F238E27FC236}">
                <a16:creationId xmlns:a16="http://schemas.microsoft.com/office/drawing/2014/main" id="{0CF44A01-255E-2B6F-ACDA-0767D81C3461}"/>
              </a:ext>
            </a:extLst>
          </p:cNvPr>
          <p:cNvSpPr/>
          <p:nvPr/>
        </p:nvSpPr>
        <p:spPr>
          <a:xfrm>
            <a:off x="1824087" y="909686"/>
            <a:ext cx="311084" cy="152211"/>
          </a:xfrm>
          <a:prstGeom prst="rect">
            <a:avLst/>
          </a:prstGeom>
          <a:solidFill>
            <a:srgbClr val="004E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577804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45994-5977-A4D3-F0A4-1F95750B000F}"/>
            </a:ext>
          </a:extLst>
        </p:cNvPr>
        <p:cNvGrpSpPr/>
        <p:nvPr/>
      </p:nvGrpSpPr>
      <p:grpSpPr>
        <a:xfrm>
          <a:off x="0" y="0"/>
          <a:ext cx="0" cy="0"/>
          <a:chOff x="0" y="0"/>
          <a:chExt cx="0" cy="0"/>
        </a:xfrm>
      </p:grpSpPr>
      <p:sp>
        <p:nvSpPr>
          <p:cNvPr id="23" name="Title 22">
            <a:extLst>
              <a:ext uri="{FF2B5EF4-FFF2-40B4-BE49-F238E27FC236}">
                <a16:creationId xmlns:a16="http://schemas.microsoft.com/office/drawing/2014/main" id="{3B2F80A7-4F2D-7F09-37DB-98109EA9AE25}"/>
              </a:ext>
            </a:extLst>
          </p:cNvPr>
          <p:cNvSpPr>
            <a:spLocks noGrp="1"/>
          </p:cNvSpPr>
          <p:nvPr>
            <p:ph type="title" idx="4294967295"/>
          </p:nvPr>
        </p:nvSpPr>
        <p:spPr>
          <a:xfrm>
            <a:off x="588263" y="-553998"/>
            <a:ext cx="11018520" cy="553998"/>
          </a:xfrm>
        </p:spPr>
        <p:txBody>
          <a:bodyPr vert="horz" wrap="square" lIns="0" tIns="0" rIns="0" bIns="0" rtlCol="0" anchor="b">
            <a:spAutoFit/>
          </a:bodyPr>
          <a:lstStyle/>
          <a:p>
            <a:r>
              <a:rPr lang="en-IN">
                <a:solidFill>
                  <a:schemeClr val="bg1"/>
                </a:solidFill>
              </a:rPr>
              <a:t>Microsoft Purview</a:t>
            </a:r>
          </a:p>
        </p:txBody>
      </p:sp>
      <p:pic>
        <p:nvPicPr>
          <p:cNvPr id="7" name="Picture 6" descr="screenshot">
            <a:extLst>
              <a:ext uri="{FF2B5EF4-FFF2-40B4-BE49-F238E27FC236}">
                <a16:creationId xmlns:a16="http://schemas.microsoft.com/office/drawing/2014/main" id="{481F30CD-A8A4-E360-F3B2-9FF704FEE41F}"/>
              </a:ext>
            </a:extLst>
          </p:cNvPr>
          <p:cNvPicPr>
            <a:picLocks noChangeAspect="1"/>
          </p:cNvPicPr>
          <p:nvPr/>
        </p:nvPicPr>
        <p:blipFill>
          <a:blip r:embed="rId3"/>
          <a:stretch>
            <a:fillRect/>
          </a:stretch>
        </p:blipFill>
        <p:spPr>
          <a:xfrm>
            <a:off x="-9098235" y="-5782235"/>
            <a:ext cx="20574422" cy="12472878"/>
          </a:xfrm>
          <a:prstGeom prst="rect">
            <a:avLst/>
          </a:prstGeom>
        </p:spPr>
      </p:pic>
      <p:sp>
        <p:nvSpPr>
          <p:cNvPr id="2" name="Rectangle: Rounded Corners 28">
            <a:extLst>
              <a:ext uri="{FF2B5EF4-FFF2-40B4-BE49-F238E27FC236}">
                <a16:creationId xmlns:a16="http://schemas.microsoft.com/office/drawing/2014/main" id="{11DA1B6E-8D31-7F7B-4720-CC440E9A6FE8}"/>
              </a:ext>
              <a:ext uri="{C183D7F6-B498-43B3-948B-1728B52AA6E4}">
                <adec:decorative xmlns:adec="http://schemas.microsoft.com/office/drawing/2017/decorative" val="1"/>
              </a:ext>
            </a:extLst>
          </p:cNvPr>
          <p:cNvSpPr>
            <a:spLocks/>
          </p:cNvSpPr>
          <p:nvPr/>
        </p:nvSpPr>
        <p:spPr bwMode="auto">
          <a:xfrm>
            <a:off x="5818094" y="2653554"/>
            <a:ext cx="5334000" cy="3621740"/>
          </a:xfrm>
          <a:prstGeom prst="roundRect">
            <a:avLst>
              <a:gd name="adj" fmla="val 4786"/>
            </a:avLst>
          </a:prstGeom>
          <a:noFill/>
          <a:ln w="38100" cap="rnd">
            <a:gradFill>
              <a:gsLst>
                <a:gs pos="0">
                  <a:srgbClr val="FF5C39"/>
                </a:gs>
                <a:gs pos="32000">
                  <a:srgbClr val="C03BC4"/>
                </a:gs>
                <a:gs pos="68000">
                  <a:srgbClr val="0078D4"/>
                </a:gs>
                <a:gs pos="100000">
                  <a:srgbClr val="399A91"/>
                </a:gs>
              </a:gsLst>
              <a:lin ang="5400000" scaled="1"/>
            </a:gra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endParaRPr kumimoji="0" lang="en-GB" sz="800" b="1" i="0" u="none" strike="noStrike" kern="1200" cap="none" spc="0" normalizeH="0" baseline="0" noProof="0" err="1">
              <a:ln>
                <a:noFill/>
              </a:ln>
              <a:gradFill>
                <a:gsLst>
                  <a:gs pos="70629">
                    <a:srgbClr val="FFFFFF"/>
                  </a:gs>
                  <a:gs pos="48951">
                    <a:srgbClr val="FFFFFF"/>
                  </a:gs>
                </a:gsLst>
                <a:path path="circle">
                  <a:fillToRect l="100000" t="100000"/>
                </a:path>
              </a:gradFill>
              <a:effectLst/>
              <a:uLnTx/>
              <a:uFillTx/>
              <a:latin typeface="Segoe UI Semibold"/>
              <a:ea typeface="+mn-ea"/>
              <a:cs typeface="+mn-cs"/>
            </a:endParaRPr>
          </a:p>
        </p:txBody>
      </p:sp>
      <p:sp>
        <p:nvSpPr>
          <p:cNvPr id="3" name="Title 8">
            <a:extLst>
              <a:ext uri="{FF2B5EF4-FFF2-40B4-BE49-F238E27FC236}">
                <a16:creationId xmlns:a16="http://schemas.microsoft.com/office/drawing/2014/main" id="{1795F9BE-1822-DF6A-89CA-F8A5274873AE}"/>
              </a:ext>
              <a:ext uri="{C183D7F6-B498-43B3-948B-1728B52AA6E4}">
                <adec:decorative xmlns:adec="http://schemas.microsoft.com/office/drawing/2017/decorative" val="1"/>
              </a:ext>
            </a:extLst>
          </p:cNvPr>
          <p:cNvSpPr>
            <a:spLocks/>
          </p:cNvSpPr>
          <p:nvPr/>
        </p:nvSpPr>
        <p:spPr bwMode="auto">
          <a:xfrm>
            <a:off x="718744" y="6031965"/>
            <a:ext cx="10754511" cy="423327"/>
          </a:xfrm>
          <a:prstGeom prst="round2SameRect">
            <a:avLst>
              <a:gd name="adj1" fmla="val 0"/>
              <a:gd name="adj2" fmla="val 18201"/>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r>
              <a:rPr kumimoji="0" lang="en-US" sz="2000" b="1" i="0" u="none" strike="noStrike" kern="1200" cap="none" spc="0" normalizeH="0" baseline="0" noProof="0">
                <a:ln>
                  <a:noFill/>
                </a:ln>
                <a:solidFill>
                  <a:srgbClr val="FFFFFF"/>
                </a:solidFill>
                <a:effectLst/>
                <a:uLnTx/>
                <a:uFillTx/>
                <a:latin typeface="Segoe UI Semibold"/>
                <a:ea typeface="+mn-ea"/>
                <a:cs typeface="+mn-cs"/>
              </a:rPr>
              <a:t>DSPM for AI: Activity Explorer</a:t>
            </a:r>
          </a:p>
        </p:txBody>
      </p:sp>
      <p:grpSp>
        <p:nvGrpSpPr>
          <p:cNvPr id="4" name="Group 3">
            <a:extLst>
              <a:ext uri="{FF2B5EF4-FFF2-40B4-BE49-F238E27FC236}">
                <a16:creationId xmlns:a16="http://schemas.microsoft.com/office/drawing/2014/main" id="{D7BC1577-A3C5-77FA-3F2A-A336FA025CD6}"/>
              </a:ext>
            </a:extLst>
          </p:cNvPr>
          <p:cNvGrpSpPr/>
          <p:nvPr/>
        </p:nvGrpSpPr>
        <p:grpSpPr>
          <a:xfrm>
            <a:off x="0" y="0"/>
            <a:ext cx="12192000" cy="6858000"/>
            <a:chOff x="0" y="0"/>
            <a:chExt cx="12192000" cy="6858000"/>
          </a:xfrm>
        </p:grpSpPr>
        <p:sp>
          <p:nvSpPr>
            <p:cNvPr id="5" name="Freeform 15">
              <a:extLst>
                <a:ext uri="{FF2B5EF4-FFF2-40B4-BE49-F238E27FC236}">
                  <a16:creationId xmlns:a16="http://schemas.microsoft.com/office/drawing/2014/main" id="{8D40A9AA-6CBA-E66D-CEE5-4E7959477AD4}"/>
                </a:ext>
                <a:ext uri="{C183D7F6-B498-43B3-948B-1728B52AA6E4}">
                  <adec:decorative xmlns:adec="http://schemas.microsoft.com/office/drawing/2017/decorative" val="1"/>
                </a:ext>
              </a:extLst>
            </p:cNvPr>
            <p:cNvSpPr/>
            <p:nvPr/>
          </p:nvSpPr>
          <p:spPr bwMode="auto">
            <a:xfrm>
              <a:off x="0" y="0"/>
              <a:ext cx="12192000" cy="6858000"/>
            </a:xfrm>
            <a:custGeom>
              <a:avLst/>
              <a:gdLst>
                <a:gd name="connsiteX0" fmla="*/ 812571 w 12192000"/>
                <a:gd name="connsiteY0" fmla="*/ 402708 h 6858000"/>
                <a:gd name="connsiteX1" fmla="*/ 718745 w 12192000"/>
                <a:gd name="connsiteY1" fmla="*/ 496534 h 6858000"/>
                <a:gd name="connsiteX2" fmla="*/ 718745 w 12192000"/>
                <a:gd name="connsiteY2" fmla="*/ 6358292 h 6858000"/>
                <a:gd name="connsiteX3" fmla="*/ 812571 w 12192000"/>
                <a:gd name="connsiteY3" fmla="*/ 6452118 h 6858000"/>
                <a:gd name="connsiteX4" fmla="*/ 11379429 w 12192000"/>
                <a:gd name="connsiteY4" fmla="*/ 6452118 h 6858000"/>
                <a:gd name="connsiteX5" fmla="*/ 11473255 w 12192000"/>
                <a:gd name="connsiteY5" fmla="*/ 6358292 h 6858000"/>
                <a:gd name="connsiteX6" fmla="*/ 11473255 w 12192000"/>
                <a:gd name="connsiteY6" fmla="*/ 496534 h 6858000"/>
                <a:gd name="connsiteX7" fmla="*/ 11379429 w 12192000"/>
                <a:gd name="connsiteY7" fmla="*/ 402708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12571" y="402708"/>
                  </a:moveTo>
                  <a:cubicBezTo>
                    <a:pt x="760752" y="402708"/>
                    <a:pt x="718745" y="444715"/>
                    <a:pt x="718745" y="496534"/>
                  </a:cubicBezTo>
                  <a:lnTo>
                    <a:pt x="718745" y="6358292"/>
                  </a:lnTo>
                  <a:cubicBezTo>
                    <a:pt x="718745" y="6410111"/>
                    <a:pt x="760752" y="6452118"/>
                    <a:pt x="812571" y="6452118"/>
                  </a:cubicBezTo>
                  <a:lnTo>
                    <a:pt x="11379429" y="6452118"/>
                  </a:lnTo>
                  <a:cubicBezTo>
                    <a:pt x="11431248" y="6452118"/>
                    <a:pt x="11473255" y="6410111"/>
                    <a:pt x="11473255" y="6358292"/>
                  </a:cubicBezTo>
                  <a:lnTo>
                    <a:pt x="11473255" y="496534"/>
                  </a:lnTo>
                  <a:cubicBezTo>
                    <a:pt x="11473255" y="444715"/>
                    <a:pt x="11431248" y="402708"/>
                    <a:pt x="11379429" y="402708"/>
                  </a:cubicBezTo>
                  <a:close/>
                  <a:moveTo>
                    <a:pt x="0" y="0"/>
                  </a:moveTo>
                  <a:lnTo>
                    <a:pt x="12192000" y="0"/>
                  </a:lnTo>
                  <a:lnTo>
                    <a:pt x="12192000" y="6858000"/>
                  </a:lnTo>
                  <a:lnTo>
                    <a:pt x="0" y="6858000"/>
                  </a:lnTo>
                  <a:close/>
                </a:path>
              </a:pathLst>
            </a:custGeom>
            <a:gradFill>
              <a:gsLst>
                <a:gs pos="2000">
                  <a:srgbClr val="0179D4"/>
                </a:gs>
                <a:gs pos="32000">
                  <a:srgbClr val="2CB6FF"/>
                </a:gs>
                <a:gs pos="44000">
                  <a:srgbClr val="2DB6FF"/>
                </a:gs>
                <a:gs pos="81000">
                  <a:srgbClr val="D962FA"/>
                </a:gs>
                <a:gs pos="96000">
                  <a:srgbClr val="F69991"/>
                </a:gs>
              </a:gsLst>
              <a:lin ang="3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6" name="Freeform 15">
              <a:extLst>
                <a:ext uri="{FF2B5EF4-FFF2-40B4-BE49-F238E27FC236}">
                  <a16:creationId xmlns:a16="http://schemas.microsoft.com/office/drawing/2014/main" id="{A198EB4E-46CC-FF8D-33F1-5A6CB62BD8EB}"/>
                </a:ext>
                <a:ext uri="{C183D7F6-B498-43B3-948B-1728B52AA6E4}">
                  <adec:decorative xmlns:adec="http://schemas.microsoft.com/office/drawing/2017/decorative" val="1"/>
                </a:ext>
              </a:extLst>
            </p:cNvPr>
            <p:cNvSpPr/>
            <p:nvPr/>
          </p:nvSpPr>
          <p:spPr bwMode="auto">
            <a:xfrm>
              <a:off x="0" y="0"/>
              <a:ext cx="12192000" cy="6858000"/>
            </a:xfrm>
            <a:custGeom>
              <a:avLst/>
              <a:gdLst>
                <a:gd name="connsiteX0" fmla="*/ 812571 w 12192000"/>
                <a:gd name="connsiteY0" fmla="*/ 402708 h 6858000"/>
                <a:gd name="connsiteX1" fmla="*/ 718745 w 12192000"/>
                <a:gd name="connsiteY1" fmla="*/ 496534 h 6858000"/>
                <a:gd name="connsiteX2" fmla="*/ 718745 w 12192000"/>
                <a:gd name="connsiteY2" fmla="*/ 6358292 h 6858000"/>
                <a:gd name="connsiteX3" fmla="*/ 812571 w 12192000"/>
                <a:gd name="connsiteY3" fmla="*/ 6452118 h 6858000"/>
                <a:gd name="connsiteX4" fmla="*/ 11379429 w 12192000"/>
                <a:gd name="connsiteY4" fmla="*/ 6452118 h 6858000"/>
                <a:gd name="connsiteX5" fmla="*/ 11473255 w 12192000"/>
                <a:gd name="connsiteY5" fmla="*/ 6358292 h 6858000"/>
                <a:gd name="connsiteX6" fmla="*/ 11473255 w 12192000"/>
                <a:gd name="connsiteY6" fmla="*/ 496534 h 6858000"/>
                <a:gd name="connsiteX7" fmla="*/ 11379429 w 12192000"/>
                <a:gd name="connsiteY7" fmla="*/ 402708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12571" y="402708"/>
                  </a:moveTo>
                  <a:cubicBezTo>
                    <a:pt x="760752" y="402708"/>
                    <a:pt x="718745" y="444715"/>
                    <a:pt x="718745" y="496534"/>
                  </a:cubicBezTo>
                  <a:lnTo>
                    <a:pt x="718745" y="6358292"/>
                  </a:lnTo>
                  <a:cubicBezTo>
                    <a:pt x="718745" y="6410111"/>
                    <a:pt x="760752" y="6452118"/>
                    <a:pt x="812571" y="6452118"/>
                  </a:cubicBezTo>
                  <a:lnTo>
                    <a:pt x="11379429" y="6452118"/>
                  </a:lnTo>
                  <a:cubicBezTo>
                    <a:pt x="11431248" y="6452118"/>
                    <a:pt x="11473255" y="6410111"/>
                    <a:pt x="11473255" y="6358292"/>
                  </a:cubicBezTo>
                  <a:lnTo>
                    <a:pt x="11473255" y="496534"/>
                  </a:lnTo>
                  <a:cubicBezTo>
                    <a:pt x="11473255" y="444715"/>
                    <a:pt x="11431248" y="402708"/>
                    <a:pt x="11379429" y="402708"/>
                  </a:cubicBezTo>
                  <a:close/>
                  <a:moveTo>
                    <a:pt x="0" y="0"/>
                  </a:moveTo>
                  <a:lnTo>
                    <a:pt x="12192000" y="0"/>
                  </a:lnTo>
                  <a:lnTo>
                    <a:pt x="12192000" y="6858000"/>
                  </a:lnTo>
                  <a:lnTo>
                    <a:pt x="0" y="6858000"/>
                  </a:lnTo>
                  <a:close/>
                </a:path>
              </a:pathLst>
            </a:cu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grpSp>
      <p:sp>
        <p:nvSpPr>
          <p:cNvPr id="8" name="Rectangle: Rounded Corners 7">
            <a:extLst>
              <a:ext uri="{FF2B5EF4-FFF2-40B4-BE49-F238E27FC236}">
                <a16:creationId xmlns:a16="http://schemas.microsoft.com/office/drawing/2014/main" id="{DD93147D-8E97-A938-368F-A00CDFB85100}"/>
              </a:ext>
              <a:ext uri="{C183D7F6-B498-43B3-948B-1728B52AA6E4}">
                <adec:decorative xmlns:adec="http://schemas.microsoft.com/office/drawing/2017/decorative" val="1"/>
              </a:ext>
            </a:extLst>
          </p:cNvPr>
          <p:cNvSpPr>
            <a:spLocks/>
          </p:cNvSpPr>
          <p:nvPr/>
        </p:nvSpPr>
        <p:spPr bwMode="auto">
          <a:xfrm>
            <a:off x="582612" y="267935"/>
            <a:ext cx="11026776" cy="6318956"/>
          </a:xfrm>
          <a:prstGeom prst="roundRect">
            <a:avLst>
              <a:gd name="adj" fmla="val 2582"/>
            </a:avLst>
          </a:prstGeom>
          <a:noFill/>
          <a:ln w="12700" cap="rnd">
            <a:gradFill flip="none" rotWithShape="1">
              <a:gsLst>
                <a:gs pos="0">
                  <a:srgbClr val="F65567"/>
                </a:gs>
                <a:gs pos="32000">
                  <a:srgbClr val="AC35AF"/>
                </a:gs>
                <a:gs pos="6800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52000" tIns="146304" rIns="25200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7910693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2EEF2A-5894-A8AF-442A-1BDBC9827C72}"/>
            </a:ext>
          </a:extLst>
        </p:cNvPr>
        <p:cNvGrpSpPr/>
        <p:nvPr/>
      </p:nvGrpSpPr>
      <p:grpSpPr>
        <a:xfrm>
          <a:off x="0" y="0"/>
          <a:ext cx="0" cy="0"/>
          <a:chOff x="0" y="0"/>
          <a:chExt cx="0" cy="0"/>
        </a:xfrm>
      </p:grpSpPr>
      <p:sp>
        <p:nvSpPr>
          <p:cNvPr id="23" name="Title 22">
            <a:extLst>
              <a:ext uri="{FF2B5EF4-FFF2-40B4-BE49-F238E27FC236}">
                <a16:creationId xmlns:a16="http://schemas.microsoft.com/office/drawing/2014/main" id="{4E89B945-BA08-2CF8-72C1-31092C5B53B1}"/>
              </a:ext>
            </a:extLst>
          </p:cNvPr>
          <p:cNvSpPr>
            <a:spLocks noGrp="1"/>
          </p:cNvSpPr>
          <p:nvPr>
            <p:ph type="title" idx="4294967295"/>
          </p:nvPr>
        </p:nvSpPr>
        <p:spPr>
          <a:xfrm>
            <a:off x="1174750" y="-554038"/>
            <a:ext cx="11017250" cy="554038"/>
          </a:xfrm>
        </p:spPr>
        <p:txBody>
          <a:bodyPr vert="horz" wrap="square" lIns="0" tIns="0" rIns="0" bIns="0" rtlCol="0" anchor="b">
            <a:spAutoFit/>
          </a:bodyPr>
          <a:lstStyle/>
          <a:p>
            <a:r>
              <a:rPr lang="en-IN">
                <a:solidFill>
                  <a:schemeClr val="bg1"/>
                </a:solidFill>
              </a:rPr>
              <a:t>Microsoft Purview</a:t>
            </a:r>
          </a:p>
        </p:txBody>
      </p:sp>
      <p:grpSp>
        <p:nvGrpSpPr>
          <p:cNvPr id="4" name="Group 3" descr="purview screenshot">
            <a:extLst>
              <a:ext uri="{FF2B5EF4-FFF2-40B4-BE49-F238E27FC236}">
                <a16:creationId xmlns:a16="http://schemas.microsoft.com/office/drawing/2014/main" id="{C1B0B1C1-A023-67B4-C2ED-562236D8C163}"/>
              </a:ext>
            </a:extLst>
          </p:cNvPr>
          <p:cNvGrpSpPr/>
          <p:nvPr/>
        </p:nvGrpSpPr>
        <p:grpSpPr>
          <a:xfrm>
            <a:off x="715462" y="402708"/>
            <a:ext cx="10757794" cy="6522320"/>
            <a:chOff x="715462" y="402708"/>
            <a:chExt cx="10757794" cy="6522320"/>
          </a:xfrm>
        </p:grpSpPr>
        <p:pic>
          <p:nvPicPr>
            <p:cNvPr id="6" name="Picture 5" descr="A screenshot of a computer&#10;&#10;Description automatically generated">
              <a:extLst>
                <a:ext uri="{FF2B5EF4-FFF2-40B4-BE49-F238E27FC236}">
                  <a16:creationId xmlns:a16="http://schemas.microsoft.com/office/drawing/2014/main" id="{689FAF80-A0E7-775E-9D5B-464B038171F0}"/>
                </a:ext>
              </a:extLst>
            </p:cNvPr>
            <p:cNvPicPr>
              <a:picLocks noChangeAspect="1"/>
            </p:cNvPicPr>
            <p:nvPr/>
          </p:nvPicPr>
          <p:blipFill>
            <a:blip r:embed="rId3">
              <a:extLst>
                <a:ext uri="{28A0092B-C50C-407E-A947-70E740481C1C}">
                  <a14:useLocalDpi xmlns:a14="http://schemas.microsoft.com/office/drawing/2010/main" val="0"/>
                </a:ext>
              </a:extLst>
            </a:blip>
            <a:srcRect b="93407"/>
            <a:stretch/>
          </p:blipFill>
          <p:spPr>
            <a:xfrm>
              <a:off x="718745" y="402708"/>
              <a:ext cx="10754511" cy="734114"/>
            </a:xfrm>
            <a:custGeom>
              <a:avLst/>
              <a:gdLst>
                <a:gd name="connsiteX0" fmla="*/ 79362 w 10754511"/>
                <a:gd name="connsiteY0" fmla="*/ 0 h 6049412"/>
                <a:gd name="connsiteX1" fmla="*/ 10675148 w 10754511"/>
                <a:gd name="connsiteY1" fmla="*/ 0 h 6049412"/>
                <a:gd name="connsiteX2" fmla="*/ 10706037 w 10754511"/>
                <a:gd name="connsiteY2" fmla="*/ 6236 h 6049412"/>
                <a:gd name="connsiteX3" fmla="*/ 10754511 w 10754511"/>
                <a:gd name="connsiteY3" fmla="*/ 79367 h 6049412"/>
                <a:gd name="connsiteX4" fmla="*/ 10754511 w 10754511"/>
                <a:gd name="connsiteY4" fmla="*/ 5970044 h 6049412"/>
                <a:gd name="connsiteX5" fmla="*/ 10675143 w 10754511"/>
                <a:gd name="connsiteY5" fmla="*/ 6049412 h 6049412"/>
                <a:gd name="connsiteX6" fmla="*/ 79367 w 10754511"/>
                <a:gd name="connsiteY6" fmla="*/ 6049412 h 6049412"/>
                <a:gd name="connsiteX7" fmla="*/ 6236 w 10754511"/>
                <a:gd name="connsiteY7" fmla="*/ 6000938 h 6049412"/>
                <a:gd name="connsiteX8" fmla="*/ 0 w 10754511"/>
                <a:gd name="connsiteY8" fmla="*/ 5970049 h 6049412"/>
                <a:gd name="connsiteX9" fmla="*/ 0 w 10754511"/>
                <a:gd name="connsiteY9" fmla="*/ 79362 h 6049412"/>
                <a:gd name="connsiteX10" fmla="*/ 6236 w 10754511"/>
                <a:gd name="connsiteY10" fmla="*/ 48473 h 6049412"/>
                <a:gd name="connsiteX11" fmla="*/ 48474 w 10754511"/>
                <a:gd name="connsiteY11" fmla="*/ 6236 h 604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54511" h="6049412">
                  <a:moveTo>
                    <a:pt x="79362" y="0"/>
                  </a:moveTo>
                  <a:lnTo>
                    <a:pt x="10675148" y="0"/>
                  </a:lnTo>
                  <a:lnTo>
                    <a:pt x="10706037" y="6236"/>
                  </a:lnTo>
                  <a:cubicBezTo>
                    <a:pt x="10734523" y="18285"/>
                    <a:pt x="10754511" y="46492"/>
                    <a:pt x="10754511" y="79367"/>
                  </a:cubicBezTo>
                  <a:lnTo>
                    <a:pt x="10754511" y="5970044"/>
                  </a:lnTo>
                  <a:cubicBezTo>
                    <a:pt x="10754511" y="6013878"/>
                    <a:pt x="10718977" y="6049412"/>
                    <a:pt x="10675143" y="6049412"/>
                  </a:cubicBezTo>
                  <a:lnTo>
                    <a:pt x="79367" y="6049412"/>
                  </a:lnTo>
                  <a:cubicBezTo>
                    <a:pt x="46492" y="6049412"/>
                    <a:pt x="18285" y="6029424"/>
                    <a:pt x="6236" y="6000938"/>
                  </a:cubicBezTo>
                  <a:lnTo>
                    <a:pt x="0" y="5970049"/>
                  </a:lnTo>
                  <a:lnTo>
                    <a:pt x="0" y="79362"/>
                  </a:lnTo>
                  <a:lnTo>
                    <a:pt x="6236" y="48473"/>
                  </a:lnTo>
                  <a:cubicBezTo>
                    <a:pt x="14269" y="29482"/>
                    <a:pt x="29483" y="14269"/>
                    <a:pt x="48474" y="6236"/>
                  </a:cubicBezTo>
                  <a:close/>
                </a:path>
              </a:pathLst>
            </a:custGeom>
          </p:spPr>
        </p:pic>
        <p:pic>
          <p:nvPicPr>
            <p:cNvPr id="3" name="Picture 2">
              <a:extLst>
                <a:ext uri="{FF2B5EF4-FFF2-40B4-BE49-F238E27FC236}">
                  <a16:creationId xmlns:a16="http://schemas.microsoft.com/office/drawing/2014/main" id="{D1E3612B-D1F3-9099-ECA7-6ED37441924A}"/>
                </a:ext>
              </a:extLst>
            </p:cNvPr>
            <p:cNvPicPr>
              <a:picLocks noChangeAspect="1"/>
            </p:cNvPicPr>
            <p:nvPr/>
          </p:nvPicPr>
          <p:blipFill>
            <a:blip r:embed="rId4"/>
            <a:srcRect/>
            <a:stretch/>
          </p:blipFill>
          <p:spPr>
            <a:xfrm>
              <a:off x="715462" y="1124212"/>
              <a:ext cx="10744119" cy="5800816"/>
            </a:xfrm>
            <a:prstGeom prst="rect">
              <a:avLst/>
            </a:prstGeom>
          </p:spPr>
        </p:pic>
      </p:grpSp>
      <p:sp>
        <p:nvSpPr>
          <p:cNvPr id="2" name="Rectangle: Rounded Corners 28">
            <a:extLst>
              <a:ext uri="{FF2B5EF4-FFF2-40B4-BE49-F238E27FC236}">
                <a16:creationId xmlns:a16="http://schemas.microsoft.com/office/drawing/2014/main" id="{ABDB875A-D519-271D-521E-8852141A9E13}"/>
              </a:ext>
              <a:ext uri="{C183D7F6-B498-43B3-948B-1728B52AA6E4}">
                <adec:decorative xmlns:adec="http://schemas.microsoft.com/office/drawing/2017/decorative" val="1"/>
              </a:ext>
            </a:extLst>
          </p:cNvPr>
          <p:cNvSpPr>
            <a:spLocks/>
          </p:cNvSpPr>
          <p:nvPr/>
        </p:nvSpPr>
        <p:spPr bwMode="auto">
          <a:xfrm>
            <a:off x="8562975" y="4810125"/>
            <a:ext cx="1271588" cy="342900"/>
          </a:xfrm>
          <a:prstGeom prst="roundRect">
            <a:avLst/>
          </a:prstGeom>
          <a:noFill/>
          <a:ln w="19050" cap="rnd">
            <a:gradFill>
              <a:gsLst>
                <a:gs pos="0">
                  <a:srgbClr val="FF5C39"/>
                </a:gs>
                <a:gs pos="32000">
                  <a:srgbClr val="C03BC4"/>
                </a:gs>
                <a:gs pos="68000">
                  <a:srgbClr val="0078D4"/>
                </a:gs>
                <a:gs pos="100000">
                  <a:srgbClr val="399A91"/>
                </a:gs>
              </a:gsLst>
              <a:lin ang="5400000" scaled="1"/>
            </a:gra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endParaRPr kumimoji="0" lang="en-GB" sz="800" b="1" i="0" u="none" strike="noStrike" kern="1200" cap="none" spc="0" normalizeH="0" baseline="0" noProof="0" err="1">
              <a:ln>
                <a:noFill/>
              </a:ln>
              <a:gradFill>
                <a:gsLst>
                  <a:gs pos="70629">
                    <a:srgbClr val="FFFFFF"/>
                  </a:gs>
                  <a:gs pos="48951">
                    <a:srgbClr val="FFFFFF"/>
                  </a:gs>
                </a:gsLst>
                <a:path path="circle">
                  <a:fillToRect l="100000" t="100000"/>
                </a:path>
              </a:gradFill>
              <a:effectLst/>
              <a:uLnTx/>
              <a:uFillTx/>
              <a:latin typeface="Segoe UI Semibold"/>
              <a:ea typeface="+mn-ea"/>
              <a:cs typeface="+mn-cs"/>
            </a:endParaRPr>
          </a:p>
        </p:txBody>
      </p:sp>
      <p:sp>
        <p:nvSpPr>
          <p:cNvPr id="7" name="Title 8">
            <a:extLst>
              <a:ext uri="{FF2B5EF4-FFF2-40B4-BE49-F238E27FC236}">
                <a16:creationId xmlns:a16="http://schemas.microsoft.com/office/drawing/2014/main" id="{C403C138-F1F7-A83B-0AF3-BA85B62B3FC9}"/>
              </a:ext>
              <a:ext uri="{C183D7F6-B498-43B3-948B-1728B52AA6E4}">
                <adec:decorative xmlns:adec="http://schemas.microsoft.com/office/drawing/2017/decorative" val="1"/>
              </a:ext>
            </a:extLst>
          </p:cNvPr>
          <p:cNvSpPr>
            <a:spLocks/>
          </p:cNvSpPr>
          <p:nvPr/>
        </p:nvSpPr>
        <p:spPr bwMode="auto">
          <a:xfrm>
            <a:off x="718744" y="6031965"/>
            <a:ext cx="10754511" cy="423327"/>
          </a:xfrm>
          <a:prstGeom prst="round2SameRect">
            <a:avLst>
              <a:gd name="adj1" fmla="val 0"/>
              <a:gd name="adj2" fmla="val 18201"/>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r>
              <a:rPr kumimoji="0" lang="en-US" sz="2000" b="1" i="0" u="none" strike="noStrike" kern="1200" cap="none" spc="0" normalizeH="0" baseline="0" noProof="0">
                <a:ln>
                  <a:noFill/>
                </a:ln>
                <a:solidFill>
                  <a:srgbClr val="FFFFFF"/>
                </a:solidFill>
                <a:effectLst/>
                <a:uLnTx/>
                <a:uFillTx/>
                <a:latin typeface="Segoe UI Semibold"/>
                <a:ea typeface="+mn-ea"/>
                <a:cs typeface="+mn-cs"/>
              </a:rPr>
              <a:t>DSPM for AI: Activity Explorer</a:t>
            </a:r>
          </a:p>
        </p:txBody>
      </p:sp>
      <p:sp>
        <p:nvSpPr>
          <p:cNvPr id="8" name="Rectangle 7">
            <a:extLst>
              <a:ext uri="{FF2B5EF4-FFF2-40B4-BE49-F238E27FC236}">
                <a16:creationId xmlns:a16="http://schemas.microsoft.com/office/drawing/2014/main" id="{A2303F36-BB15-C80B-B302-38E580D3C6FF}"/>
              </a:ext>
            </a:extLst>
          </p:cNvPr>
          <p:cNvSpPr/>
          <p:nvPr/>
        </p:nvSpPr>
        <p:spPr>
          <a:xfrm>
            <a:off x="1824087" y="904973"/>
            <a:ext cx="311084" cy="152211"/>
          </a:xfrm>
          <a:prstGeom prst="rect">
            <a:avLst/>
          </a:prstGeom>
          <a:solidFill>
            <a:srgbClr val="004E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3808151E-9D59-ADA7-C204-F9E189F0BA52}"/>
              </a:ext>
            </a:extLst>
          </p:cNvPr>
          <p:cNvGrpSpPr/>
          <p:nvPr/>
        </p:nvGrpSpPr>
        <p:grpSpPr>
          <a:xfrm>
            <a:off x="0" y="0"/>
            <a:ext cx="12192000" cy="6858000"/>
            <a:chOff x="0" y="0"/>
            <a:chExt cx="12192000" cy="6858000"/>
          </a:xfrm>
        </p:grpSpPr>
        <p:sp>
          <p:nvSpPr>
            <p:cNvPr id="9" name="Freeform 15">
              <a:extLst>
                <a:ext uri="{FF2B5EF4-FFF2-40B4-BE49-F238E27FC236}">
                  <a16:creationId xmlns:a16="http://schemas.microsoft.com/office/drawing/2014/main" id="{6C8862FF-7800-B345-527E-527D8EDB0EE3}"/>
                </a:ext>
                <a:ext uri="{C183D7F6-B498-43B3-948B-1728B52AA6E4}">
                  <adec:decorative xmlns:adec="http://schemas.microsoft.com/office/drawing/2017/decorative" val="1"/>
                </a:ext>
              </a:extLst>
            </p:cNvPr>
            <p:cNvSpPr/>
            <p:nvPr/>
          </p:nvSpPr>
          <p:spPr bwMode="auto">
            <a:xfrm>
              <a:off x="0" y="0"/>
              <a:ext cx="12192000" cy="6858000"/>
            </a:xfrm>
            <a:custGeom>
              <a:avLst/>
              <a:gdLst>
                <a:gd name="connsiteX0" fmla="*/ 812571 w 12192000"/>
                <a:gd name="connsiteY0" fmla="*/ 402708 h 6858000"/>
                <a:gd name="connsiteX1" fmla="*/ 718745 w 12192000"/>
                <a:gd name="connsiteY1" fmla="*/ 496534 h 6858000"/>
                <a:gd name="connsiteX2" fmla="*/ 718745 w 12192000"/>
                <a:gd name="connsiteY2" fmla="*/ 6358292 h 6858000"/>
                <a:gd name="connsiteX3" fmla="*/ 812571 w 12192000"/>
                <a:gd name="connsiteY3" fmla="*/ 6452118 h 6858000"/>
                <a:gd name="connsiteX4" fmla="*/ 11379429 w 12192000"/>
                <a:gd name="connsiteY4" fmla="*/ 6452118 h 6858000"/>
                <a:gd name="connsiteX5" fmla="*/ 11473255 w 12192000"/>
                <a:gd name="connsiteY5" fmla="*/ 6358292 h 6858000"/>
                <a:gd name="connsiteX6" fmla="*/ 11473255 w 12192000"/>
                <a:gd name="connsiteY6" fmla="*/ 496534 h 6858000"/>
                <a:gd name="connsiteX7" fmla="*/ 11379429 w 12192000"/>
                <a:gd name="connsiteY7" fmla="*/ 402708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12571" y="402708"/>
                  </a:moveTo>
                  <a:cubicBezTo>
                    <a:pt x="760752" y="402708"/>
                    <a:pt x="718745" y="444715"/>
                    <a:pt x="718745" y="496534"/>
                  </a:cubicBezTo>
                  <a:lnTo>
                    <a:pt x="718745" y="6358292"/>
                  </a:lnTo>
                  <a:cubicBezTo>
                    <a:pt x="718745" y="6410111"/>
                    <a:pt x="760752" y="6452118"/>
                    <a:pt x="812571" y="6452118"/>
                  </a:cubicBezTo>
                  <a:lnTo>
                    <a:pt x="11379429" y="6452118"/>
                  </a:lnTo>
                  <a:cubicBezTo>
                    <a:pt x="11431248" y="6452118"/>
                    <a:pt x="11473255" y="6410111"/>
                    <a:pt x="11473255" y="6358292"/>
                  </a:cubicBezTo>
                  <a:lnTo>
                    <a:pt x="11473255" y="496534"/>
                  </a:lnTo>
                  <a:cubicBezTo>
                    <a:pt x="11473255" y="444715"/>
                    <a:pt x="11431248" y="402708"/>
                    <a:pt x="11379429" y="402708"/>
                  </a:cubicBezTo>
                  <a:close/>
                  <a:moveTo>
                    <a:pt x="0" y="0"/>
                  </a:moveTo>
                  <a:lnTo>
                    <a:pt x="12192000" y="0"/>
                  </a:lnTo>
                  <a:lnTo>
                    <a:pt x="12192000" y="6858000"/>
                  </a:lnTo>
                  <a:lnTo>
                    <a:pt x="0" y="6858000"/>
                  </a:lnTo>
                  <a:close/>
                </a:path>
              </a:pathLst>
            </a:custGeom>
            <a:gradFill>
              <a:gsLst>
                <a:gs pos="2000">
                  <a:srgbClr val="0179D4"/>
                </a:gs>
                <a:gs pos="32000">
                  <a:srgbClr val="2CB6FF"/>
                </a:gs>
                <a:gs pos="44000">
                  <a:srgbClr val="2DB6FF"/>
                </a:gs>
                <a:gs pos="81000">
                  <a:srgbClr val="D962FA"/>
                </a:gs>
                <a:gs pos="96000">
                  <a:srgbClr val="F69991"/>
                </a:gs>
              </a:gsLst>
              <a:lin ang="3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10" name="Freeform 15">
              <a:extLst>
                <a:ext uri="{FF2B5EF4-FFF2-40B4-BE49-F238E27FC236}">
                  <a16:creationId xmlns:a16="http://schemas.microsoft.com/office/drawing/2014/main" id="{F22D87A0-B1D1-332F-72A6-09A698933AB0}"/>
                </a:ext>
                <a:ext uri="{C183D7F6-B498-43B3-948B-1728B52AA6E4}">
                  <adec:decorative xmlns:adec="http://schemas.microsoft.com/office/drawing/2017/decorative" val="1"/>
                </a:ext>
              </a:extLst>
            </p:cNvPr>
            <p:cNvSpPr/>
            <p:nvPr/>
          </p:nvSpPr>
          <p:spPr bwMode="auto">
            <a:xfrm>
              <a:off x="0" y="0"/>
              <a:ext cx="12192000" cy="6858000"/>
            </a:xfrm>
            <a:custGeom>
              <a:avLst/>
              <a:gdLst>
                <a:gd name="connsiteX0" fmla="*/ 812571 w 12192000"/>
                <a:gd name="connsiteY0" fmla="*/ 402708 h 6858000"/>
                <a:gd name="connsiteX1" fmla="*/ 718745 w 12192000"/>
                <a:gd name="connsiteY1" fmla="*/ 496534 h 6858000"/>
                <a:gd name="connsiteX2" fmla="*/ 718745 w 12192000"/>
                <a:gd name="connsiteY2" fmla="*/ 6358292 h 6858000"/>
                <a:gd name="connsiteX3" fmla="*/ 812571 w 12192000"/>
                <a:gd name="connsiteY3" fmla="*/ 6452118 h 6858000"/>
                <a:gd name="connsiteX4" fmla="*/ 11379429 w 12192000"/>
                <a:gd name="connsiteY4" fmla="*/ 6452118 h 6858000"/>
                <a:gd name="connsiteX5" fmla="*/ 11473255 w 12192000"/>
                <a:gd name="connsiteY5" fmla="*/ 6358292 h 6858000"/>
                <a:gd name="connsiteX6" fmla="*/ 11473255 w 12192000"/>
                <a:gd name="connsiteY6" fmla="*/ 496534 h 6858000"/>
                <a:gd name="connsiteX7" fmla="*/ 11379429 w 12192000"/>
                <a:gd name="connsiteY7" fmla="*/ 402708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12571" y="402708"/>
                  </a:moveTo>
                  <a:cubicBezTo>
                    <a:pt x="760752" y="402708"/>
                    <a:pt x="718745" y="444715"/>
                    <a:pt x="718745" y="496534"/>
                  </a:cubicBezTo>
                  <a:lnTo>
                    <a:pt x="718745" y="6358292"/>
                  </a:lnTo>
                  <a:cubicBezTo>
                    <a:pt x="718745" y="6410111"/>
                    <a:pt x="760752" y="6452118"/>
                    <a:pt x="812571" y="6452118"/>
                  </a:cubicBezTo>
                  <a:lnTo>
                    <a:pt x="11379429" y="6452118"/>
                  </a:lnTo>
                  <a:cubicBezTo>
                    <a:pt x="11431248" y="6452118"/>
                    <a:pt x="11473255" y="6410111"/>
                    <a:pt x="11473255" y="6358292"/>
                  </a:cubicBezTo>
                  <a:lnTo>
                    <a:pt x="11473255" y="496534"/>
                  </a:lnTo>
                  <a:cubicBezTo>
                    <a:pt x="11473255" y="444715"/>
                    <a:pt x="11431248" y="402708"/>
                    <a:pt x="11379429" y="402708"/>
                  </a:cubicBezTo>
                  <a:close/>
                  <a:moveTo>
                    <a:pt x="0" y="0"/>
                  </a:moveTo>
                  <a:lnTo>
                    <a:pt x="12192000" y="0"/>
                  </a:lnTo>
                  <a:lnTo>
                    <a:pt x="12192000" y="6858000"/>
                  </a:lnTo>
                  <a:lnTo>
                    <a:pt x="0" y="6858000"/>
                  </a:lnTo>
                  <a:close/>
                </a:path>
              </a:pathLst>
            </a:cu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grpSp>
      <p:sp>
        <p:nvSpPr>
          <p:cNvPr id="11" name="Rectangle: Rounded Corners 10">
            <a:extLst>
              <a:ext uri="{FF2B5EF4-FFF2-40B4-BE49-F238E27FC236}">
                <a16:creationId xmlns:a16="http://schemas.microsoft.com/office/drawing/2014/main" id="{18752538-2C74-775B-53F6-4E1B74812962}"/>
              </a:ext>
              <a:ext uri="{C183D7F6-B498-43B3-948B-1728B52AA6E4}">
                <adec:decorative xmlns:adec="http://schemas.microsoft.com/office/drawing/2017/decorative" val="1"/>
              </a:ext>
            </a:extLst>
          </p:cNvPr>
          <p:cNvSpPr>
            <a:spLocks/>
          </p:cNvSpPr>
          <p:nvPr/>
        </p:nvSpPr>
        <p:spPr bwMode="auto">
          <a:xfrm>
            <a:off x="582612" y="267935"/>
            <a:ext cx="11026776" cy="6318956"/>
          </a:xfrm>
          <a:prstGeom prst="roundRect">
            <a:avLst>
              <a:gd name="adj" fmla="val 2582"/>
            </a:avLst>
          </a:prstGeom>
          <a:noFill/>
          <a:ln w="12700" cap="rnd">
            <a:gradFill flip="none" rotWithShape="1">
              <a:gsLst>
                <a:gs pos="0">
                  <a:srgbClr val="F65567"/>
                </a:gs>
                <a:gs pos="32000">
                  <a:srgbClr val="AC35AF"/>
                </a:gs>
                <a:gs pos="6800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52000" tIns="146304" rIns="25200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988419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0C4A3C-62F0-2F9C-8BB0-741F3EF11E69}"/>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DA379AD2-5E83-19F8-BFDB-8A00D7B847A0}"/>
              </a:ext>
            </a:extLst>
          </p:cNvPr>
          <p:cNvSpPr>
            <a:spLocks noGrp="1"/>
          </p:cNvSpPr>
          <p:nvPr>
            <p:ph type="title"/>
          </p:nvPr>
        </p:nvSpPr>
        <p:spPr>
          <a:xfrm>
            <a:off x="586740" y="457200"/>
            <a:ext cx="11018520" cy="1107996"/>
          </a:xfrm>
        </p:spPr>
        <p:txBody>
          <a:bodyPr>
            <a:normAutofit/>
          </a:bodyPr>
          <a:lstStyle/>
          <a:p>
            <a:pPr algn="ctr"/>
            <a:r>
              <a:rPr lang="en-US"/>
              <a:t>Microsoft Purview: Deploy Copilot, faster</a:t>
            </a:r>
          </a:p>
        </p:txBody>
      </p:sp>
      <p:sp>
        <p:nvSpPr>
          <p:cNvPr id="2" name="Rectangle: Rounded Corners 28" descr="Timeline with 3 key dates:&#10;November 2023&#10;May 2024&#10;November 2024">
            <a:extLst>
              <a:ext uri="{FF2B5EF4-FFF2-40B4-BE49-F238E27FC236}">
                <a16:creationId xmlns:a16="http://schemas.microsoft.com/office/drawing/2014/main" id="{896E8B94-14C8-A836-89EC-0D9B2641E0A3}"/>
              </a:ext>
              <a:ext uri="{C183D7F6-B498-43B3-948B-1728B52AA6E4}">
                <adec:decorative xmlns:adec="http://schemas.microsoft.com/office/drawing/2017/decorative" val="0"/>
              </a:ext>
            </a:extLst>
          </p:cNvPr>
          <p:cNvSpPr>
            <a:spLocks/>
          </p:cNvSpPr>
          <p:nvPr/>
        </p:nvSpPr>
        <p:spPr bwMode="auto">
          <a:xfrm>
            <a:off x="339091" y="2036751"/>
            <a:ext cx="11513819" cy="204263"/>
          </a:xfrm>
          <a:prstGeom prst="roundRect">
            <a:avLst>
              <a:gd name="adj" fmla="val 50000"/>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endParaRPr kumimoji="0" lang="en-GB" sz="800" b="1" i="0" u="none" strike="noStrike" kern="1200" cap="none" spc="0" normalizeH="0" baseline="0" noProof="0" err="1">
              <a:ln>
                <a:noFill/>
              </a:ln>
              <a:gradFill>
                <a:gsLst>
                  <a:gs pos="70629">
                    <a:srgbClr val="FFFFFF"/>
                  </a:gs>
                  <a:gs pos="48951">
                    <a:srgbClr val="FFFFFF"/>
                  </a:gs>
                </a:gsLst>
                <a:path path="circle">
                  <a:fillToRect l="100000" t="100000"/>
                </a:path>
              </a:gradFill>
              <a:effectLst/>
              <a:uLnTx/>
              <a:uFillTx/>
              <a:latin typeface="Segoe UI Semibold"/>
              <a:ea typeface="+mn-ea"/>
              <a:cs typeface="+mn-cs"/>
            </a:endParaRPr>
          </a:p>
        </p:txBody>
      </p:sp>
      <p:sp>
        <p:nvSpPr>
          <p:cNvPr id="3" name="Rectangle 2">
            <a:extLst>
              <a:ext uri="{FF2B5EF4-FFF2-40B4-BE49-F238E27FC236}">
                <a16:creationId xmlns:a16="http://schemas.microsoft.com/office/drawing/2014/main" id="{554765B3-A3D9-AEED-8298-4786BBF98AE3}"/>
              </a:ext>
              <a:ext uri="{C183D7F6-B498-43B3-948B-1728B52AA6E4}">
                <adec:decorative xmlns:adec="http://schemas.microsoft.com/office/drawing/2017/decorative" val="1"/>
              </a:ext>
            </a:extLst>
          </p:cNvPr>
          <p:cNvSpPr/>
          <p:nvPr/>
        </p:nvSpPr>
        <p:spPr bwMode="auto">
          <a:xfrm>
            <a:off x="9222377" y="1240971"/>
            <a:ext cx="52252" cy="1343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EE3B9278-AB9D-3CF5-AF78-C6C7082D7E1A}"/>
              </a:ext>
              <a:ext uri="{C183D7F6-B498-43B3-948B-1728B52AA6E4}">
                <adec:decorative xmlns:adec="http://schemas.microsoft.com/office/drawing/2017/decorative" val="0"/>
              </a:ext>
            </a:extLst>
          </p:cNvPr>
          <p:cNvSpPr txBox="1">
            <a:spLocks/>
          </p:cNvSpPr>
          <p:nvPr/>
        </p:nvSpPr>
        <p:spPr>
          <a:xfrm>
            <a:off x="4829175" y="2636855"/>
            <a:ext cx="2543175" cy="579123"/>
          </a:xfrm>
          <a:prstGeom prst="roundRect">
            <a:avLst/>
          </a:prstGeom>
          <a:gradFill flip="none" rotWithShape="1">
            <a:gsLst>
              <a:gs pos="0">
                <a:srgbClr val="FF5C39"/>
              </a:gs>
              <a:gs pos="80000">
                <a:srgbClr val="C03BC4"/>
              </a:gs>
            </a:gsLst>
            <a:path path="circle">
              <a:fillToRect l="100000" t="100000"/>
            </a:path>
            <a:tileRect r="-100000" b="-100000"/>
          </a:gradFill>
          <a:ln w="63897" cap="flat">
            <a:noFill/>
            <a:prstDash val="solid"/>
            <a:miter/>
          </a:ln>
          <a:effectLst>
            <a:outerShdw blurRad="63500" dist="63500" dir="2700000" algn="tl" rotWithShape="0">
              <a:srgbClr val="000000">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14400">
              <a:defRPr sz="700">
                <a:solidFill>
                  <a:srgbClr val="FFFFFF"/>
                </a:solidFill>
                <a:latin typeface="Segoe UI"/>
              </a:defRPr>
            </a:lvl1pPr>
          </a:lstStyle>
          <a:p>
            <a:pPr marL="0" marR="0" lvl="0" indent="0" algn="ctr" defTabSz="914400" rtl="0" eaLnBrk="1" fontAlgn="auto" latinLnBrk="0" hangingPunct="1">
              <a:lnSpc>
                <a:spcPct val="100000"/>
              </a:lnSpc>
              <a:spcBef>
                <a:spcPts val="0"/>
              </a:spcBef>
              <a:spcAft>
                <a:spcPts val="0"/>
              </a:spcAft>
              <a:buClr>
                <a:srgbClr val="BFE8F6"/>
              </a:buClr>
              <a:buSzPts val="1000"/>
              <a:buFontTx/>
              <a:buNone/>
              <a:tabLst/>
              <a:defRPr/>
            </a:pPr>
            <a:r>
              <a:rPr kumimoji="0" lang="en-US" sz="2000" b="1" i="0" u="none" strike="noStrike" kern="1200" cap="none" spc="0" normalizeH="0" baseline="0" noProof="0">
                <a:ln>
                  <a:noFill/>
                </a:ln>
                <a:solidFill>
                  <a:schemeClr val="bg1"/>
                </a:solidFill>
                <a:effectLst/>
                <a:uLnTx/>
                <a:uFillTx/>
                <a:latin typeface="Segoe UI Semibold"/>
                <a:ea typeface="+mn-ea"/>
                <a:cs typeface="+mn-cs"/>
                <a:sym typeface="Helvetica Neue"/>
              </a:rPr>
              <a:t>November 2024</a:t>
            </a:r>
          </a:p>
        </p:txBody>
      </p:sp>
      <p:sp>
        <p:nvSpPr>
          <p:cNvPr id="13" name="Oval 10_1">
            <a:extLst>
              <a:ext uri="{FF2B5EF4-FFF2-40B4-BE49-F238E27FC236}">
                <a16:creationId xmlns:a16="http://schemas.microsoft.com/office/drawing/2014/main" id="{95DE5FC2-765B-0EA2-150B-02017043946F}"/>
              </a:ext>
              <a:ext uri="{C183D7F6-B498-43B3-948B-1728B52AA6E4}">
                <adec:decorative xmlns:adec="http://schemas.microsoft.com/office/drawing/2017/decorative" val="1"/>
              </a:ext>
            </a:extLst>
          </p:cNvPr>
          <p:cNvSpPr/>
          <p:nvPr/>
        </p:nvSpPr>
        <p:spPr>
          <a:xfrm>
            <a:off x="5781102" y="1825068"/>
            <a:ext cx="629794" cy="629794"/>
          </a:xfrm>
          <a:prstGeom prst="ellipse">
            <a:avLst/>
          </a:prstGeom>
          <a:solidFill>
            <a:schemeClr val="bg1"/>
          </a:solidFill>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14" name="Oval 13">
            <a:extLst>
              <a:ext uri="{FF2B5EF4-FFF2-40B4-BE49-F238E27FC236}">
                <a16:creationId xmlns:a16="http://schemas.microsoft.com/office/drawing/2014/main" id="{E94192E6-C7AE-E296-3163-1C1CB3F82CEF}"/>
              </a:ext>
              <a:ext uri="{C183D7F6-B498-43B3-948B-1728B52AA6E4}">
                <adec:decorative xmlns:adec="http://schemas.microsoft.com/office/drawing/2017/decorative" val="1"/>
              </a:ext>
            </a:extLst>
          </p:cNvPr>
          <p:cNvSpPr/>
          <p:nvPr/>
        </p:nvSpPr>
        <p:spPr>
          <a:xfrm>
            <a:off x="5969676" y="2013643"/>
            <a:ext cx="252645" cy="252645"/>
          </a:xfrm>
          <a:prstGeom prst="ellipse">
            <a:avLst/>
          </a:prstGeom>
          <a:gradFill flip="none" rotWithShape="1">
            <a:gsLst>
              <a:gs pos="0">
                <a:srgbClr val="FF5C39"/>
              </a:gs>
              <a:gs pos="80000">
                <a:srgbClr val="C03BC4"/>
              </a:gs>
            </a:gsLst>
            <a:path path="circle">
              <a:fillToRect l="100000" t="100000"/>
            </a:path>
            <a:tileRect r="-100000" b="-100000"/>
          </a:gra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BFE8F6"/>
              </a:buClr>
              <a:buSzPts val="1000"/>
              <a:buFontTx/>
              <a:buNone/>
              <a:tabLst/>
              <a:defRPr/>
            </a:pPr>
            <a:endParaRPr kumimoji="0" lang="en-US" sz="2000" b="1" i="0" u="none" strike="noStrike" kern="1200" cap="none" spc="0" normalizeH="0" baseline="0" noProof="0" err="1">
              <a:ln>
                <a:noFill/>
              </a:ln>
              <a:solidFill>
                <a:srgbClr val="FFFFFF"/>
              </a:solidFill>
              <a:effectLst/>
              <a:uLnTx/>
              <a:uFillTx/>
              <a:latin typeface="Segoe UI Semibold"/>
              <a:ea typeface="+mn-ea"/>
              <a:cs typeface="+mn-cs"/>
            </a:endParaRPr>
          </a:p>
        </p:txBody>
      </p:sp>
      <p:cxnSp>
        <p:nvCxnSpPr>
          <p:cNvPr id="19" name="!!line3">
            <a:extLst>
              <a:ext uri="{FF2B5EF4-FFF2-40B4-BE49-F238E27FC236}">
                <a16:creationId xmlns:a16="http://schemas.microsoft.com/office/drawing/2014/main" id="{D6ADA821-A7BF-3060-C84B-852259B43F9C}"/>
              </a:ext>
              <a:ext uri="{C183D7F6-B498-43B3-948B-1728B52AA6E4}">
                <adec:decorative xmlns:adec="http://schemas.microsoft.com/office/drawing/2017/decorative" val="1"/>
              </a:ext>
            </a:extLst>
          </p:cNvPr>
          <p:cNvCxnSpPr>
            <a:cxnSpLocks/>
          </p:cNvCxnSpPr>
          <p:nvPr/>
        </p:nvCxnSpPr>
        <p:spPr>
          <a:xfrm flipH="1">
            <a:off x="6095998" y="2266288"/>
            <a:ext cx="1" cy="285975"/>
          </a:xfrm>
          <a:prstGeom prst="line">
            <a:avLst/>
          </a:prstGeom>
          <a:ln cap="rnd">
            <a:solidFill>
              <a:schemeClr val="tx1">
                <a:alpha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175854DE-1563-782A-FFF2-F86436F6E26C}"/>
              </a:ext>
              <a:ext uri="{C183D7F6-B498-43B3-948B-1728B52AA6E4}">
                <adec:decorative xmlns:adec="http://schemas.microsoft.com/office/drawing/2017/decorative" val="1"/>
              </a:ext>
            </a:extLst>
          </p:cNvPr>
          <p:cNvSpPr/>
          <p:nvPr/>
        </p:nvSpPr>
        <p:spPr>
          <a:xfrm>
            <a:off x="6017563" y="2552263"/>
            <a:ext cx="156872" cy="156872"/>
          </a:xfrm>
          <a:prstGeom prst="ellipse">
            <a:avLst/>
          </a:prstGeom>
          <a:gradFill>
            <a:gsLst>
              <a:gs pos="0">
                <a:srgbClr val="FF5C39"/>
              </a:gs>
              <a:gs pos="80000">
                <a:srgbClr val="C03BC4"/>
              </a:gs>
            </a:gsLst>
            <a:path path="circle">
              <a:fillToRect l="100000" t="100000"/>
            </a:path>
          </a:gradFill>
          <a:ln w="47625" cap="flat">
            <a:solidFill>
              <a:schemeClr val="bg1"/>
            </a:solidFill>
            <a:prstDash val="solid"/>
            <a:miter/>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effectLst/>
              <a:uLnTx/>
              <a:uFillTx/>
              <a:latin typeface="Segoe UI Semibold"/>
              <a:ea typeface="+mn-ea"/>
              <a:cs typeface="Segoe UI" pitchFamily="34" charset="0"/>
            </a:endParaRPr>
          </a:p>
        </p:txBody>
      </p:sp>
      <p:grpSp>
        <p:nvGrpSpPr>
          <p:cNvPr id="5" name="Group 4">
            <a:extLst>
              <a:ext uri="{FF2B5EF4-FFF2-40B4-BE49-F238E27FC236}">
                <a16:creationId xmlns:a16="http://schemas.microsoft.com/office/drawing/2014/main" id="{21299051-23E4-9A79-807A-F86065821311}"/>
              </a:ext>
            </a:extLst>
          </p:cNvPr>
          <p:cNvGrpSpPr/>
          <p:nvPr/>
        </p:nvGrpSpPr>
        <p:grpSpPr>
          <a:xfrm>
            <a:off x="339091" y="3497638"/>
            <a:ext cx="1769894" cy="1039203"/>
            <a:chOff x="724424" y="3741265"/>
            <a:chExt cx="1769894" cy="1039203"/>
          </a:xfrm>
        </p:grpSpPr>
        <p:pic>
          <p:nvPicPr>
            <p:cNvPr id="6" name="Picture 5" descr="Microsoft Purview logo">
              <a:extLst>
                <a:ext uri="{FF2B5EF4-FFF2-40B4-BE49-F238E27FC236}">
                  <a16:creationId xmlns:a16="http://schemas.microsoft.com/office/drawing/2014/main" id="{82A934BC-12AA-FF75-AFE0-12802539EFB0}"/>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6475" y="3741265"/>
              <a:ext cx="665791" cy="665791"/>
            </a:xfrm>
            <a:prstGeom prst="rect">
              <a:avLst/>
            </a:prstGeom>
          </p:spPr>
        </p:pic>
        <p:sp>
          <p:nvSpPr>
            <p:cNvPr id="8" name="TextBox 7">
              <a:extLst>
                <a:ext uri="{FF2B5EF4-FFF2-40B4-BE49-F238E27FC236}">
                  <a16:creationId xmlns:a16="http://schemas.microsoft.com/office/drawing/2014/main" id="{3BABACAD-3AF0-767C-7C34-273C7389292A}"/>
                </a:ext>
                <a:ext uri="{C183D7F6-B498-43B3-948B-1728B52AA6E4}">
                  <adec:decorative xmlns:adec="http://schemas.microsoft.com/office/drawing/2017/decorative" val="0"/>
                </a:ext>
              </a:extLst>
            </p:cNvPr>
            <p:cNvSpPr txBox="1"/>
            <p:nvPr/>
          </p:nvSpPr>
          <p:spPr>
            <a:xfrm>
              <a:off x="724424" y="4472691"/>
              <a:ext cx="1769894"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30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a:ea typeface="+mn-ea"/>
                  <a:cs typeface="Segoe UI Semibold" panose="020B0702040204020203" pitchFamily="34" charset="0"/>
                </a:rPr>
                <a:t>DSPM for AI</a:t>
              </a:r>
            </a:p>
          </p:txBody>
        </p:sp>
      </p:grpSp>
      <p:graphicFrame>
        <p:nvGraphicFramePr>
          <p:cNvPr id="15" name="Table 14">
            <a:extLst>
              <a:ext uri="{FF2B5EF4-FFF2-40B4-BE49-F238E27FC236}">
                <a16:creationId xmlns:a16="http://schemas.microsoft.com/office/drawing/2014/main" id="{81A576EC-50F8-3DCF-7DEF-AF4B87BC6C67}"/>
              </a:ext>
            </a:extLst>
          </p:cNvPr>
          <p:cNvGraphicFramePr>
            <a:graphicFrameLocks noGrp="1"/>
          </p:cNvGraphicFramePr>
          <p:nvPr>
            <p:extLst>
              <p:ext uri="{D42A27DB-BD31-4B8C-83A1-F6EECF244321}">
                <p14:modId xmlns:p14="http://schemas.microsoft.com/office/powerpoint/2010/main" val="3512149594"/>
              </p:ext>
            </p:extLst>
          </p:nvPr>
        </p:nvGraphicFramePr>
        <p:xfrm>
          <a:off x="2352676" y="3497638"/>
          <a:ext cx="9144000" cy="2849880"/>
        </p:xfrm>
        <a:graphic>
          <a:graphicData uri="http://schemas.openxmlformats.org/drawingml/2006/table">
            <a:tbl>
              <a:tblPr firstRow="1" bandRow="1">
                <a:tableStyleId>{5C22544A-7EE6-4342-B048-85BDC9FD1C3A}</a:tableStyleId>
              </a:tblPr>
              <a:tblGrid>
                <a:gridCol w="5905499">
                  <a:extLst>
                    <a:ext uri="{9D8B030D-6E8A-4147-A177-3AD203B41FA5}">
                      <a16:colId xmlns:a16="http://schemas.microsoft.com/office/drawing/2014/main" val="2795189067"/>
                    </a:ext>
                  </a:extLst>
                </a:gridCol>
                <a:gridCol w="3238501">
                  <a:extLst>
                    <a:ext uri="{9D8B030D-6E8A-4147-A177-3AD203B41FA5}">
                      <a16:colId xmlns:a16="http://schemas.microsoft.com/office/drawing/2014/main" val="2873385886"/>
                    </a:ext>
                  </a:extLst>
                </a:gridCol>
              </a:tblGrid>
              <a:tr h="191890">
                <a:tc>
                  <a:txBody>
                    <a:bodyPr/>
                    <a:lstStyle/>
                    <a:p>
                      <a:r>
                        <a:rPr lang="en-US" sz="1600">
                          <a:solidFill>
                            <a:sysClr val="windowText" lastClr="000000"/>
                          </a:solidFill>
                        </a:rPr>
                        <a:t>I need …</a:t>
                      </a: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ysClr val="windowText" lastClr="000000"/>
                          </a:solidFill>
                        </a:rPr>
                        <a:t>Microsoft Purview</a:t>
                      </a: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9498682"/>
                  </a:ext>
                </a:extLst>
              </a:tr>
              <a:tr h="0">
                <a:tc>
                  <a:txBody>
                    <a:bodyPr/>
                    <a:lstStyle/>
                    <a:p>
                      <a:r>
                        <a:rPr lang="en-US" sz="1600">
                          <a:solidFill>
                            <a:sysClr val="windowText" lastClr="000000"/>
                          </a:solidFill>
                        </a:rPr>
                        <a:t>visibility into my oversharing risk posture</a:t>
                      </a:r>
                    </a:p>
                  </a:txBody>
                  <a:tcPr marT="182880" marB="182880">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600"/>
                        </a:spcBef>
                        <a:spcAft>
                          <a:spcPts val="0"/>
                        </a:spcAft>
                        <a:buClr>
                          <a:srgbClr val="FFFFFF"/>
                        </a:buClr>
                        <a:buSzTx/>
                        <a:buFont typeface="Arial" panose="020B0604020202020204" pitchFamily="34" charset="0"/>
                        <a:buNone/>
                        <a:tabLst/>
                        <a:defRPr/>
                      </a:pPr>
                      <a:r>
                        <a:rPr kumimoji="0" lang="en-US" sz="1600" b="0" i="0" u="none" strike="noStrike" kern="1200" cap="none" spc="0" normalizeH="0" baseline="0" noProof="0">
                          <a:ln>
                            <a:noFill/>
                          </a:ln>
                          <a:solidFill>
                            <a:schemeClr val="tx1"/>
                          </a:solidFill>
                          <a:effectLst/>
                          <a:uLnTx/>
                          <a:uFillTx/>
                          <a:latin typeface="Segoe UI"/>
                          <a:ea typeface="+mn-ea"/>
                          <a:cs typeface="+mn-cs"/>
                        </a:rPr>
                        <a:t>DSPM For AI: Oversharing risk assessments</a:t>
                      </a:r>
                    </a:p>
                  </a:txBody>
                  <a:tcPr marT="182880" marB="182880">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0278486"/>
                  </a:ext>
                </a:extLst>
              </a:tr>
              <a:tr h="299663">
                <a:tc>
                  <a:txBody>
                    <a:bodyPr/>
                    <a:lstStyle/>
                    <a:p>
                      <a:r>
                        <a:rPr lang="en-US" sz="1600">
                          <a:solidFill>
                            <a:sysClr val="windowText" lastClr="000000"/>
                          </a:solidFill>
                        </a:rPr>
                        <a:t>to block sensitive data from being used by Copilot</a:t>
                      </a:r>
                    </a:p>
                  </a:txBody>
                  <a:tcPr marB="18288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a:ea typeface="+mn-ea"/>
                          <a:cs typeface="+mn-cs"/>
                        </a:rPr>
                        <a:t>DLP for Copilot</a:t>
                      </a:r>
                    </a:p>
                  </a:txBody>
                  <a:tcPr marB="18288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9422776"/>
                  </a:ext>
                </a:extLst>
              </a:tr>
              <a:tr h="0">
                <a:tc>
                  <a:txBody>
                    <a:bodyPr/>
                    <a:lstStyle/>
                    <a:p>
                      <a:r>
                        <a:rPr lang="en-US" sz="1600">
                          <a:solidFill>
                            <a:sysClr val="windowText" lastClr="000000"/>
                          </a:solidFill>
                        </a:rPr>
                        <a:t>guidance on getting ready for AI</a:t>
                      </a:r>
                    </a:p>
                  </a:txBody>
                  <a:tcPr marB="18288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a:ea typeface="+mn-ea"/>
                          <a:cs typeface="+mn-cs"/>
                        </a:rPr>
                        <a:t>Deployment blueprint</a:t>
                      </a:r>
                    </a:p>
                  </a:txBody>
                  <a:tcPr marB="18288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9178518"/>
                  </a:ext>
                </a:extLst>
              </a:tr>
              <a:tr h="299663">
                <a:tc>
                  <a:txBody>
                    <a:bodyPr/>
                    <a:lstStyle/>
                    <a:p>
                      <a:r>
                        <a:rPr lang="en-US" sz="1600">
                          <a:solidFill>
                            <a:sysClr val="windowText" lastClr="000000"/>
                          </a:solidFill>
                        </a:rPr>
                        <a:t>ways to detect anomalous and risky AI usage and mitigate risks dynamically. </a:t>
                      </a:r>
                    </a:p>
                  </a:txBody>
                  <a:tcPr marB="18288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ysClr val="windowText" lastClr="000000"/>
                          </a:solidFill>
                        </a:rPr>
                        <a:t>Insider Risk Management</a:t>
                      </a:r>
                    </a:p>
                  </a:txBody>
                  <a:tcPr marB="18288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8878474"/>
                  </a:ext>
                </a:extLst>
              </a:tr>
            </a:tbl>
          </a:graphicData>
        </a:graphic>
      </p:graphicFrame>
      <p:grpSp>
        <p:nvGrpSpPr>
          <p:cNvPr id="4" name="Group 3">
            <a:extLst>
              <a:ext uri="{FF2B5EF4-FFF2-40B4-BE49-F238E27FC236}">
                <a16:creationId xmlns:a16="http://schemas.microsoft.com/office/drawing/2014/main" id="{F6220185-645B-87F4-39D9-AD87298ABCB6}"/>
              </a:ext>
              <a:ext uri="{C183D7F6-B498-43B3-948B-1728B52AA6E4}">
                <adec:decorative xmlns:adec="http://schemas.microsoft.com/office/drawing/2017/decorative" val="1"/>
              </a:ext>
            </a:extLst>
          </p:cNvPr>
          <p:cNvGrpSpPr/>
          <p:nvPr/>
        </p:nvGrpSpPr>
        <p:grpSpPr>
          <a:xfrm rot="5400000" flipH="1" flipV="1">
            <a:off x="11613493" y="2039427"/>
            <a:ext cx="149292" cy="198910"/>
            <a:chOff x="6667356" y="2954907"/>
            <a:chExt cx="594920" cy="721978"/>
          </a:xfrm>
          <a:solidFill>
            <a:schemeClr val="tx1"/>
          </a:solidFill>
        </p:grpSpPr>
        <p:sp>
          <p:nvSpPr>
            <p:cNvPr id="9" name="Graphic 9">
              <a:extLst>
                <a:ext uri="{FF2B5EF4-FFF2-40B4-BE49-F238E27FC236}">
                  <a16:creationId xmlns:a16="http://schemas.microsoft.com/office/drawing/2014/main" id="{647D57CD-538D-094E-5514-6FE40A650CFC}"/>
                </a:ext>
              </a:extLst>
            </p:cNvPr>
            <p:cNvSpPr/>
            <p:nvPr/>
          </p:nvSpPr>
          <p:spPr>
            <a:xfrm rot="5400000">
              <a:off x="6784802" y="2837461"/>
              <a:ext cx="360028" cy="594920"/>
            </a:xfrm>
            <a:custGeom>
              <a:avLst/>
              <a:gdLst>
                <a:gd name="connsiteX0" fmla="*/ 763036 w 1308282"/>
                <a:gd name="connsiteY0" fmla="*/ 1084040 h 2161841"/>
                <a:gd name="connsiteX1" fmla="*/ 732841 w 1308282"/>
                <a:gd name="connsiteY1" fmla="*/ 1059275 h 2161841"/>
                <a:gd name="connsiteX2" fmla="*/ 69330 w 1308282"/>
                <a:gd name="connsiteY2" fmla="*/ 396335 h 2161841"/>
                <a:gd name="connsiteX3" fmla="*/ 107525 w 1308282"/>
                <a:gd name="connsiteY3" fmla="*/ 34862 h 2161841"/>
                <a:gd name="connsiteX4" fmla="*/ 389275 w 1308282"/>
                <a:gd name="connsiteY4" fmla="*/ 66199 h 2161841"/>
                <a:gd name="connsiteX5" fmla="*/ 556057 w 1308282"/>
                <a:gd name="connsiteY5" fmla="*/ 232791 h 2161841"/>
                <a:gd name="connsiteX6" fmla="*/ 1234047 w 1308282"/>
                <a:gd name="connsiteY6" fmla="*/ 914972 h 2161841"/>
                <a:gd name="connsiteX7" fmla="*/ 1233856 w 1308282"/>
                <a:gd name="connsiteY7" fmla="*/ 1252157 h 2161841"/>
                <a:gd name="connsiteX8" fmla="*/ 396799 w 1308282"/>
                <a:gd name="connsiteY8" fmla="*/ 2088737 h 2161841"/>
                <a:gd name="connsiteX9" fmla="*/ 163151 w 1308282"/>
                <a:gd name="connsiteY9" fmla="*/ 2151317 h 2161841"/>
                <a:gd name="connsiteX10" fmla="*/ 4465 w 1308282"/>
                <a:gd name="connsiteY10" fmla="*/ 1972818 h 2161841"/>
                <a:gd name="connsiteX11" fmla="*/ 69235 w 1308282"/>
                <a:gd name="connsiteY11" fmla="*/ 1770983 h 2161841"/>
                <a:gd name="connsiteX12" fmla="*/ 734651 w 1308282"/>
                <a:gd name="connsiteY12" fmla="*/ 1106424 h 2161841"/>
                <a:gd name="connsiteX13" fmla="*/ 763036 w 1308282"/>
                <a:gd name="connsiteY13" fmla="*/ 1084136 h 2161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8282" h="2161841">
                  <a:moveTo>
                    <a:pt x="763036" y="1084040"/>
                  </a:moveTo>
                  <a:cubicBezTo>
                    <a:pt x="749129" y="1072706"/>
                    <a:pt x="740271" y="1066705"/>
                    <a:pt x="732841" y="1059275"/>
                  </a:cubicBezTo>
                  <a:cubicBezTo>
                    <a:pt x="511576" y="838391"/>
                    <a:pt x="290215" y="617601"/>
                    <a:pt x="69330" y="396335"/>
                  </a:cubicBezTo>
                  <a:cubicBezTo>
                    <a:pt x="-37160" y="289560"/>
                    <a:pt x="-18300" y="114872"/>
                    <a:pt x="107525" y="34862"/>
                  </a:cubicBezTo>
                  <a:cubicBezTo>
                    <a:pt x="196012" y="-21336"/>
                    <a:pt x="313170" y="-8668"/>
                    <a:pt x="389275" y="66199"/>
                  </a:cubicBezTo>
                  <a:cubicBezTo>
                    <a:pt x="445282" y="121349"/>
                    <a:pt x="500717" y="177070"/>
                    <a:pt x="556057" y="232791"/>
                  </a:cubicBezTo>
                  <a:cubicBezTo>
                    <a:pt x="782086" y="460153"/>
                    <a:pt x="1007923" y="687705"/>
                    <a:pt x="1234047" y="914972"/>
                  </a:cubicBezTo>
                  <a:cubicBezTo>
                    <a:pt x="1332821" y="1014222"/>
                    <a:pt x="1333297" y="1152716"/>
                    <a:pt x="1233856" y="1252157"/>
                  </a:cubicBezTo>
                  <a:cubicBezTo>
                    <a:pt x="954964" y="1531144"/>
                    <a:pt x="675787" y="1809845"/>
                    <a:pt x="396799" y="2088737"/>
                  </a:cubicBezTo>
                  <a:cubicBezTo>
                    <a:pt x="330886" y="2154651"/>
                    <a:pt x="252115" y="2177320"/>
                    <a:pt x="163151" y="2151317"/>
                  </a:cubicBezTo>
                  <a:cubicBezTo>
                    <a:pt x="74664" y="2125409"/>
                    <a:pt x="20562" y="2063306"/>
                    <a:pt x="4465" y="1972818"/>
                  </a:cubicBezTo>
                  <a:cubicBezTo>
                    <a:pt x="-9347" y="1895475"/>
                    <a:pt x="12847" y="1827276"/>
                    <a:pt x="69235" y="1770983"/>
                  </a:cubicBezTo>
                  <a:cubicBezTo>
                    <a:pt x="291072" y="1549527"/>
                    <a:pt x="512719" y="1327880"/>
                    <a:pt x="734651" y="1106424"/>
                  </a:cubicBezTo>
                  <a:cubicBezTo>
                    <a:pt x="741509" y="1099661"/>
                    <a:pt x="749891" y="1094423"/>
                    <a:pt x="763036" y="10841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Graphic 9">
              <a:extLst>
                <a:ext uri="{FF2B5EF4-FFF2-40B4-BE49-F238E27FC236}">
                  <a16:creationId xmlns:a16="http://schemas.microsoft.com/office/drawing/2014/main" id="{52DED16B-6F3E-0068-4677-3E87627853E6}"/>
                </a:ext>
              </a:extLst>
            </p:cNvPr>
            <p:cNvSpPr/>
            <p:nvPr/>
          </p:nvSpPr>
          <p:spPr>
            <a:xfrm rot="5400000">
              <a:off x="6784802" y="3199411"/>
              <a:ext cx="360028" cy="594920"/>
            </a:xfrm>
            <a:custGeom>
              <a:avLst/>
              <a:gdLst>
                <a:gd name="connsiteX0" fmla="*/ 763036 w 1308282"/>
                <a:gd name="connsiteY0" fmla="*/ 1084040 h 2161841"/>
                <a:gd name="connsiteX1" fmla="*/ 732841 w 1308282"/>
                <a:gd name="connsiteY1" fmla="*/ 1059275 h 2161841"/>
                <a:gd name="connsiteX2" fmla="*/ 69330 w 1308282"/>
                <a:gd name="connsiteY2" fmla="*/ 396335 h 2161841"/>
                <a:gd name="connsiteX3" fmla="*/ 107525 w 1308282"/>
                <a:gd name="connsiteY3" fmla="*/ 34862 h 2161841"/>
                <a:gd name="connsiteX4" fmla="*/ 389275 w 1308282"/>
                <a:gd name="connsiteY4" fmla="*/ 66199 h 2161841"/>
                <a:gd name="connsiteX5" fmla="*/ 556057 w 1308282"/>
                <a:gd name="connsiteY5" fmla="*/ 232791 h 2161841"/>
                <a:gd name="connsiteX6" fmla="*/ 1234047 w 1308282"/>
                <a:gd name="connsiteY6" fmla="*/ 914972 h 2161841"/>
                <a:gd name="connsiteX7" fmla="*/ 1233856 w 1308282"/>
                <a:gd name="connsiteY7" fmla="*/ 1252157 h 2161841"/>
                <a:gd name="connsiteX8" fmla="*/ 396799 w 1308282"/>
                <a:gd name="connsiteY8" fmla="*/ 2088737 h 2161841"/>
                <a:gd name="connsiteX9" fmla="*/ 163151 w 1308282"/>
                <a:gd name="connsiteY9" fmla="*/ 2151317 h 2161841"/>
                <a:gd name="connsiteX10" fmla="*/ 4465 w 1308282"/>
                <a:gd name="connsiteY10" fmla="*/ 1972818 h 2161841"/>
                <a:gd name="connsiteX11" fmla="*/ 69235 w 1308282"/>
                <a:gd name="connsiteY11" fmla="*/ 1770983 h 2161841"/>
                <a:gd name="connsiteX12" fmla="*/ 734651 w 1308282"/>
                <a:gd name="connsiteY12" fmla="*/ 1106424 h 2161841"/>
                <a:gd name="connsiteX13" fmla="*/ 763036 w 1308282"/>
                <a:gd name="connsiteY13" fmla="*/ 1084136 h 2161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8282" h="2161841">
                  <a:moveTo>
                    <a:pt x="763036" y="1084040"/>
                  </a:moveTo>
                  <a:cubicBezTo>
                    <a:pt x="749129" y="1072706"/>
                    <a:pt x="740271" y="1066705"/>
                    <a:pt x="732841" y="1059275"/>
                  </a:cubicBezTo>
                  <a:cubicBezTo>
                    <a:pt x="511576" y="838391"/>
                    <a:pt x="290215" y="617601"/>
                    <a:pt x="69330" y="396335"/>
                  </a:cubicBezTo>
                  <a:cubicBezTo>
                    <a:pt x="-37160" y="289560"/>
                    <a:pt x="-18300" y="114872"/>
                    <a:pt x="107525" y="34862"/>
                  </a:cubicBezTo>
                  <a:cubicBezTo>
                    <a:pt x="196012" y="-21336"/>
                    <a:pt x="313170" y="-8668"/>
                    <a:pt x="389275" y="66199"/>
                  </a:cubicBezTo>
                  <a:cubicBezTo>
                    <a:pt x="445282" y="121349"/>
                    <a:pt x="500717" y="177070"/>
                    <a:pt x="556057" y="232791"/>
                  </a:cubicBezTo>
                  <a:cubicBezTo>
                    <a:pt x="782086" y="460153"/>
                    <a:pt x="1007923" y="687705"/>
                    <a:pt x="1234047" y="914972"/>
                  </a:cubicBezTo>
                  <a:cubicBezTo>
                    <a:pt x="1332821" y="1014222"/>
                    <a:pt x="1333297" y="1152716"/>
                    <a:pt x="1233856" y="1252157"/>
                  </a:cubicBezTo>
                  <a:cubicBezTo>
                    <a:pt x="954964" y="1531144"/>
                    <a:pt x="675787" y="1809845"/>
                    <a:pt x="396799" y="2088737"/>
                  </a:cubicBezTo>
                  <a:cubicBezTo>
                    <a:pt x="330886" y="2154651"/>
                    <a:pt x="252115" y="2177320"/>
                    <a:pt x="163151" y="2151317"/>
                  </a:cubicBezTo>
                  <a:cubicBezTo>
                    <a:pt x="74664" y="2125409"/>
                    <a:pt x="20562" y="2063306"/>
                    <a:pt x="4465" y="1972818"/>
                  </a:cubicBezTo>
                  <a:cubicBezTo>
                    <a:pt x="-9347" y="1895475"/>
                    <a:pt x="12847" y="1827276"/>
                    <a:pt x="69235" y="1770983"/>
                  </a:cubicBezTo>
                  <a:cubicBezTo>
                    <a:pt x="291072" y="1549527"/>
                    <a:pt x="512719" y="1327880"/>
                    <a:pt x="734651" y="1106424"/>
                  </a:cubicBezTo>
                  <a:cubicBezTo>
                    <a:pt x="741509" y="1099661"/>
                    <a:pt x="749891" y="1094423"/>
                    <a:pt x="763036" y="10841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682599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39BF5-1C25-389B-9190-4F33395BF976}"/>
              </a:ext>
            </a:extLst>
          </p:cNvPr>
          <p:cNvSpPr>
            <a:spLocks noGrp="1"/>
          </p:cNvSpPr>
          <p:nvPr>
            <p:ph type="title" idx="4294967295"/>
          </p:nvPr>
        </p:nvSpPr>
        <p:spPr>
          <a:xfrm>
            <a:off x="1174750" y="-554038"/>
            <a:ext cx="11017250" cy="554038"/>
          </a:xfrm>
        </p:spPr>
        <p:txBody>
          <a:bodyPr vert="horz" wrap="square" lIns="0" tIns="0" rIns="0" bIns="0" rtlCol="0" anchor="b">
            <a:spAutoFit/>
          </a:bodyPr>
          <a:lstStyle/>
          <a:p>
            <a:r>
              <a:rPr lang="en-US"/>
              <a:t>Microsoft 365 Community Conference</a:t>
            </a:r>
          </a:p>
        </p:txBody>
      </p:sp>
    </p:spTree>
    <p:extLst>
      <p:ext uri="{BB962C8B-B14F-4D97-AF65-F5344CB8AC3E}">
        <p14:creationId xmlns:p14="http://schemas.microsoft.com/office/powerpoint/2010/main" val="342356710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F2EAFC54-7A32-EC5E-91F2-1547FA8B4115}"/>
              </a:ext>
              <a:ext uri="{C183D7F6-B498-43B3-948B-1728B52AA6E4}">
                <adec:decorative xmlns:adec="http://schemas.microsoft.com/office/drawing/2017/decorative" val="1"/>
              </a:ext>
            </a:extLst>
          </p:cNvPr>
          <p:cNvSpPr>
            <a:spLocks/>
          </p:cNvSpPr>
          <p:nvPr/>
        </p:nvSpPr>
        <p:spPr bwMode="auto">
          <a:xfrm>
            <a:off x="582612" y="267935"/>
            <a:ext cx="11026776" cy="6318956"/>
          </a:xfrm>
          <a:prstGeom prst="roundRect">
            <a:avLst>
              <a:gd name="adj" fmla="val 2582"/>
            </a:avLst>
          </a:prstGeom>
          <a:noFill/>
          <a:ln w="12700" cap="rnd">
            <a:gradFill flip="none" rotWithShape="1">
              <a:gsLst>
                <a:gs pos="0">
                  <a:srgbClr val="F65567"/>
                </a:gs>
                <a:gs pos="32000">
                  <a:srgbClr val="AC35AF"/>
                </a:gs>
                <a:gs pos="6800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52000" tIns="146304" rIns="25200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mn-cs"/>
            </a:endParaRPr>
          </a:p>
        </p:txBody>
      </p:sp>
      <p:pic>
        <p:nvPicPr>
          <p:cNvPr id="5" name="Picture 4">
            <a:extLst>
              <a:ext uri="{FF2B5EF4-FFF2-40B4-BE49-F238E27FC236}">
                <a16:creationId xmlns:a16="http://schemas.microsoft.com/office/drawing/2014/main" id="{127AD152-F5CE-5BCC-CF7F-76C49D1303CD}"/>
              </a:ext>
            </a:extLst>
          </p:cNvPr>
          <p:cNvPicPr>
            <a:picLocks noChangeAspect="1"/>
          </p:cNvPicPr>
          <p:nvPr/>
        </p:nvPicPr>
        <p:blipFill>
          <a:blip r:embed="rId3"/>
          <a:srcRect t="6692" b="5917"/>
          <a:stretch/>
        </p:blipFill>
        <p:spPr>
          <a:xfrm>
            <a:off x="710136" y="430773"/>
            <a:ext cx="10771728" cy="5993280"/>
          </a:xfrm>
          <a:prstGeom prst="roundRect">
            <a:avLst>
              <a:gd name="adj" fmla="val 933"/>
            </a:avLst>
          </a:prstGeom>
        </p:spPr>
      </p:pic>
      <p:sp>
        <p:nvSpPr>
          <p:cNvPr id="6" name="Title 8">
            <a:extLst>
              <a:ext uri="{FF2B5EF4-FFF2-40B4-BE49-F238E27FC236}">
                <a16:creationId xmlns:a16="http://schemas.microsoft.com/office/drawing/2014/main" id="{CDA7A6F4-2483-6005-13B8-DA5CC78C3296}"/>
              </a:ext>
              <a:ext uri="{C183D7F6-B498-43B3-948B-1728B52AA6E4}">
                <adec:decorative xmlns:adec="http://schemas.microsoft.com/office/drawing/2017/decorative" val="1"/>
              </a:ext>
            </a:extLst>
          </p:cNvPr>
          <p:cNvSpPr>
            <a:spLocks/>
          </p:cNvSpPr>
          <p:nvPr/>
        </p:nvSpPr>
        <p:spPr bwMode="auto">
          <a:xfrm>
            <a:off x="718744" y="6031965"/>
            <a:ext cx="10754511" cy="423327"/>
          </a:xfrm>
          <a:prstGeom prst="round2SameRect">
            <a:avLst>
              <a:gd name="adj1" fmla="val 0"/>
              <a:gd name="adj2" fmla="val 18201"/>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r>
              <a:rPr kumimoji="0" lang="en-US" sz="2000" b="1" i="0" u="none" strike="noStrike" kern="1200" cap="none" spc="0" normalizeH="0" baseline="0" noProof="0">
                <a:ln>
                  <a:noFill/>
                </a:ln>
                <a:solidFill>
                  <a:srgbClr val="FFFFFF"/>
                </a:solidFill>
                <a:effectLst/>
                <a:uLnTx/>
                <a:uFillTx/>
                <a:latin typeface="Segoe UI Semibold"/>
                <a:ea typeface="+mn-ea"/>
                <a:cs typeface="+mn-cs"/>
              </a:rPr>
              <a:t>DSPM for AI: Oversharing </a:t>
            </a:r>
            <a:r>
              <a:rPr lang="en-US" sz="2000" b="1">
                <a:solidFill>
                  <a:srgbClr val="FFFFFF"/>
                </a:solidFill>
                <a:latin typeface="Segoe UI Semibold"/>
              </a:rPr>
              <a:t>Ri</a:t>
            </a:r>
            <a:r>
              <a:rPr kumimoji="0" lang="en-US" sz="2000" b="1" i="0" u="none" strike="noStrike" kern="1200" cap="none" spc="0" normalizeH="0" baseline="0" noProof="0" err="1">
                <a:ln>
                  <a:noFill/>
                </a:ln>
                <a:solidFill>
                  <a:srgbClr val="FFFFFF"/>
                </a:solidFill>
                <a:effectLst/>
                <a:uLnTx/>
                <a:uFillTx/>
                <a:latin typeface="Segoe UI Semibold"/>
                <a:ea typeface="+mn-ea"/>
                <a:cs typeface="+mn-cs"/>
              </a:rPr>
              <a:t>sk</a:t>
            </a:r>
            <a:r>
              <a:rPr kumimoji="0" lang="en-US" sz="2000" b="1" i="0" u="none" strike="noStrike" kern="1200" cap="none" spc="0" normalizeH="0" baseline="0" noProof="0">
                <a:ln>
                  <a:noFill/>
                </a:ln>
                <a:solidFill>
                  <a:srgbClr val="FFFFFF"/>
                </a:solidFill>
                <a:effectLst/>
                <a:uLnTx/>
                <a:uFillTx/>
                <a:latin typeface="Segoe UI Semibold"/>
                <a:ea typeface="+mn-ea"/>
                <a:cs typeface="+mn-cs"/>
              </a:rPr>
              <a:t> Assessment</a:t>
            </a:r>
          </a:p>
        </p:txBody>
      </p:sp>
    </p:spTree>
    <p:extLst>
      <p:ext uri="{BB962C8B-B14F-4D97-AF65-F5344CB8AC3E}">
        <p14:creationId xmlns:p14="http://schemas.microsoft.com/office/powerpoint/2010/main" val="361017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ADF1B93-D3CD-2D36-F249-3AC03C200CB3}"/>
              </a:ext>
            </a:extLst>
          </p:cNvPr>
          <p:cNvPicPr>
            <a:picLocks noChangeAspect="1"/>
          </p:cNvPicPr>
          <p:nvPr/>
        </p:nvPicPr>
        <p:blipFill>
          <a:blip r:embed="rId3"/>
          <a:srcRect t="6666" b="5124"/>
          <a:stretch/>
        </p:blipFill>
        <p:spPr>
          <a:xfrm>
            <a:off x="718744" y="402707"/>
            <a:ext cx="10771728" cy="6049412"/>
          </a:xfrm>
          <a:prstGeom prst="roundRect">
            <a:avLst>
              <a:gd name="adj" fmla="val 1079"/>
            </a:avLst>
          </a:prstGeom>
        </p:spPr>
      </p:pic>
      <p:sp>
        <p:nvSpPr>
          <p:cNvPr id="11" name="Title 10">
            <a:extLst>
              <a:ext uri="{FF2B5EF4-FFF2-40B4-BE49-F238E27FC236}">
                <a16:creationId xmlns:a16="http://schemas.microsoft.com/office/drawing/2014/main" id="{1DFEC9A4-CAC1-4599-8339-898A6296B70B}"/>
              </a:ext>
            </a:extLst>
          </p:cNvPr>
          <p:cNvSpPr>
            <a:spLocks noGrp="1"/>
          </p:cNvSpPr>
          <p:nvPr>
            <p:ph type="title" idx="4294967295"/>
          </p:nvPr>
        </p:nvSpPr>
        <p:spPr>
          <a:xfrm>
            <a:off x="588263" y="-553998"/>
            <a:ext cx="11018520" cy="553998"/>
          </a:xfrm>
        </p:spPr>
        <p:txBody>
          <a:bodyPr vert="horz" wrap="square" lIns="0" tIns="0" rIns="0" bIns="0" rtlCol="0" anchor="b">
            <a:spAutoFit/>
          </a:bodyPr>
          <a:lstStyle/>
          <a:p>
            <a:r>
              <a:rPr lang="en-IN">
                <a:solidFill>
                  <a:schemeClr val="bg1"/>
                </a:solidFill>
              </a:rPr>
              <a:t>Oversharing Assessment for the week of November </a:t>
            </a:r>
          </a:p>
        </p:txBody>
      </p:sp>
      <p:sp>
        <p:nvSpPr>
          <p:cNvPr id="6" name="Rectangle: Rounded Corners 5">
            <a:extLst>
              <a:ext uri="{FF2B5EF4-FFF2-40B4-BE49-F238E27FC236}">
                <a16:creationId xmlns:a16="http://schemas.microsoft.com/office/drawing/2014/main" id="{28935961-444C-1378-16F5-CA56D85126DD}"/>
              </a:ext>
              <a:ext uri="{C183D7F6-B498-43B3-948B-1728B52AA6E4}">
                <adec:decorative xmlns:adec="http://schemas.microsoft.com/office/drawing/2017/decorative" val="1"/>
              </a:ext>
            </a:extLst>
          </p:cNvPr>
          <p:cNvSpPr>
            <a:spLocks/>
          </p:cNvSpPr>
          <p:nvPr/>
        </p:nvSpPr>
        <p:spPr bwMode="auto">
          <a:xfrm>
            <a:off x="582612" y="267935"/>
            <a:ext cx="11026776" cy="6318956"/>
          </a:xfrm>
          <a:prstGeom prst="roundRect">
            <a:avLst>
              <a:gd name="adj" fmla="val 2582"/>
            </a:avLst>
          </a:prstGeom>
          <a:noFill/>
          <a:ln w="12700" cap="rnd">
            <a:gradFill flip="none" rotWithShape="1">
              <a:gsLst>
                <a:gs pos="0">
                  <a:srgbClr val="F65567"/>
                </a:gs>
                <a:gs pos="32000">
                  <a:srgbClr val="AC35AF"/>
                </a:gs>
                <a:gs pos="6800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52000" tIns="146304" rIns="25200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mn-cs"/>
            </a:endParaRPr>
          </a:p>
        </p:txBody>
      </p:sp>
      <p:sp>
        <p:nvSpPr>
          <p:cNvPr id="2" name="Title 8">
            <a:extLst>
              <a:ext uri="{FF2B5EF4-FFF2-40B4-BE49-F238E27FC236}">
                <a16:creationId xmlns:a16="http://schemas.microsoft.com/office/drawing/2014/main" id="{2455D7B1-0B80-CBF9-1EC5-874809172F07}"/>
              </a:ext>
              <a:ext uri="{C183D7F6-B498-43B3-948B-1728B52AA6E4}">
                <adec:decorative xmlns:adec="http://schemas.microsoft.com/office/drawing/2017/decorative" val="1"/>
              </a:ext>
            </a:extLst>
          </p:cNvPr>
          <p:cNvSpPr>
            <a:spLocks/>
          </p:cNvSpPr>
          <p:nvPr/>
        </p:nvSpPr>
        <p:spPr bwMode="auto">
          <a:xfrm>
            <a:off x="718744" y="6031965"/>
            <a:ext cx="10754511" cy="423327"/>
          </a:xfrm>
          <a:prstGeom prst="round2SameRect">
            <a:avLst>
              <a:gd name="adj1" fmla="val 0"/>
              <a:gd name="adj2" fmla="val 18201"/>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r>
              <a:rPr kumimoji="0" lang="en-US" sz="2000" b="1" i="0" u="none" strike="noStrike" kern="1200" cap="none" spc="0" normalizeH="0" baseline="0" noProof="0">
                <a:ln>
                  <a:noFill/>
                </a:ln>
                <a:solidFill>
                  <a:srgbClr val="FFFFFF"/>
                </a:solidFill>
                <a:effectLst/>
                <a:uLnTx/>
                <a:uFillTx/>
                <a:latin typeface="Segoe UI Semibold"/>
                <a:ea typeface="+mn-ea"/>
                <a:cs typeface="+mn-cs"/>
              </a:rPr>
              <a:t>DSPM for AI: Oversharing </a:t>
            </a:r>
            <a:r>
              <a:rPr lang="en-US" sz="2000" b="1">
                <a:solidFill>
                  <a:srgbClr val="FFFFFF"/>
                </a:solidFill>
                <a:latin typeface="Segoe UI Semibold"/>
              </a:rPr>
              <a:t>Ri</a:t>
            </a:r>
            <a:r>
              <a:rPr kumimoji="0" lang="en-US" sz="2000" b="1" i="0" u="none" strike="noStrike" kern="1200" cap="none" spc="0" normalizeH="0" baseline="0" noProof="0" err="1">
                <a:ln>
                  <a:noFill/>
                </a:ln>
                <a:solidFill>
                  <a:srgbClr val="FFFFFF"/>
                </a:solidFill>
                <a:effectLst/>
                <a:uLnTx/>
                <a:uFillTx/>
                <a:latin typeface="Segoe UI Semibold"/>
                <a:ea typeface="+mn-ea"/>
                <a:cs typeface="+mn-cs"/>
              </a:rPr>
              <a:t>sk</a:t>
            </a:r>
            <a:r>
              <a:rPr kumimoji="0" lang="en-US" sz="2000" b="1" i="0" u="none" strike="noStrike" kern="1200" cap="none" spc="0" normalizeH="0" baseline="0" noProof="0">
                <a:ln>
                  <a:noFill/>
                </a:ln>
                <a:solidFill>
                  <a:srgbClr val="FFFFFF"/>
                </a:solidFill>
                <a:effectLst/>
                <a:uLnTx/>
                <a:uFillTx/>
                <a:latin typeface="Segoe UI Semibold"/>
                <a:ea typeface="+mn-ea"/>
                <a:cs typeface="+mn-cs"/>
              </a:rPr>
              <a:t> Assessment</a:t>
            </a:r>
          </a:p>
        </p:txBody>
      </p:sp>
    </p:spTree>
    <p:extLst>
      <p:ext uri="{BB962C8B-B14F-4D97-AF65-F5344CB8AC3E}">
        <p14:creationId xmlns:p14="http://schemas.microsoft.com/office/powerpoint/2010/main" val="6441704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1488A5-96E9-18EB-DDE1-C1AC34102097}"/>
              </a:ext>
            </a:extLst>
          </p:cNvPr>
          <p:cNvPicPr>
            <a:picLocks noChangeAspect="1"/>
          </p:cNvPicPr>
          <p:nvPr/>
        </p:nvPicPr>
        <p:blipFill>
          <a:blip r:embed="rId3"/>
          <a:srcRect t="6875" b="5873"/>
          <a:stretch/>
        </p:blipFill>
        <p:spPr>
          <a:xfrm>
            <a:off x="710136" y="457200"/>
            <a:ext cx="10771728" cy="5983804"/>
          </a:xfrm>
          <a:prstGeom prst="roundRect">
            <a:avLst>
              <a:gd name="adj" fmla="val 908"/>
            </a:avLst>
          </a:prstGeom>
        </p:spPr>
      </p:pic>
      <p:sp>
        <p:nvSpPr>
          <p:cNvPr id="10" name="Title 9">
            <a:extLst>
              <a:ext uri="{FF2B5EF4-FFF2-40B4-BE49-F238E27FC236}">
                <a16:creationId xmlns:a16="http://schemas.microsoft.com/office/drawing/2014/main" id="{282ABE4A-3AA0-0EC5-C39A-378EB97297C1}"/>
              </a:ext>
            </a:extLst>
          </p:cNvPr>
          <p:cNvSpPr>
            <a:spLocks noGrp="1"/>
          </p:cNvSpPr>
          <p:nvPr>
            <p:ph type="title" idx="4294967295"/>
          </p:nvPr>
        </p:nvSpPr>
        <p:spPr>
          <a:xfrm>
            <a:off x="588263" y="-553998"/>
            <a:ext cx="11018520" cy="553998"/>
          </a:xfrm>
        </p:spPr>
        <p:txBody>
          <a:bodyPr vert="horz" wrap="square" lIns="0" tIns="0" rIns="0" bIns="0" rtlCol="0" anchor="b">
            <a:spAutoFit/>
          </a:bodyPr>
          <a:lstStyle/>
          <a:p>
            <a:r>
              <a:rPr lang="en-IN">
                <a:solidFill>
                  <a:schemeClr val="bg1"/>
                </a:solidFill>
              </a:rPr>
              <a:t>Oversharing Assessment for the week of November   </a:t>
            </a:r>
          </a:p>
        </p:txBody>
      </p:sp>
      <p:sp>
        <p:nvSpPr>
          <p:cNvPr id="7" name="Rectangle: Rounded Corners 6">
            <a:extLst>
              <a:ext uri="{FF2B5EF4-FFF2-40B4-BE49-F238E27FC236}">
                <a16:creationId xmlns:a16="http://schemas.microsoft.com/office/drawing/2014/main" id="{310F7DD3-D05D-E3F5-BB96-B301096D4CAB}"/>
              </a:ext>
              <a:ext uri="{C183D7F6-B498-43B3-948B-1728B52AA6E4}">
                <adec:decorative xmlns:adec="http://schemas.microsoft.com/office/drawing/2017/decorative" val="1"/>
              </a:ext>
            </a:extLst>
          </p:cNvPr>
          <p:cNvSpPr>
            <a:spLocks/>
          </p:cNvSpPr>
          <p:nvPr/>
        </p:nvSpPr>
        <p:spPr bwMode="auto">
          <a:xfrm>
            <a:off x="582612" y="267935"/>
            <a:ext cx="11026776" cy="6318956"/>
          </a:xfrm>
          <a:prstGeom prst="roundRect">
            <a:avLst>
              <a:gd name="adj" fmla="val 2582"/>
            </a:avLst>
          </a:prstGeom>
          <a:noFill/>
          <a:ln w="12700" cap="rnd">
            <a:gradFill flip="none" rotWithShape="1">
              <a:gsLst>
                <a:gs pos="0">
                  <a:srgbClr val="F65567"/>
                </a:gs>
                <a:gs pos="32000">
                  <a:srgbClr val="AC35AF"/>
                </a:gs>
                <a:gs pos="6800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52000" tIns="146304" rIns="25200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mn-cs"/>
            </a:endParaRPr>
          </a:p>
        </p:txBody>
      </p:sp>
      <p:sp>
        <p:nvSpPr>
          <p:cNvPr id="2" name="Title 8">
            <a:extLst>
              <a:ext uri="{FF2B5EF4-FFF2-40B4-BE49-F238E27FC236}">
                <a16:creationId xmlns:a16="http://schemas.microsoft.com/office/drawing/2014/main" id="{035F65E0-0CDB-3C7B-E634-B9E06893F455}"/>
              </a:ext>
              <a:ext uri="{C183D7F6-B498-43B3-948B-1728B52AA6E4}">
                <adec:decorative xmlns:adec="http://schemas.microsoft.com/office/drawing/2017/decorative" val="1"/>
              </a:ext>
            </a:extLst>
          </p:cNvPr>
          <p:cNvSpPr>
            <a:spLocks/>
          </p:cNvSpPr>
          <p:nvPr/>
        </p:nvSpPr>
        <p:spPr bwMode="auto">
          <a:xfrm>
            <a:off x="718744" y="6031965"/>
            <a:ext cx="10754511" cy="423327"/>
          </a:xfrm>
          <a:prstGeom prst="round2SameRect">
            <a:avLst>
              <a:gd name="adj1" fmla="val 0"/>
              <a:gd name="adj2" fmla="val 18201"/>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r>
              <a:rPr kumimoji="0" lang="en-US" sz="2000" b="1" i="0" u="none" strike="noStrike" kern="1200" cap="none" spc="0" normalizeH="0" baseline="0" noProof="0">
                <a:ln>
                  <a:noFill/>
                </a:ln>
                <a:solidFill>
                  <a:srgbClr val="FFFFFF"/>
                </a:solidFill>
                <a:effectLst/>
                <a:uLnTx/>
                <a:uFillTx/>
                <a:latin typeface="Segoe UI Semibold"/>
                <a:ea typeface="+mn-ea"/>
                <a:cs typeface="+mn-cs"/>
              </a:rPr>
              <a:t>DSPM for AI: Oversharing </a:t>
            </a:r>
            <a:r>
              <a:rPr lang="en-US" sz="2000" b="1">
                <a:solidFill>
                  <a:srgbClr val="FFFFFF"/>
                </a:solidFill>
                <a:latin typeface="Segoe UI Semibold"/>
              </a:rPr>
              <a:t>Risk </a:t>
            </a:r>
            <a:r>
              <a:rPr kumimoji="0" lang="en-US" sz="2000" b="1" i="0" u="none" strike="noStrike" kern="1200" cap="none" spc="0" normalizeH="0" baseline="0" noProof="0">
                <a:ln>
                  <a:noFill/>
                </a:ln>
                <a:solidFill>
                  <a:srgbClr val="FFFFFF"/>
                </a:solidFill>
                <a:effectLst/>
                <a:uLnTx/>
                <a:uFillTx/>
                <a:latin typeface="Segoe UI Semibold"/>
                <a:ea typeface="+mn-ea"/>
                <a:cs typeface="+mn-cs"/>
              </a:rPr>
              <a:t>Assessment</a:t>
            </a:r>
          </a:p>
        </p:txBody>
      </p:sp>
    </p:spTree>
    <p:extLst>
      <p:ext uri="{BB962C8B-B14F-4D97-AF65-F5344CB8AC3E}">
        <p14:creationId xmlns:p14="http://schemas.microsoft.com/office/powerpoint/2010/main" val="18362681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5E54B-91FE-AACF-D5FE-C9E82B40580A}"/>
            </a:ext>
          </a:extLst>
        </p:cNvPr>
        <p:cNvGrpSpPr/>
        <p:nvPr/>
      </p:nvGrpSpPr>
      <p:grpSpPr>
        <a:xfrm>
          <a:off x="0" y="0"/>
          <a:ext cx="0" cy="0"/>
          <a:chOff x="0" y="0"/>
          <a:chExt cx="0" cy="0"/>
        </a:xfrm>
      </p:grpSpPr>
      <p:sp>
        <p:nvSpPr>
          <p:cNvPr id="8" name="Rounded Rectangle 64">
            <a:extLst>
              <a:ext uri="{FF2B5EF4-FFF2-40B4-BE49-F238E27FC236}">
                <a16:creationId xmlns:a16="http://schemas.microsoft.com/office/drawing/2014/main" id="{A645B58C-6689-05AE-568F-43B603771AD2}"/>
              </a:ext>
              <a:ext uri="{C183D7F6-B498-43B3-948B-1728B52AA6E4}">
                <adec:decorative xmlns:adec="http://schemas.microsoft.com/office/drawing/2017/decorative" val="1"/>
              </a:ext>
            </a:extLst>
          </p:cNvPr>
          <p:cNvSpPr>
            <a:spLocks/>
          </p:cNvSpPr>
          <p:nvPr/>
        </p:nvSpPr>
        <p:spPr bwMode="auto">
          <a:xfrm>
            <a:off x="1064532" y="2029468"/>
            <a:ext cx="10355036" cy="4440084"/>
          </a:xfrm>
          <a:prstGeom prst="roundRect">
            <a:avLst>
              <a:gd name="adj" fmla="val 3991"/>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82296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91F2C">
                  <a:lumMod val="25000"/>
                  <a:lumOff val="75000"/>
                </a:srgbClr>
              </a:solidFill>
              <a:effectLst/>
              <a:uLnTx/>
              <a:uFillTx/>
              <a:latin typeface="Segoe UI Semibold"/>
              <a:ea typeface="+mn-ea"/>
              <a:cs typeface="Segoe UI" pitchFamily="34" charset="0"/>
            </a:endParaRPr>
          </a:p>
        </p:txBody>
      </p:sp>
      <p:sp>
        <p:nvSpPr>
          <p:cNvPr id="9" name="Rectangle: Rounded Corners 8">
            <a:extLst>
              <a:ext uri="{FF2B5EF4-FFF2-40B4-BE49-F238E27FC236}">
                <a16:creationId xmlns:a16="http://schemas.microsoft.com/office/drawing/2014/main" id="{1772D0D6-F5F9-33CF-C81C-49EF18454987}"/>
              </a:ext>
              <a:ext uri="{C183D7F6-B498-43B3-948B-1728B52AA6E4}">
                <adec:decorative xmlns:adec="http://schemas.microsoft.com/office/drawing/2017/decorative" val="1"/>
              </a:ext>
            </a:extLst>
          </p:cNvPr>
          <p:cNvSpPr>
            <a:spLocks/>
          </p:cNvSpPr>
          <p:nvPr/>
        </p:nvSpPr>
        <p:spPr bwMode="auto">
          <a:xfrm>
            <a:off x="1050018" y="1871604"/>
            <a:ext cx="3885397" cy="4701075"/>
          </a:xfrm>
          <a:prstGeom prst="roundRect">
            <a:avLst>
              <a:gd name="adj" fmla="val 3833"/>
            </a:avLst>
          </a:prstGeom>
          <a:solidFill>
            <a:srgbClr val="091F2C"/>
          </a:solidFill>
          <a:ln w="12700" cap="rnd">
            <a:gradFill flip="none" rotWithShape="1">
              <a:gsLst>
                <a:gs pos="0">
                  <a:srgbClr val="F65567"/>
                </a:gs>
                <a:gs pos="32000">
                  <a:srgbClr val="AC35AF"/>
                </a:gs>
                <a:gs pos="6800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52000" tIns="146304" rIns="25200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bold"/>
              <a:ea typeface="+mn-ea"/>
              <a:cs typeface="+mn-cs"/>
            </a:endParaRPr>
          </a:p>
        </p:txBody>
      </p:sp>
      <p:sp>
        <p:nvSpPr>
          <p:cNvPr id="7" name="Title 6">
            <a:extLst>
              <a:ext uri="{FF2B5EF4-FFF2-40B4-BE49-F238E27FC236}">
                <a16:creationId xmlns:a16="http://schemas.microsoft.com/office/drawing/2014/main" id="{E6CB28EB-CD37-CAD3-7CBE-266D4825A5D9}"/>
              </a:ext>
            </a:extLst>
          </p:cNvPr>
          <p:cNvSpPr>
            <a:spLocks noGrp="1"/>
          </p:cNvSpPr>
          <p:nvPr>
            <p:ph type="title"/>
          </p:nvPr>
        </p:nvSpPr>
        <p:spPr>
          <a:xfrm>
            <a:off x="588963" y="457200"/>
            <a:ext cx="11017250" cy="1107996"/>
          </a:xfrm>
          <a:effectLst/>
        </p:spPr>
        <p:txBody>
          <a:bodyPr>
            <a:normAutofit fontScale="90000"/>
          </a:bodyPr>
          <a:lstStyle/>
          <a:p>
            <a:pPr algn="ctr"/>
            <a:r>
              <a:rPr lang="en-US"/>
              <a:t>Approaching oversharing risk requires </a:t>
            </a:r>
            <a:br>
              <a:rPr lang="en-US"/>
            </a:br>
            <a:r>
              <a:rPr lang="en-US"/>
              <a:t>a comprehensive approach</a:t>
            </a:r>
          </a:p>
        </p:txBody>
      </p:sp>
      <p:sp>
        <p:nvSpPr>
          <p:cNvPr id="31" name="Rectangle 30">
            <a:extLst>
              <a:ext uri="{FF2B5EF4-FFF2-40B4-BE49-F238E27FC236}">
                <a16:creationId xmlns:a16="http://schemas.microsoft.com/office/drawing/2014/main" id="{CA419F06-3151-708B-0D90-F74321671743}"/>
              </a:ext>
              <a:ext uri="{C183D7F6-B498-43B3-948B-1728B52AA6E4}">
                <adec:decorative xmlns:adec="http://schemas.microsoft.com/office/drawing/2017/decorative" val="0"/>
              </a:ext>
            </a:extLst>
          </p:cNvPr>
          <p:cNvSpPr>
            <a:spLocks/>
          </p:cNvSpPr>
          <p:nvPr/>
        </p:nvSpPr>
        <p:spPr bwMode="auto">
          <a:xfrm>
            <a:off x="1248990" y="3062355"/>
            <a:ext cx="3487452" cy="1846659"/>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Without appropriate security and compliance controls around the data, Copilot can find the information and summarize this confidential projects to users</a:t>
            </a:r>
            <a:endParaRPr kumimoji="0" lang="en-US" sz="2000" b="0" i="0" u="none" strike="noStrike" kern="0" cap="none" spc="0" normalizeH="0" baseline="0" noProof="0">
              <a:ln>
                <a:noFill/>
              </a:ln>
              <a:solidFill>
                <a:srgbClr val="FFFFFF"/>
              </a:solidFill>
              <a:effectLst/>
              <a:uLnTx/>
              <a:uFillTx/>
              <a:latin typeface="Segoe UI Semibold"/>
              <a:ea typeface="+mn-ea"/>
              <a:cs typeface="+mn-cs"/>
            </a:endParaRPr>
          </a:p>
        </p:txBody>
      </p:sp>
      <p:grpSp>
        <p:nvGrpSpPr>
          <p:cNvPr id="4" name="Group 3">
            <a:extLst>
              <a:ext uri="{FF2B5EF4-FFF2-40B4-BE49-F238E27FC236}">
                <a16:creationId xmlns:a16="http://schemas.microsoft.com/office/drawing/2014/main" id="{29DE533A-2B09-5461-19B0-F8FA37F8AF12}"/>
              </a:ext>
            </a:extLst>
          </p:cNvPr>
          <p:cNvGrpSpPr/>
          <p:nvPr/>
        </p:nvGrpSpPr>
        <p:grpSpPr>
          <a:xfrm>
            <a:off x="5268790" y="2370522"/>
            <a:ext cx="5821285" cy="492443"/>
            <a:chOff x="5268790" y="2370522"/>
            <a:chExt cx="5821285" cy="492443"/>
          </a:xfrm>
        </p:grpSpPr>
        <p:sp>
          <p:nvSpPr>
            <p:cNvPr id="24" name="Oval 23">
              <a:extLst>
                <a:ext uri="{FF2B5EF4-FFF2-40B4-BE49-F238E27FC236}">
                  <a16:creationId xmlns:a16="http://schemas.microsoft.com/office/drawing/2014/main" id="{8149DD1F-1C41-DC72-09BF-5EAE42AE1A26}"/>
                </a:ext>
                <a:ext uri="{C183D7F6-B498-43B3-948B-1728B52AA6E4}">
                  <adec:decorative xmlns:adec="http://schemas.microsoft.com/office/drawing/2017/decorative" val="0"/>
                </a:ext>
              </a:extLst>
            </p:cNvPr>
            <p:cNvSpPr/>
            <p:nvPr/>
          </p:nvSpPr>
          <p:spPr bwMode="auto">
            <a:xfrm>
              <a:off x="5268790" y="2434096"/>
              <a:ext cx="365294" cy="365294"/>
            </a:xfrm>
            <a:prstGeom prst="ellipse">
              <a:avLst/>
            </a:prstGeom>
            <a:solidFill>
              <a:srgbClr val="31959B"/>
            </a:soli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chemeClr val="bg1"/>
                  </a:solidFill>
                  <a:effectLst/>
                  <a:uLnTx/>
                  <a:uFillTx/>
                  <a:latin typeface="Segoe UI Semibold"/>
                  <a:ea typeface="+mn-ea"/>
                  <a:cs typeface="+mn-cs"/>
                </a:rPr>
                <a:t>1</a:t>
              </a:r>
              <a:endParaRPr kumimoji="0" lang="en-US" sz="1400" b="0" i="0" u="none" strike="noStrike" kern="1200" cap="none" spc="0" normalizeH="0" baseline="0" noProof="0">
                <a:ln>
                  <a:noFill/>
                </a:ln>
                <a:solidFill>
                  <a:schemeClr val="bg1"/>
                </a:solidFill>
                <a:effectLst/>
                <a:uLnTx/>
                <a:uFillTx/>
                <a:latin typeface="Segoe UI Semibold"/>
                <a:ea typeface="+mn-ea"/>
                <a:cs typeface="+mn-cs"/>
              </a:endParaRPr>
            </a:p>
          </p:txBody>
        </p:sp>
        <p:sp>
          <p:nvSpPr>
            <p:cNvPr id="13" name="Rectangle 12">
              <a:extLst>
                <a:ext uri="{FF2B5EF4-FFF2-40B4-BE49-F238E27FC236}">
                  <a16:creationId xmlns:a16="http://schemas.microsoft.com/office/drawing/2014/main" id="{9A13B111-0E5B-A6F0-E73F-8C34B8AEEB29}"/>
                </a:ext>
              </a:extLst>
            </p:cNvPr>
            <p:cNvSpPr>
              <a:spLocks/>
            </p:cNvSpPr>
            <p:nvPr/>
          </p:nvSpPr>
          <p:spPr bwMode="auto">
            <a:xfrm>
              <a:off x="5802923" y="2370522"/>
              <a:ext cx="5287152" cy="4924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a:ea typeface="+mn-ea"/>
                  <a:cs typeface="+mn-cs"/>
                </a:rPr>
                <a:t>Gain visibility to understand who is using GenAI</a:t>
              </a:r>
              <a:r>
                <a:rPr kumimoji="0" lang="en-US" sz="1600" b="0" i="0" u="none" strike="noStrike" kern="1200" cap="none" spc="0" normalizeH="0" baseline="0" noProof="0">
                  <a:ln>
                    <a:noFill/>
                  </a:ln>
                  <a:solidFill>
                    <a:schemeClr val="tx1"/>
                  </a:solidFill>
                  <a:effectLst/>
                  <a:uLnTx/>
                  <a:uFillTx/>
                  <a:latin typeface="Segoe UI"/>
                </a:rPr>
                <a:t> </a:t>
              </a:r>
              <a:br>
                <a:rPr kumimoji="0" lang="en-US" sz="1600" b="0" i="0" u="none" strike="noStrike" kern="1200" cap="none" spc="0" normalizeH="0" baseline="0" noProof="0">
                  <a:ln>
                    <a:noFill/>
                  </a:ln>
                  <a:solidFill>
                    <a:schemeClr val="tx1"/>
                  </a:solidFill>
                  <a:effectLst/>
                  <a:uLnTx/>
                  <a:uFillTx/>
                  <a:latin typeface="Segoe UI"/>
                </a:rPr>
              </a:br>
              <a:r>
                <a:rPr kumimoji="0" lang="en-US" sz="1600" b="0" i="0" u="none" strike="noStrike" kern="1200" cap="none" spc="0" normalizeH="0" baseline="0" noProof="0">
                  <a:ln>
                    <a:noFill/>
                  </a:ln>
                  <a:solidFill>
                    <a:schemeClr val="tx1"/>
                  </a:solidFill>
                  <a:effectLst/>
                  <a:uLnTx/>
                  <a:uFillTx/>
                  <a:latin typeface="Segoe UI"/>
                </a:rPr>
                <a:t>in your organization</a:t>
              </a:r>
              <a:endParaRPr kumimoji="0" lang="en-US" sz="16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F66C7D1B-E586-D8CB-01AF-121525964663}"/>
              </a:ext>
            </a:extLst>
          </p:cNvPr>
          <p:cNvGrpSpPr/>
          <p:nvPr/>
        </p:nvGrpSpPr>
        <p:grpSpPr>
          <a:xfrm>
            <a:off x="5268790" y="3166365"/>
            <a:ext cx="5821285" cy="492443"/>
            <a:chOff x="5268790" y="3073730"/>
            <a:chExt cx="5821285" cy="492443"/>
          </a:xfrm>
        </p:grpSpPr>
        <p:sp>
          <p:nvSpPr>
            <p:cNvPr id="6" name="Oval 5">
              <a:extLst>
                <a:ext uri="{FF2B5EF4-FFF2-40B4-BE49-F238E27FC236}">
                  <a16:creationId xmlns:a16="http://schemas.microsoft.com/office/drawing/2014/main" id="{74047E26-52D2-8FD7-9418-ABA2D552A73A}"/>
                </a:ext>
                <a:ext uri="{C183D7F6-B498-43B3-948B-1728B52AA6E4}">
                  <adec:decorative xmlns:adec="http://schemas.microsoft.com/office/drawing/2017/decorative" val="0"/>
                </a:ext>
              </a:extLst>
            </p:cNvPr>
            <p:cNvSpPr/>
            <p:nvPr/>
          </p:nvSpPr>
          <p:spPr bwMode="auto">
            <a:xfrm>
              <a:off x="5268790" y="3137304"/>
              <a:ext cx="365294" cy="365294"/>
            </a:xfrm>
            <a:prstGeom prst="ellipse">
              <a:avLst/>
            </a:prstGeom>
            <a:gradFill flip="none" rotWithShape="1">
              <a:gsLst>
                <a:gs pos="0">
                  <a:srgbClr val="0078D4"/>
                </a:gs>
                <a:gs pos="80000">
                  <a:srgbClr val="399A91"/>
                </a:gs>
              </a:gsLst>
              <a:path path="circle">
                <a:fillToRect l="100000" t="100000"/>
              </a:path>
              <a:tileRect r="-100000" b="-100000"/>
            </a:gra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chemeClr val="bg1"/>
                  </a:solidFill>
                  <a:effectLst/>
                  <a:uLnTx/>
                  <a:uFillTx/>
                  <a:latin typeface="Segoe UI Semibold"/>
                  <a:ea typeface="+mn-ea"/>
                  <a:cs typeface="+mn-cs"/>
                </a:rPr>
                <a:t>2</a:t>
              </a:r>
              <a:endParaRPr kumimoji="0" lang="en-US" sz="1400" b="0" i="0" u="none" strike="noStrike" kern="1200" cap="none" spc="0" normalizeH="0" baseline="0" noProof="0">
                <a:ln>
                  <a:noFill/>
                </a:ln>
                <a:solidFill>
                  <a:schemeClr val="bg1"/>
                </a:solidFill>
                <a:effectLst/>
                <a:uLnTx/>
                <a:uFillTx/>
                <a:latin typeface="Segoe UI Semibold"/>
                <a:ea typeface="+mn-ea"/>
                <a:cs typeface="+mn-cs"/>
              </a:endParaRPr>
            </a:p>
          </p:txBody>
        </p:sp>
        <p:sp>
          <p:nvSpPr>
            <p:cNvPr id="14" name="Rectangle 13">
              <a:extLst>
                <a:ext uri="{FF2B5EF4-FFF2-40B4-BE49-F238E27FC236}">
                  <a16:creationId xmlns:a16="http://schemas.microsoft.com/office/drawing/2014/main" id="{59194F85-ABAD-E6B3-505D-92402C4BFABF}"/>
                </a:ext>
              </a:extLst>
            </p:cNvPr>
            <p:cNvSpPr>
              <a:spLocks/>
            </p:cNvSpPr>
            <p:nvPr/>
          </p:nvSpPr>
          <p:spPr bwMode="auto">
            <a:xfrm>
              <a:off x="5802923" y="3073730"/>
              <a:ext cx="5287152" cy="4924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a:rPr>
                <a:t>Scan for sensitive data, analyze access patterns, and adjust permissions to pinpoint potential oversharing</a:t>
              </a:r>
              <a:endParaRPr kumimoji="0" lang="en-US" sz="16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C567FDA0-F5F1-CB5A-F97E-8BA35A2FD461}"/>
              </a:ext>
            </a:extLst>
          </p:cNvPr>
          <p:cNvGrpSpPr/>
          <p:nvPr/>
        </p:nvGrpSpPr>
        <p:grpSpPr>
          <a:xfrm>
            <a:off x="5268790" y="3962208"/>
            <a:ext cx="5821285" cy="492443"/>
            <a:chOff x="5268790" y="3776938"/>
            <a:chExt cx="5821285" cy="492443"/>
          </a:xfrm>
        </p:grpSpPr>
        <p:sp>
          <p:nvSpPr>
            <p:cNvPr id="26" name="Oval 25">
              <a:extLst>
                <a:ext uri="{FF2B5EF4-FFF2-40B4-BE49-F238E27FC236}">
                  <a16:creationId xmlns:a16="http://schemas.microsoft.com/office/drawing/2014/main" id="{EF21F251-7B7C-29FC-903B-C6589FF59782}"/>
                </a:ext>
                <a:ext uri="{C183D7F6-B498-43B3-948B-1728B52AA6E4}">
                  <adec:decorative xmlns:adec="http://schemas.microsoft.com/office/drawing/2017/decorative" val="0"/>
                </a:ext>
              </a:extLst>
            </p:cNvPr>
            <p:cNvSpPr/>
            <p:nvPr/>
          </p:nvSpPr>
          <p:spPr bwMode="auto">
            <a:xfrm>
              <a:off x="5268790" y="3840512"/>
              <a:ext cx="365294" cy="365294"/>
            </a:xfrm>
            <a:prstGeom prst="ellipse">
              <a:avLst/>
            </a:prstGeom>
            <a:gradFill flip="none" rotWithShape="1">
              <a:gsLst>
                <a:gs pos="0">
                  <a:srgbClr val="AC35AF"/>
                </a:gs>
                <a:gs pos="80000">
                  <a:srgbClr val="0A6BBA"/>
                </a:gs>
              </a:gsLst>
              <a:path path="circle">
                <a:fillToRect l="100000" t="100000"/>
              </a:path>
              <a:tileRect r="-100000" b="-100000"/>
            </a:gradFill>
            <a:ln w="63897" cap="flat">
              <a:noFill/>
              <a:prstDash val="solid"/>
              <a:miter/>
            </a:ln>
            <a:effectLst>
              <a:outerShdw blurRad="63500" dist="63500" dir="24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chemeClr val="bg1"/>
                  </a:solidFill>
                  <a:effectLst/>
                  <a:uLnTx/>
                  <a:uFillTx/>
                  <a:latin typeface="Segoe UI Semibold"/>
                  <a:ea typeface="+mn-ea"/>
                  <a:cs typeface="+mn-cs"/>
                </a:rPr>
                <a:t>3</a:t>
              </a:r>
              <a:endParaRPr kumimoji="0" lang="en-US" sz="1400" b="1" i="0" u="none" strike="noStrike" kern="1200" cap="none" spc="0" normalizeH="0" baseline="0" noProof="0">
                <a:ln>
                  <a:noFill/>
                </a:ln>
                <a:solidFill>
                  <a:schemeClr val="bg1"/>
                </a:solidFill>
                <a:effectLst/>
                <a:uLnTx/>
                <a:uFillTx/>
                <a:latin typeface="Segoe UI Semibold"/>
                <a:ea typeface="+mn-ea"/>
                <a:cs typeface="+mn-cs"/>
              </a:endParaRPr>
            </a:p>
          </p:txBody>
        </p:sp>
        <p:sp>
          <p:nvSpPr>
            <p:cNvPr id="16" name="Rectangle 15">
              <a:extLst>
                <a:ext uri="{FF2B5EF4-FFF2-40B4-BE49-F238E27FC236}">
                  <a16:creationId xmlns:a16="http://schemas.microsoft.com/office/drawing/2014/main" id="{FD199DE0-7BEC-AF4A-0B9F-EBF35AED743D}"/>
                </a:ext>
              </a:extLst>
            </p:cNvPr>
            <p:cNvSpPr>
              <a:spLocks/>
            </p:cNvSpPr>
            <p:nvPr/>
          </p:nvSpPr>
          <p:spPr bwMode="auto">
            <a:xfrm>
              <a:off x="5802923" y="3776938"/>
              <a:ext cx="5287152" cy="4924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Label your data to exclude potentially sensitive content from M365 Copilot grounding data </a:t>
              </a:r>
            </a:p>
          </p:txBody>
        </p:sp>
      </p:grpSp>
      <p:grpSp>
        <p:nvGrpSpPr>
          <p:cNvPr id="12" name="Group 11">
            <a:extLst>
              <a:ext uri="{FF2B5EF4-FFF2-40B4-BE49-F238E27FC236}">
                <a16:creationId xmlns:a16="http://schemas.microsoft.com/office/drawing/2014/main" id="{FB496C6E-FBFF-C334-F6C5-A87B255A74DF}"/>
              </a:ext>
            </a:extLst>
          </p:cNvPr>
          <p:cNvGrpSpPr/>
          <p:nvPr/>
        </p:nvGrpSpPr>
        <p:grpSpPr>
          <a:xfrm>
            <a:off x="5268790" y="4758051"/>
            <a:ext cx="5821285" cy="492443"/>
            <a:chOff x="5268790" y="4480146"/>
            <a:chExt cx="5821285" cy="492443"/>
          </a:xfrm>
        </p:grpSpPr>
        <p:sp>
          <p:nvSpPr>
            <p:cNvPr id="28" name="Oval 27">
              <a:extLst>
                <a:ext uri="{FF2B5EF4-FFF2-40B4-BE49-F238E27FC236}">
                  <a16:creationId xmlns:a16="http://schemas.microsoft.com/office/drawing/2014/main" id="{5CFD3CA6-8E7A-469E-925B-47AAECBE8ADF}"/>
                </a:ext>
                <a:ext uri="{C183D7F6-B498-43B3-948B-1728B52AA6E4}">
                  <adec:decorative xmlns:adec="http://schemas.microsoft.com/office/drawing/2017/decorative" val="0"/>
                </a:ext>
              </a:extLst>
            </p:cNvPr>
            <p:cNvSpPr/>
            <p:nvPr/>
          </p:nvSpPr>
          <p:spPr bwMode="auto">
            <a:xfrm>
              <a:off x="5268790" y="4543720"/>
              <a:ext cx="365294" cy="365294"/>
            </a:xfrm>
            <a:prstGeom prst="ellipse">
              <a:avLst/>
            </a:prstGeom>
            <a:gradFill flip="none" rotWithShape="1">
              <a:gsLst>
                <a:gs pos="11000">
                  <a:srgbClr val="FF5C39"/>
                </a:gs>
                <a:gs pos="90000">
                  <a:srgbClr val="C03BC4"/>
                </a:gs>
              </a:gsLst>
              <a:path path="circle">
                <a:fillToRect l="100000" t="100000"/>
              </a:path>
              <a:tileRect r="-100000" b="-100000"/>
            </a:gradFill>
            <a:ln w="19050" cap="rnd">
              <a:noFill/>
              <a:headEnd type="none" w="med" len="med"/>
              <a:tailEnd type="none" w="med" len="med"/>
            </a:ln>
            <a:effectLst>
              <a:outerShdw blurRad="63500" dist="63500" dir="24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r>
                <a:rPr kumimoji="0" lang="en-IN" sz="1400" b="1" i="0" u="none" strike="noStrike" kern="1200" cap="none" spc="0" normalizeH="0" baseline="0" noProof="0">
                  <a:ln>
                    <a:noFill/>
                  </a:ln>
                  <a:solidFill>
                    <a:schemeClr val="bg1"/>
                  </a:solidFill>
                  <a:effectLst/>
                  <a:uLnTx/>
                  <a:uFillTx/>
                  <a:latin typeface="Segoe UI Semibold"/>
                  <a:ea typeface="+mn-ea"/>
                  <a:cs typeface="+mn-cs"/>
                </a:rPr>
                <a:t>4</a:t>
              </a:r>
              <a:endParaRPr kumimoji="0" lang="en-US" sz="1400" b="1" i="0" u="none" strike="noStrike" kern="1200" cap="none" spc="0" normalizeH="0" baseline="0" noProof="0">
                <a:ln>
                  <a:noFill/>
                </a:ln>
                <a:solidFill>
                  <a:schemeClr val="bg1"/>
                </a:solidFill>
                <a:effectLst/>
                <a:uLnTx/>
                <a:uFillTx/>
                <a:latin typeface="Segoe UI Semibold"/>
                <a:ea typeface="+mn-ea"/>
                <a:cs typeface="+mn-cs"/>
              </a:endParaRPr>
            </a:p>
          </p:txBody>
        </p:sp>
        <p:sp>
          <p:nvSpPr>
            <p:cNvPr id="3" name="Rectangle 2">
              <a:extLst>
                <a:ext uri="{FF2B5EF4-FFF2-40B4-BE49-F238E27FC236}">
                  <a16:creationId xmlns:a16="http://schemas.microsoft.com/office/drawing/2014/main" id="{4A880CF2-9E55-5404-C6AE-E60F23304C04}"/>
                </a:ext>
              </a:extLst>
            </p:cNvPr>
            <p:cNvSpPr>
              <a:spLocks/>
            </p:cNvSpPr>
            <p:nvPr/>
          </p:nvSpPr>
          <p:spPr bwMode="auto">
            <a:xfrm>
              <a:off x="5802923" y="4480146"/>
              <a:ext cx="5287152" cy="4924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Auto-Apply labels on files containing sensitive data and restrict access to only the project members</a:t>
              </a:r>
            </a:p>
          </p:txBody>
        </p:sp>
      </p:grpSp>
      <p:grpSp>
        <p:nvGrpSpPr>
          <p:cNvPr id="15" name="Group 14">
            <a:extLst>
              <a:ext uri="{FF2B5EF4-FFF2-40B4-BE49-F238E27FC236}">
                <a16:creationId xmlns:a16="http://schemas.microsoft.com/office/drawing/2014/main" id="{FCABEA15-F604-FCA0-9E18-1E2BA6E20B74}"/>
              </a:ext>
            </a:extLst>
          </p:cNvPr>
          <p:cNvGrpSpPr/>
          <p:nvPr/>
        </p:nvGrpSpPr>
        <p:grpSpPr>
          <a:xfrm>
            <a:off x="5266849" y="5553895"/>
            <a:ext cx="5821285" cy="492443"/>
            <a:chOff x="5268790" y="5183356"/>
            <a:chExt cx="5821285" cy="492443"/>
          </a:xfrm>
        </p:grpSpPr>
        <p:sp>
          <p:nvSpPr>
            <p:cNvPr id="30" name="Oval 29">
              <a:extLst>
                <a:ext uri="{FF2B5EF4-FFF2-40B4-BE49-F238E27FC236}">
                  <a16:creationId xmlns:a16="http://schemas.microsoft.com/office/drawing/2014/main" id="{4B6D8650-CC9B-589E-7126-6ED6DB3EA03C}"/>
                </a:ext>
                <a:ext uri="{C183D7F6-B498-43B3-948B-1728B52AA6E4}">
                  <adec:decorative xmlns:adec="http://schemas.microsoft.com/office/drawing/2017/decorative" val="0"/>
                </a:ext>
              </a:extLst>
            </p:cNvPr>
            <p:cNvSpPr/>
            <p:nvPr/>
          </p:nvSpPr>
          <p:spPr bwMode="auto">
            <a:xfrm>
              <a:off x="5268790" y="5246930"/>
              <a:ext cx="365294" cy="365294"/>
            </a:xfrm>
            <a:prstGeom prst="ellipse">
              <a:avLst/>
            </a:prstGeom>
            <a:gradFill flip="none" rotWithShape="1">
              <a:gsLst>
                <a:gs pos="0">
                  <a:srgbClr val="F4364C"/>
                </a:gs>
                <a:gs pos="80000">
                  <a:srgbClr val="FF5C39"/>
                </a:gs>
              </a:gsLst>
              <a:path path="circle">
                <a:fillToRect l="100000" t="100000"/>
              </a:path>
              <a:tileRect r="-100000" b="-100000"/>
            </a:gra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chemeClr val="bg1"/>
                  </a:solidFill>
                  <a:effectLst/>
                  <a:uLnTx/>
                  <a:uFillTx/>
                  <a:latin typeface="Segoe UI Semibold"/>
                  <a:ea typeface="+mn-ea"/>
                  <a:cs typeface="+mn-cs"/>
                </a:rPr>
                <a:t>5</a:t>
              </a:r>
              <a:endParaRPr kumimoji="0" lang="en-US" sz="1400" b="0" i="0" u="none" strike="noStrike" kern="1200" cap="none" spc="0" normalizeH="0" baseline="0" noProof="0">
                <a:ln>
                  <a:noFill/>
                </a:ln>
                <a:solidFill>
                  <a:schemeClr val="bg1"/>
                </a:solidFill>
                <a:effectLst/>
                <a:uLnTx/>
                <a:uFillTx/>
                <a:latin typeface="Segoe UI Semibold"/>
                <a:ea typeface="+mn-ea"/>
                <a:cs typeface="+mn-cs"/>
              </a:endParaRPr>
            </a:p>
          </p:txBody>
        </p:sp>
        <p:sp>
          <p:nvSpPr>
            <p:cNvPr id="18" name="Rectangle 17">
              <a:extLst>
                <a:ext uri="{FF2B5EF4-FFF2-40B4-BE49-F238E27FC236}">
                  <a16:creationId xmlns:a16="http://schemas.microsoft.com/office/drawing/2014/main" id="{F6430ED1-06CB-BCEA-1510-7848F7E2C07E}"/>
                </a:ext>
              </a:extLst>
            </p:cNvPr>
            <p:cNvSpPr>
              <a:spLocks/>
            </p:cNvSpPr>
            <p:nvPr/>
          </p:nvSpPr>
          <p:spPr bwMode="auto">
            <a:xfrm>
              <a:off x="5802923" y="5183356"/>
              <a:ext cx="5287152" cy="4924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a:rPr>
                <a:t>Create Data Loss Prevention policies for labeled files to prevent data exfiltration</a:t>
              </a:r>
              <a:endParaRPr kumimoji="0" lang="en-US" sz="16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sp>
        <p:nvSpPr>
          <p:cNvPr id="2" name="Title 8">
            <a:extLst>
              <a:ext uri="{FF2B5EF4-FFF2-40B4-BE49-F238E27FC236}">
                <a16:creationId xmlns:a16="http://schemas.microsoft.com/office/drawing/2014/main" id="{505E0E1E-9CB8-1CAF-BE8D-976D5F255A14}"/>
              </a:ext>
              <a:ext uri="{C183D7F6-B498-43B3-948B-1728B52AA6E4}">
                <adec:decorative xmlns:adec="http://schemas.microsoft.com/office/drawing/2017/decorative" val="1"/>
              </a:ext>
            </a:extLst>
          </p:cNvPr>
          <p:cNvSpPr>
            <a:spLocks/>
          </p:cNvSpPr>
          <p:nvPr/>
        </p:nvSpPr>
        <p:spPr bwMode="auto">
          <a:xfrm>
            <a:off x="5268790" y="1833997"/>
            <a:ext cx="1791927" cy="390942"/>
          </a:xfrm>
          <a:prstGeom prst="round2SameRect">
            <a:avLst>
              <a:gd name="adj1" fmla="val 14748"/>
              <a:gd name="adj2" fmla="val 18201"/>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r>
              <a:rPr kumimoji="0" lang="en-US" sz="1600" b="1" i="0" u="none" strike="noStrike" kern="1200" cap="none" spc="0" normalizeH="0" baseline="0" noProof="0">
                <a:ln>
                  <a:noFill/>
                </a:ln>
                <a:solidFill>
                  <a:srgbClr val="FFFFFF"/>
                </a:solidFill>
                <a:effectLst/>
                <a:uLnTx/>
                <a:uFillTx/>
                <a:latin typeface="Segoe UI Semibold"/>
                <a:ea typeface="+mn-ea"/>
                <a:cs typeface="+mn-cs"/>
              </a:rPr>
              <a:t>Best Practices</a:t>
            </a:r>
          </a:p>
        </p:txBody>
      </p:sp>
      <p:sp>
        <p:nvSpPr>
          <p:cNvPr id="5" name="Title 8">
            <a:extLst>
              <a:ext uri="{FF2B5EF4-FFF2-40B4-BE49-F238E27FC236}">
                <a16:creationId xmlns:a16="http://schemas.microsoft.com/office/drawing/2014/main" id="{E7FFA012-8A09-E73A-7ECC-1DF8CDA30B32}"/>
              </a:ext>
              <a:ext uri="{C183D7F6-B498-43B3-948B-1728B52AA6E4}">
                <adec:decorative xmlns:adec="http://schemas.microsoft.com/office/drawing/2017/decorative" val="1"/>
              </a:ext>
            </a:extLst>
          </p:cNvPr>
          <p:cNvSpPr>
            <a:spLocks/>
          </p:cNvSpPr>
          <p:nvPr/>
        </p:nvSpPr>
        <p:spPr bwMode="auto">
          <a:xfrm>
            <a:off x="5198740" y="6223730"/>
            <a:ext cx="5943242" cy="506313"/>
          </a:xfrm>
          <a:prstGeom prst="round2SameRect">
            <a:avLst>
              <a:gd name="adj1" fmla="val 14748"/>
              <a:gd name="adj2" fmla="val 18201"/>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400">
                <a:latin typeface="+mj-lt"/>
              </a:rPr>
              <a:t>aka.ms/Copilot/Oversharing</a:t>
            </a:r>
          </a:p>
        </p:txBody>
      </p:sp>
    </p:spTree>
    <p:extLst>
      <p:ext uri="{BB962C8B-B14F-4D97-AF65-F5344CB8AC3E}">
        <p14:creationId xmlns:p14="http://schemas.microsoft.com/office/powerpoint/2010/main" val="9975651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0"/>
                                  </p:stCondLst>
                                  <p:childTnLst>
                                    <p:animMotion origin="layout" path="M -2.70833E-6 7.40741E-7 L -2.70833E-6 0.03542 " pathEditMode="relative" rAng="0" ptsTypes="AA">
                                      <p:cBhvr>
                                        <p:cTn id="9" dur="700" spd="-100000" fill="hold"/>
                                        <p:tgtEl>
                                          <p:spTgt spid="9"/>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500"/>
                                        <p:tgtEl>
                                          <p:spTgt spid="31"/>
                                        </p:tgtEl>
                                      </p:cBhvr>
                                    </p:animEffect>
                                  </p:childTnLst>
                                </p:cTn>
                              </p:par>
                              <p:par>
                                <p:cTn id="13" presetID="42" presetClass="path" presetSubtype="0" decel="100000" fill="hold" grpId="1" nodeType="withEffect">
                                  <p:stCondLst>
                                    <p:cond delay="0"/>
                                  </p:stCondLst>
                                  <p:childTnLst>
                                    <p:animMotion origin="layout" path="M -2.70833E-6 1.48148E-6 L -2.70833E-6 0.03542 " pathEditMode="relative" rAng="0" ptsTypes="AA">
                                      <p:cBhvr>
                                        <p:cTn id="14" dur="700" spd="-100000" fill="hold"/>
                                        <p:tgtEl>
                                          <p:spTgt spid="31"/>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42" presetClass="path" presetSubtype="0" decel="100000" fill="hold" grpId="1" nodeType="withEffect">
                                  <p:stCondLst>
                                    <p:cond delay="100"/>
                                  </p:stCondLst>
                                  <p:childTnLst>
                                    <p:animMotion origin="layout" path="M 8.33333E-7 -4.44444E-6 L 8.33333E-7 0.03542 " pathEditMode="relative" rAng="0" ptsTypes="AA">
                                      <p:cBhvr>
                                        <p:cTn id="19" dur="700" spd="-100000" fill="hold"/>
                                        <p:tgtEl>
                                          <p:spTgt spid="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31" grpId="0"/>
      <p:bldP spid="31" grpId="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0C2700-E305-E497-CD0B-618E803C766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36FCFC2-9F4A-0169-1398-E683E0813BB9}"/>
              </a:ext>
            </a:extLst>
          </p:cNvPr>
          <p:cNvSpPr>
            <a:spLocks noGrp="1"/>
          </p:cNvSpPr>
          <p:nvPr>
            <p:ph type="title"/>
          </p:nvPr>
        </p:nvSpPr>
        <p:spPr>
          <a:xfrm>
            <a:off x="758597" y="2548242"/>
            <a:ext cx="10049816" cy="1495794"/>
          </a:xfrm>
        </p:spPr>
        <p:txBody>
          <a:bodyPr anchor="ctr"/>
          <a:lstStyle/>
          <a:p>
            <a:r>
              <a:rPr lang="en-US"/>
              <a:t>Securing AI Apps and Agents with Microsoft Purview</a:t>
            </a:r>
          </a:p>
        </p:txBody>
      </p:sp>
      <p:sp>
        <p:nvSpPr>
          <p:cNvPr id="2" name="Rectangle: Rounded Corners 7">
            <a:extLst>
              <a:ext uri="{FF2B5EF4-FFF2-40B4-BE49-F238E27FC236}">
                <a16:creationId xmlns:a16="http://schemas.microsoft.com/office/drawing/2014/main" id="{2E74335F-69C4-BAD7-0222-2C9F213B58D1}"/>
              </a:ext>
              <a:ext uri="{C183D7F6-B498-43B3-948B-1728B52AA6E4}">
                <adec:decorative xmlns:adec="http://schemas.microsoft.com/office/drawing/2017/decorative" val="1"/>
              </a:ext>
            </a:extLst>
          </p:cNvPr>
          <p:cNvSpPr>
            <a:spLocks/>
          </p:cNvSpPr>
          <p:nvPr/>
        </p:nvSpPr>
        <p:spPr bwMode="auto">
          <a:xfrm>
            <a:off x="7619313" y="2570655"/>
            <a:ext cx="2503633" cy="756306"/>
          </a:xfrm>
          <a:prstGeom prst="roundRect">
            <a:avLst>
              <a:gd name="adj" fmla="val 23762"/>
            </a:avLst>
          </a:prstGeom>
          <a:ln w="28575" cap="rnd">
            <a:gradFill flip="none" rotWithShape="1">
              <a:gsLst>
                <a:gs pos="0">
                  <a:srgbClr val="C03BC4"/>
                </a:gs>
                <a:gs pos="80000">
                  <a:srgbClr val="0078D4"/>
                </a:gs>
              </a:gsLst>
              <a:path path="circle">
                <a:fillToRect l="100000" t="100000"/>
              </a:path>
              <a:tileRect r="-100000" b="-100000"/>
            </a:gradFill>
            <a:prstDash val="sysDash"/>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300"/>
              </a:spcAft>
              <a:buClrTx/>
              <a:buSzTx/>
              <a:buFontTx/>
              <a:buNone/>
              <a:tabLst/>
              <a:defRPr/>
            </a:pPr>
            <a:endParaRPr kumimoji="0" lang="en-IN" sz="1200" b="1" i="0" u="none" strike="noStrike" kern="1200" cap="none" spc="0" normalizeH="0" baseline="0" noProof="0">
              <a:ln>
                <a:noFill/>
              </a:ln>
              <a:solidFill>
                <a:srgbClr val="0078D4"/>
              </a:solidFill>
              <a:effectLst/>
              <a:uLnTx/>
              <a:uFillTx/>
              <a:latin typeface="Segoe UI Semibold"/>
              <a:ea typeface="+mn-ea"/>
              <a:cs typeface="Segoe UI"/>
            </a:endParaRPr>
          </a:p>
        </p:txBody>
      </p:sp>
      <p:sp>
        <p:nvSpPr>
          <p:cNvPr id="8" name="TextBox 7">
            <a:extLst>
              <a:ext uri="{FF2B5EF4-FFF2-40B4-BE49-F238E27FC236}">
                <a16:creationId xmlns:a16="http://schemas.microsoft.com/office/drawing/2014/main" id="{220B0D73-379F-1E92-7935-C60E2CB1C98A}"/>
              </a:ext>
            </a:extLst>
          </p:cNvPr>
          <p:cNvSpPr txBox="1"/>
          <p:nvPr/>
        </p:nvSpPr>
        <p:spPr>
          <a:xfrm>
            <a:off x="8184241" y="1312052"/>
            <a:ext cx="3724475" cy="1107996"/>
          </a:xfrm>
          <a:prstGeom prst="rect">
            <a:avLst/>
          </a:prstGeom>
          <a:noFill/>
        </p:spPr>
        <p:txBody>
          <a:bodyPr wrap="square">
            <a:spAutoFit/>
          </a:bodyPr>
          <a:lstStyle/>
          <a:p>
            <a:r>
              <a:rPr kumimoji="0" lang="en-US" sz="2200" b="1" i="0" u="none" strike="noStrike" kern="1200" cap="none" spc="-50" normalizeH="0" baseline="0" noProof="0">
                <a:ln w="3175">
                  <a:noFill/>
                </a:ln>
                <a:solidFill>
                  <a:schemeClr val="bg1">
                    <a:lumMod val="75000"/>
                  </a:schemeClr>
                </a:solidFill>
                <a:effectLst/>
                <a:uLnTx/>
                <a:uFillTx/>
                <a:latin typeface="Segoe Print" panose="02000600000000000000" pitchFamily="2" charset="0"/>
                <a:cs typeface="Segoe UI" panose="020B0502040204020203" pitchFamily="34" charset="0"/>
              </a:rPr>
              <a:t>Starting with agents</a:t>
            </a:r>
            <a:r>
              <a:rPr kumimoji="0" lang="en-US" sz="2200" b="1" i="0" u="none" strike="noStrike" kern="1200" cap="none" spc="-50" normalizeH="0" noProof="0">
                <a:ln w="3175">
                  <a:noFill/>
                </a:ln>
                <a:solidFill>
                  <a:schemeClr val="bg1">
                    <a:lumMod val="75000"/>
                  </a:schemeClr>
                </a:solidFill>
                <a:effectLst/>
                <a:uLnTx/>
                <a:uFillTx/>
                <a:latin typeface="Segoe Print" panose="02000600000000000000" pitchFamily="2" charset="0"/>
                <a:cs typeface="Segoe UI" panose="020B0502040204020203" pitchFamily="34" charset="0"/>
              </a:rPr>
              <a:t> </a:t>
            </a:r>
          </a:p>
          <a:p>
            <a:r>
              <a:rPr lang="en-US" sz="2200" b="1" spc="-50" baseline="0">
                <a:ln w="3175">
                  <a:noFill/>
                </a:ln>
                <a:solidFill>
                  <a:schemeClr val="bg1">
                    <a:lumMod val="75000"/>
                  </a:schemeClr>
                </a:solidFill>
                <a:latin typeface="Segoe Print" panose="02000600000000000000" pitchFamily="2" charset="0"/>
                <a:cs typeface="Segoe UI" panose="020B0502040204020203" pitchFamily="34" charset="0"/>
              </a:rPr>
              <a:t>for</a:t>
            </a:r>
            <a:r>
              <a:rPr lang="en-US" sz="2200" b="1" spc="-50">
                <a:ln w="3175">
                  <a:noFill/>
                </a:ln>
                <a:solidFill>
                  <a:schemeClr val="bg1">
                    <a:lumMod val="75000"/>
                  </a:schemeClr>
                </a:solidFill>
                <a:latin typeface="Segoe Print" panose="02000600000000000000" pitchFamily="2" charset="0"/>
                <a:cs typeface="Segoe UI" panose="020B0502040204020203" pitchFamily="34" charset="0"/>
              </a:rPr>
              <a:t> </a:t>
            </a:r>
            <a:r>
              <a:rPr kumimoji="0" lang="en-US" sz="2200" b="1" i="0" u="none" strike="noStrike" kern="1200" cap="none" spc="-50" normalizeH="0" baseline="0" noProof="0">
                <a:ln w="3175">
                  <a:noFill/>
                </a:ln>
                <a:solidFill>
                  <a:schemeClr val="bg1">
                    <a:lumMod val="75000"/>
                  </a:schemeClr>
                </a:solidFill>
                <a:effectLst/>
                <a:uLnTx/>
                <a:uFillTx/>
                <a:latin typeface="Segoe Print" panose="02000600000000000000" pitchFamily="2" charset="0"/>
                <a:cs typeface="Segoe UI" panose="020B0502040204020203" pitchFamily="34" charset="0"/>
              </a:rPr>
              <a:t>Microsoft 365 Copilot</a:t>
            </a:r>
          </a:p>
          <a:p>
            <a:r>
              <a:rPr lang="en-US" sz="2200" b="1" spc="-50">
                <a:ln w="3175">
                  <a:noFill/>
                </a:ln>
                <a:solidFill>
                  <a:schemeClr val="bg1">
                    <a:lumMod val="75000"/>
                  </a:schemeClr>
                </a:solidFill>
                <a:latin typeface="Segoe Print" panose="02000600000000000000" pitchFamily="2" charset="0"/>
                <a:cs typeface="Segoe UI" panose="020B0502040204020203" pitchFamily="34" charset="0"/>
              </a:rPr>
              <a:t>and Copilot Studio…</a:t>
            </a:r>
            <a:endParaRPr lang="en-US" sz="2200">
              <a:solidFill>
                <a:schemeClr val="bg1">
                  <a:lumMod val="75000"/>
                </a:schemeClr>
              </a:solidFill>
              <a:latin typeface="Segoe Print" panose="02000600000000000000" pitchFamily="2" charset="0"/>
            </a:endParaRPr>
          </a:p>
        </p:txBody>
      </p:sp>
      <p:sp>
        <p:nvSpPr>
          <p:cNvPr id="12" name="Arc 11">
            <a:extLst>
              <a:ext uri="{FF2B5EF4-FFF2-40B4-BE49-F238E27FC236}">
                <a16:creationId xmlns:a16="http://schemas.microsoft.com/office/drawing/2014/main" id="{D015AE39-2F95-8705-DF90-A717122B6B19}"/>
              </a:ext>
            </a:extLst>
          </p:cNvPr>
          <p:cNvSpPr/>
          <p:nvPr/>
        </p:nvSpPr>
        <p:spPr>
          <a:xfrm rot="17921614">
            <a:off x="7788884" y="1887177"/>
            <a:ext cx="660542" cy="600274"/>
          </a:xfrm>
          <a:custGeom>
            <a:avLst/>
            <a:gdLst>
              <a:gd name="connsiteX0" fmla="*/ 4780 w 660542"/>
              <a:gd name="connsiteY0" fmla="*/ 351018 h 600274"/>
              <a:gd name="connsiteX1" fmla="*/ 279308 w 660542"/>
              <a:gd name="connsiteY1" fmla="*/ 3595 h 600274"/>
              <a:gd name="connsiteX2" fmla="*/ 653730 w 660542"/>
              <a:gd name="connsiteY2" fmla="*/ 239498 h 600274"/>
              <a:gd name="connsiteX3" fmla="*/ 330271 w 660542"/>
              <a:gd name="connsiteY3" fmla="*/ 300137 h 600274"/>
              <a:gd name="connsiteX4" fmla="*/ 4780 w 660542"/>
              <a:gd name="connsiteY4" fmla="*/ 351018 h 600274"/>
              <a:gd name="connsiteX0" fmla="*/ 4780 w 660542"/>
              <a:gd name="connsiteY0" fmla="*/ 351018 h 600274"/>
              <a:gd name="connsiteX1" fmla="*/ 279308 w 660542"/>
              <a:gd name="connsiteY1" fmla="*/ 3595 h 600274"/>
              <a:gd name="connsiteX2" fmla="*/ 653730 w 660542"/>
              <a:gd name="connsiteY2" fmla="*/ 239498 h 600274"/>
            </a:gdLst>
            <a:ahLst/>
            <a:cxnLst>
              <a:cxn ang="0">
                <a:pos x="connsiteX0" y="connsiteY0"/>
              </a:cxn>
              <a:cxn ang="0">
                <a:pos x="connsiteX1" y="connsiteY1"/>
              </a:cxn>
              <a:cxn ang="0">
                <a:pos x="connsiteX2" y="connsiteY2"/>
              </a:cxn>
            </a:cxnLst>
            <a:rect l="l" t="t" r="r" b="b"/>
            <a:pathLst>
              <a:path w="660542" h="600274" stroke="0" extrusionOk="0">
                <a:moveTo>
                  <a:pt x="4780" y="351018"/>
                </a:moveTo>
                <a:cubicBezTo>
                  <a:pt x="-59415" y="175835"/>
                  <a:pt x="104645" y="67368"/>
                  <a:pt x="279308" y="3595"/>
                </a:cubicBezTo>
                <a:cubicBezTo>
                  <a:pt x="422171" y="-6215"/>
                  <a:pt x="636523" y="99194"/>
                  <a:pt x="653730" y="239498"/>
                </a:cubicBezTo>
                <a:cubicBezTo>
                  <a:pt x="571127" y="250161"/>
                  <a:pt x="405703" y="290762"/>
                  <a:pt x="330271" y="300137"/>
                </a:cubicBezTo>
                <a:cubicBezTo>
                  <a:pt x="248345" y="304830"/>
                  <a:pt x="127293" y="322050"/>
                  <a:pt x="4780" y="351018"/>
                </a:cubicBezTo>
                <a:close/>
              </a:path>
              <a:path w="660542" h="600274" fill="none" extrusionOk="0">
                <a:moveTo>
                  <a:pt x="4780" y="351018"/>
                </a:moveTo>
                <a:cubicBezTo>
                  <a:pt x="-63419" y="160339"/>
                  <a:pt x="116097" y="41860"/>
                  <a:pt x="279308" y="3595"/>
                </a:cubicBezTo>
                <a:cubicBezTo>
                  <a:pt x="487295" y="-41670"/>
                  <a:pt x="619793" y="86356"/>
                  <a:pt x="653730" y="239498"/>
                </a:cubicBezTo>
              </a:path>
              <a:path w="660542" h="600274" fill="none" stroke="0" extrusionOk="0">
                <a:moveTo>
                  <a:pt x="4780" y="351018"/>
                </a:moveTo>
                <a:cubicBezTo>
                  <a:pt x="-17885" y="163582"/>
                  <a:pt x="95998" y="37860"/>
                  <a:pt x="279308" y="3595"/>
                </a:cubicBezTo>
                <a:cubicBezTo>
                  <a:pt x="462665" y="-18920"/>
                  <a:pt x="617936" y="65929"/>
                  <a:pt x="653730" y="239498"/>
                </a:cubicBezTo>
              </a:path>
            </a:pathLst>
          </a:custGeom>
          <a:ln w="19050">
            <a:solidFill>
              <a:schemeClr val="bg1">
                <a:lumMod val="75000"/>
              </a:schemeClr>
            </a:solidFill>
            <a:headEnd type="none" w="lg" len="med"/>
            <a:tailEnd type="none" w="lg" len="med"/>
            <a:extLst>
              <a:ext uri="{C807C97D-BFC1-408E-A445-0C87EB9F89A2}">
                <ask:lineSketchStyleProps xmlns:ask="http://schemas.microsoft.com/office/drawing/2018/sketchyshapes" sd="1978871457">
                  <a:prstGeom prst="arc">
                    <a:avLst>
                      <a:gd name="adj1" fmla="val 10266924"/>
                      <a:gd name="adj2" fmla="val 20962919"/>
                    </a:avLst>
                  </a:prstGeom>
                  <ask:type>
                    <ask:lineSketchFreehand/>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536990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wipe(down)">
                                      <p:cBhvr>
                                        <p:cTn id="11" dur="500"/>
                                        <p:tgtEl>
                                          <p:spTgt spid="12"/>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p:bldP spid="1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0500415-8BBE-B17F-B542-6F1D19C4F867}"/>
              </a:ext>
            </a:extLst>
          </p:cNvPr>
          <p:cNvSpPr/>
          <p:nvPr/>
        </p:nvSpPr>
        <p:spPr>
          <a:xfrm>
            <a:off x="516344" y="2931130"/>
            <a:ext cx="11128375" cy="344109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28">
            <a:extLst>
              <a:ext uri="{FF2B5EF4-FFF2-40B4-BE49-F238E27FC236}">
                <a16:creationId xmlns:a16="http://schemas.microsoft.com/office/drawing/2014/main" id="{A3FDEE2D-E4DA-CE46-821C-D2D5AF6075F8}"/>
              </a:ext>
              <a:ext uri="{C183D7F6-B498-43B3-948B-1728B52AA6E4}">
                <adec:decorative xmlns:adec="http://schemas.microsoft.com/office/drawing/2017/decorative" val="1"/>
              </a:ext>
            </a:extLst>
          </p:cNvPr>
          <p:cNvSpPr>
            <a:spLocks/>
          </p:cNvSpPr>
          <p:nvPr/>
        </p:nvSpPr>
        <p:spPr bwMode="auto">
          <a:xfrm>
            <a:off x="339091" y="2036751"/>
            <a:ext cx="11513819" cy="204263"/>
          </a:xfrm>
          <a:prstGeom prst="roundRect">
            <a:avLst>
              <a:gd name="adj" fmla="val 50000"/>
            </a:avLst>
          </a:prstGeom>
          <a:gradFill flip="none" rotWithShape="1">
            <a:gsLst>
              <a:gs pos="0">
                <a:srgbClr val="FF5C39"/>
              </a:gs>
              <a:gs pos="20000">
                <a:srgbClr val="C03BC4"/>
              </a:gs>
              <a:gs pos="40000">
                <a:srgbClr val="0078D4"/>
              </a:gs>
              <a:gs pos="100000">
                <a:srgbClr val="399A91"/>
              </a:gs>
            </a:gsLst>
            <a:path path="circle">
              <a:fillToRect l="100000" t="100000"/>
            </a:path>
            <a:tileRect r="-100000" b="-100000"/>
          </a:grad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endParaRPr kumimoji="0" lang="en-GB" sz="800" b="1" i="0" u="none" strike="noStrike" kern="1200" cap="none" spc="0" normalizeH="0" baseline="0" noProof="0" err="1">
              <a:ln>
                <a:noFill/>
              </a:ln>
              <a:gradFill>
                <a:gsLst>
                  <a:gs pos="70629">
                    <a:srgbClr val="FFFFFF"/>
                  </a:gs>
                  <a:gs pos="48951">
                    <a:srgbClr val="FFFFFF"/>
                  </a:gs>
                </a:gsLst>
                <a:path path="circle">
                  <a:fillToRect l="100000" t="100000"/>
                </a:path>
              </a:gradFill>
              <a:effectLst/>
              <a:uLnTx/>
              <a:uFillTx/>
              <a:latin typeface="Segoe UI Semibold"/>
              <a:ea typeface="+mn-ea"/>
              <a:cs typeface="+mn-cs"/>
            </a:endParaRPr>
          </a:p>
        </p:txBody>
      </p:sp>
      <p:sp>
        <p:nvSpPr>
          <p:cNvPr id="5" name="TextBox 4">
            <a:extLst>
              <a:ext uri="{FF2B5EF4-FFF2-40B4-BE49-F238E27FC236}">
                <a16:creationId xmlns:a16="http://schemas.microsoft.com/office/drawing/2014/main" id="{EBCC7721-EFB6-743E-EDC5-D584471ECD48}"/>
              </a:ext>
              <a:ext uri="{C183D7F6-B498-43B3-948B-1728B52AA6E4}">
                <adec:decorative xmlns:adec="http://schemas.microsoft.com/office/drawing/2017/decorative" val="0"/>
              </a:ext>
            </a:extLst>
          </p:cNvPr>
          <p:cNvSpPr txBox="1">
            <a:spLocks/>
          </p:cNvSpPr>
          <p:nvPr/>
        </p:nvSpPr>
        <p:spPr>
          <a:xfrm>
            <a:off x="3890672" y="2641569"/>
            <a:ext cx="4538953" cy="579123"/>
          </a:xfrm>
          <a:prstGeom prst="roundRect">
            <a:avLst/>
          </a:prstGeom>
          <a:gradFill flip="none" rotWithShape="1">
            <a:gsLst>
              <a:gs pos="0">
                <a:srgbClr val="0078D4"/>
              </a:gs>
              <a:gs pos="80000">
                <a:srgbClr val="399A91"/>
              </a:gs>
            </a:gsLst>
            <a:path path="circle">
              <a:fillToRect l="100000" t="100000"/>
            </a:path>
            <a:tileRect r="-100000" b="-100000"/>
          </a:gradFill>
          <a:ln w="63897" cap="flat">
            <a:noFill/>
            <a:prstDash val="solid"/>
            <a:miter/>
          </a:ln>
          <a:effectLst>
            <a:outerShdw blurRad="63500" dist="63500" dir="2700000" algn="tl" rotWithShape="0">
              <a:srgbClr val="000000">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14400">
              <a:defRPr sz="700">
                <a:solidFill>
                  <a:srgbClr val="FFFFFF"/>
                </a:solidFill>
                <a:latin typeface="Segoe UI"/>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a:solidFill>
                  <a:schemeClr val="bg1"/>
                </a:solidFill>
                <a:latin typeface="Segoe UI Semibold"/>
                <a:sym typeface="Helvetica Neue"/>
              </a:rPr>
              <a:t>Agents in Microsoft 365 Copilot</a:t>
            </a:r>
            <a:endParaRPr kumimoji="0" lang="en-US" sz="2000" b="0" i="0" u="none" strike="noStrike" kern="1200" cap="none" spc="0" normalizeH="0" baseline="0" noProof="0">
              <a:ln>
                <a:noFill/>
              </a:ln>
              <a:solidFill>
                <a:schemeClr val="bg1"/>
              </a:solidFill>
              <a:effectLst/>
              <a:uLnTx/>
              <a:uFillTx/>
              <a:latin typeface="Segoe UI Semibold"/>
              <a:ea typeface="+mn-ea"/>
              <a:cs typeface="+mn-cs"/>
              <a:sym typeface="Helvetica Neue"/>
            </a:endParaRPr>
          </a:p>
        </p:txBody>
      </p:sp>
      <p:grpSp>
        <p:nvGrpSpPr>
          <p:cNvPr id="6" name="Group 5">
            <a:extLst>
              <a:ext uri="{FF2B5EF4-FFF2-40B4-BE49-F238E27FC236}">
                <a16:creationId xmlns:a16="http://schemas.microsoft.com/office/drawing/2014/main" id="{A371AB45-5951-BC61-BDE7-D4FA48A5C779}"/>
              </a:ext>
            </a:extLst>
          </p:cNvPr>
          <p:cNvGrpSpPr/>
          <p:nvPr/>
        </p:nvGrpSpPr>
        <p:grpSpPr>
          <a:xfrm>
            <a:off x="695325" y="3837288"/>
            <a:ext cx="1925754" cy="1374037"/>
            <a:chOff x="910888" y="3428760"/>
            <a:chExt cx="1925754" cy="1374037"/>
          </a:xfrm>
        </p:grpSpPr>
        <p:pic>
          <p:nvPicPr>
            <p:cNvPr id="7" name="Picture 6" descr="Copilot logo">
              <a:extLst>
                <a:ext uri="{FF2B5EF4-FFF2-40B4-BE49-F238E27FC236}">
                  <a16:creationId xmlns:a16="http://schemas.microsoft.com/office/drawing/2014/main" id="{EA270B06-D35E-758D-CEB6-FF59FC6E1391}"/>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452386" y="3428760"/>
              <a:ext cx="690787" cy="615553"/>
            </a:xfrm>
            <a:prstGeom prst="rect">
              <a:avLst/>
            </a:prstGeom>
          </p:spPr>
        </p:pic>
        <p:sp>
          <p:nvSpPr>
            <p:cNvPr id="8" name="TextBox 7">
              <a:extLst>
                <a:ext uri="{FF2B5EF4-FFF2-40B4-BE49-F238E27FC236}">
                  <a16:creationId xmlns:a16="http://schemas.microsoft.com/office/drawing/2014/main" id="{242757D6-4962-6843-686E-80A623143778}"/>
                </a:ext>
                <a:ext uri="{C183D7F6-B498-43B3-948B-1728B52AA6E4}">
                  <adec:decorative xmlns:adec="http://schemas.microsoft.com/office/drawing/2017/decorative" val="0"/>
                </a:ext>
              </a:extLst>
            </p:cNvPr>
            <p:cNvSpPr txBox="1"/>
            <p:nvPr/>
          </p:nvSpPr>
          <p:spPr>
            <a:xfrm>
              <a:off x="910888" y="4187244"/>
              <a:ext cx="1925754"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30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a:ea typeface="+mn-ea"/>
                  <a:cs typeface="Segoe UI Semibold" panose="020B0702040204020203" pitchFamily="34" charset="0"/>
                </a:rPr>
                <a:t>Microsoft 365 Copilot</a:t>
              </a:r>
            </a:p>
          </p:txBody>
        </p:sp>
      </p:grpSp>
      <p:sp>
        <p:nvSpPr>
          <p:cNvPr id="9" name="Oval 10_1">
            <a:extLst>
              <a:ext uri="{FF2B5EF4-FFF2-40B4-BE49-F238E27FC236}">
                <a16:creationId xmlns:a16="http://schemas.microsoft.com/office/drawing/2014/main" id="{4A4FC639-D332-CEF0-752D-FD0C555E0439}"/>
              </a:ext>
              <a:ext uri="{C183D7F6-B498-43B3-948B-1728B52AA6E4}">
                <adec:decorative xmlns:adec="http://schemas.microsoft.com/office/drawing/2017/decorative" val="1"/>
              </a:ext>
            </a:extLst>
          </p:cNvPr>
          <p:cNvSpPr/>
          <p:nvPr/>
        </p:nvSpPr>
        <p:spPr>
          <a:xfrm>
            <a:off x="5847336" y="1829782"/>
            <a:ext cx="629794" cy="629794"/>
          </a:xfrm>
          <a:prstGeom prst="ellipse">
            <a:avLst/>
          </a:prstGeom>
          <a:solidFill>
            <a:schemeClr val="bg1"/>
          </a:solidFill>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10" name="Oval 9">
            <a:extLst>
              <a:ext uri="{FF2B5EF4-FFF2-40B4-BE49-F238E27FC236}">
                <a16:creationId xmlns:a16="http://schemas.microsoft.com/office/drawing/2014/main" id="{3593A8FF-946A-01EC-7E5E-41F300DE41AA}"/>
              </a:ext>
              <a:ext uri="{C183D7F6-B498-43B3-948B-1728B52AA6E4}">
                <adec:decorative xmlns:adec="http://schemas.microsoft.com/office/drawing/2017/decorative" val="1"/>
              </a:ext>
            </a:extLst>
          </p:cNvPr>
          <p:cNvSpPr/>
          <p:nvPr/>
        </p:nvSpPr>
        <p:spPr>
          <a:xfrm>
            <a:off x="6035911" y="2018357"/>
            <a:ext cx="252645" cy="252645"/>
          </a:xfrm>
          <a:prstGeom prst="ellipse">
            <a:avLst/>
          </a:prstGeom>
          <a:gradFill flip="none" rotWithShape="1">
            <a:gsLst>
              <a:gs pos="0">
                <a:srgbClr val="0078D4"/>
              </a:gs>
              <a:gs pos="80000">
                <a:srgbClr val="399A91"/>
              </a:gs>
            </a:gsLst>
            <a:path path="circle">
              <a:fillToRect l="100000" t="100000"/>
            </a:path>
            <a:tileRect r="-100000" b="-100000"/>
          </a:gradFill>
          <a:ln w="63897" cap="flat">
            <a:noFill/>
            <a:prstDash val="solid"/>
            <a:miter/>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cxnSp>
        <p:nvCxnSpPr>
          <p:cNvPr id="11" name="!!line1">
            <a:extLst>
              <a:ext uri="{FF2B5EF4-FFF2-40B4-BE49-F238E27FC236}">
                <a16:creationId xmlns:a16="http://schemas.microsoft.com/office/drawing/2014/main" id="{4AFB28FC-E663-1F3B-DBD1-A248DFB93BA5}"/>
              </a:ext>
              <a:ext uri="{C183D7F6-B498-43B3-948B-1728B52AA6E4}">
                <adec:decorative xmlns:adec="http://schemas.microsoft.com/office/drawing/2017/decorative" val="1"/>
              </a:ext>
            </a:extLst>
          </p:cNvPr>
          <p:cNvCxnSpPr>
            <a:cxnSpLocks/>
            <a:stCxn id="10" idx="4"/>
            <a:endCxn id="15" idx="0"/>
          </p:cNvCxnSpPr>
          <p:nvPr/>
        </p:nvCxnSpPr>
        <p:spPr>
          <a:xfrm flipH="1">
            <a:off x="6162233" y="2271002"/>
            <a:ext cx="1" cy="285975"/>
          </a:xfrm>
          <a:prstGeom prst="line">
            <a:avLst/>
          </a:prstGeom>
          <a:ln cap="rnd">
            <a:solidFill>
              <a:schemeClr val="tx1">
                <a:alpha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0D354ED7-1B56-F74F-6DA3-6D96D81EF471}"/>
              </a:ext>
              <a:ext uri="{C183D7F6-B498-43B3-948B-1728B52AA6E4}">
                <adec:decorative xmlns:adec="http://schemas.microsoft.com/office/drawing/2017/decorative" val="1"/>
              </a:ext>
            </a:extLst>
          </p:cNvPr>
          <p:cNvSpPr/>
          <p:nvPr/>
        </p:nvSpPr>
        <p:spPr>
          <a:xfrm>
            <a:off x="6083797" y="2556977"/>
            <a:ext cx="156872" cy="156872"/>
          </a:xfrm>
          <a:prstGeom prst="ellipse">
            <a:avLst/>
          </a:prstGeom>
          <a:gradFill flip="none" rotWithShape="1">
            <a:gsLst>
              <a:gs pos="0">
                <a:srgbClr val="0078D4"/>
              </a:gs>
              <a:gs pos="80000">
                <a:srgbClr val="399A91"/>
              </a:gs>
            </a:gsLst>
            <a:path path="circle">
              <a:fillToRect l="100000" t="100000"/>
            </a:path>
            <a:tileRect r="-100000" b="-100000"/>
          </a:gradFill>
          <a:ln w="47625" cap="flat">
            <a:solidFill>
              <a:schemeClr val="bg1"/>
            </a:solidFill>
            <a:prstDash val="solid"/>
            <a:miter/>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effectLst/>
              <a:uLnTx/>
              <a:uFillTx/>
              <a:latin typeface="Segoe UI Semibold"/>
              <a:ea typeface="+mn-ea"/>
              <a:cs typeface="Segoe UI" pitchFamily="34" charset="0"/>
            </a:endParaRPr>
          </a:p>
        </p:txBody>
      </p:sp>
      <p:grpSp>
        <p:nvGrpSpPr>
          <p:cNvPr id="16" name="Group 15">
            <a:extLst>
              <a:ext uri="{FF2B5EF4-FFF2-40B4-BE49-F238E27FC236}">
                <a16:creationId xmlns:a16="http://schemas.microsoft.com/office/drawing/2014/main" id="{3510A7F6-76DE-1A4D-59D4-39020988E411}"/>
              </a:ext>
              <a:ext uri="{C183D7F6-B498-43B3-948B-1728B52AA6E4}">
                <adec:decorative xmlns:adec="http://schemas.microsoft.com/office/drawing/2017/decorative" val="1"/>
              </a:ext>
            </a:extLst>
          </p:cNvPr>
          <p:cNvGrpSpPr/>
          <p:nvPr/>
        </p:nvGrpSpPr>
        <p:grpSpPr>
          <a:xfrm rot="5400000" flipH="1" flipV="1">
            <a:off x="11613493" y="2039427"/>
            <a:ext cx="149292" cy="198910"/>
            <a:chOff x="6667356" y="2954907"/>
            <a:chExt cx="594920" cy="721978"/>
          </a:xfrm>
          <a:solidFill>
            <a:schemeClr val="tx1"/>
          </a:solidFill>
        </p:grpSpPr>
        <p:sp>
          <p:nvSpPr>
            <p:cNvPr id="17" name="Graphic 9">
              <a:extLst>
                <a:ext uri="{FF2B5EF4-FFF2-40B4-BE49-F238E27FC236}">
                  <a16:creationId xmlns:a16="http://schemas.microsoft.com/office/drawing/2014/main" id="{EDC8221E-05FA-4B47-246A-6B9B956EE052}"/>
                </a:ext>
              </a:extLst>
            </p:cNvPr>
            <p:cNvSpPr/>
            <p:nvPr/>
          </p:nvSpPr>
          <p:spPr>
            <a:xfrm rot="5400000">
              <a:off x="6784802" y="2837461"/>
              <a:ext cx="360028" cy="594920"/>
            </a:xfrm>
            <a:custGeom>
              <a:avLst/>
              <a:gdLst>
                <a:gd name="connsiteX0" fmla="*/ 763036 w 1308282"/>
                <a:gd name="connsiteY0" fmla="*/ 1084040 h 2161841"/>
                <a:gd name="connsiteX1" fmla="*/ 732841 w 1308282"/>
                <a:gd name="connsiteY1" fmla="*/ 1059275 h 2161841"/>
                <a:gd name="connsiteX2" fmla="*/ 69330 w 1308282"/>
                <a:gd name="connsiteY2" fmla="*/ 396335 h 2161841"/>
                <a:gd name="connsiteX3" fmla="*/ 107525 w 1308282"/>
                <a:gd name="connsiteY3" fmla="*/ 34862 h 2161841"/>
                <a:gd name="connsiteX4" fmla="*/ 389275 w 1308282"/>
                <a:gd name="connsiteY4" fmla="*/ 66199 h 2161841"/>
                <a:gd name="connsiteX5" fmla="*/ 556057 w 1308282"/>
                <a:gd name="connsiteY5" fmla="*/ 232791 h 2161841"/>
                <a:gd name="connsiteX6" fmla="*/ 1234047 w 1308282"/>
                <a:gd name="connsiteY6" fmla="*/ 914972 h 2161841"/>
                <a:gd name="connsiteX7" fmla="*/ 1233856 w 1308282"/>
                <a:gd name="connsiteY7" fmla="*/ 1252157 h 2161841"/>
                <a:gd name="connsiteX8" fmla="*/ 396799 w 1308282"/>
                <a:gd name="connsiteY8" fmla="*/ 2088737 h 2161841"/>
                <a:gd name="connsiteX9" fmla="*/ 163151 w 1308282"/>
                <a:gd name="connsiteY9" fmla="*/ 2151317 h 2161841"/>
                <a:gd name="connsiteX10" fmla="*/ 4465 w 1308282"/>
                <a:gd name="connsiteY10" fmla="*/ 1972818 h 2161841"/>
                <a:gd name="connsiteX11" fmla="*/ 69235 w 1308282"/>
                <a:gd name="connsiteY11" fmla="*/ 1770983 h 2161841"/>
                <a:gd name="connsiteX12" fmla="*/ 734651 w 1308282"/>
                <a:gd name="connsiteY12" fmla="*/ 1106424 h 2161841"/>
                <a:gd name="connsiteX13" fmla="*/ 763036 w 1308282"/>
                <a:gd name="connsiteY13" fmla="*/ 1084136 h 2161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8282" h="2161841">
                  <a:moveTo>
                    <a:pt x="763036" y="1084040"/>
                  </a:moveTo>
                  <a:cubicBezTo>
                    <a:pt x="749129" y="1072706"/>
                    <a:pt x="740271" y="1066705"/>
                    <a:pt x="732841" y="1059275"/>
                  </a:cubicBezTo>
                  <a:cubicBezTo>
                    <a:pt x="511576" y="838391"/>
                    <a:pt x="290215" y="617601"/>
                    <a:pt x="69330" y="396335"/>
                  </a:cubicBezTo>
                  <a:cubicBezTo>
                    <a:pt x="-37160" y="289560"/>
                    <a:pt x="-18300" y="114872"/>
                    <a:pt x="107525" y="34862"/>
                  </a:cubicBezTo>
                  <a:cubicBezTo>
                    <a:pt x="196012" y="-21336"/>
                    <a:pt x="313170" y="-8668"/>
                    <a:pt x="389275" y="66199"/>
                  </a:cubicBezTo>
                  <a:cubicBezTo>
                    <a:pt x="445282" y="121349"/>
                    <a:pt x="500717" y="177070"/>
                    <a:pt x="556057" y="232791"/>
                  </a:cubicBezTo>
                  <a:cubicBezTo>
                    <a:pt x="782086" y="460153"/>
                    <a:pt x="1007923" y="687705"/>
                    <a:pt x="1234047" y="914972"/>
                  </a:cubicBezTo>
                  <a:cubicBezTo>
                    <a:pt x="1332821" y="1014222"/>
                    <a:pt x="1333297" y="1152716"/>
                    <a:pt x="1233856" y="1252157"/>
                  </a:cubicBezTo>
                  <a:cubicBezTo>
                    <a:pt x="954964" y="1531144"/>
                    <a:pt x="675787" y="1809845"/>
                    <a:pt x="396799" y="2088737"/>
                  </a:cubicBezTo>
                  <a:cubicBezTo>
                    <a:pt x="330886" y="2154651"/>
                    <a:pt x="252115" y="2177320"/>
                    <a:pt x="163151" y="2151317"/>
                  </a:cubicBezTo>
                  <a:cubicBezTo>
                    <a:pt x="74664" y="2125409"/>
                    <a:pt x="20562" y="2063306"/>
                    <a:pt x="4465" y="1972818"/>
                  </a:cubicBezTo>
                  <a:cubicBezTo>
                    <a:pt x="-9347" y="1895475"/>
                    <a:pt x="12847" y="1827276"/>
                    <a:pt x="69235" y="1770983"/>
                  </a:cubicBezTo>
                  <a:cubicBezTo>
                    <a:pt x="291072" y="1549527"/>
                    <a:pt x="512719" y="1327880"/>
                    <a:pt x="734651" y="1106424"/>
                  </a:cubicBezTo>
                  <a:cubicBezTo>
                    <a:pt x="741509" y="1099661"/>
                    <a:pt x="749891" y="1094423"/>
                    <a:pt x="763036" y="10841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Graphic 9">
              <a:extLst>
                <a:ext uri="{FF2B5EF4-FFF2-40B4-BE49-F238E27FC236}">
                  <a16:creationId xmlns:a16="http://schemas.microsoft.com/office/drawing/2014/main" id="{4082AFFC-AF23-52F6-8BF4-CF18616B9B58}"/>
                </a:ext>
              </a:extLst>
            </p:cNvPr>
            <p:cNvSpPr/>
            <p:nvPr/>
          </p:nvSpPr>
          <p:spPr>
            <a:xfrm rot="5400000">
              <a:off x="6784802" y="3199411"/>
              <a:ext cx="360028" cy="594920"/>
            </a:xfrm>
            <a:custGeom>
              <a:avLst/>
              <a:gdLst>
                <a:gd name="connsiteX0" fmla="*/ 763036 w 1308282"/>
                <a:gd name="connsiteY0" fmla="*/ 1084040 h 2161841"/>
                <a:gd name="connsiteX1" fmla="*/ 732841 w 1308282"/>
                <a:gd name="connsiteY1" fmla="*/ 1059275 h 2161841"/>
                <a:gd name="connsiteX2" fmla="*/ 69330 w 1308282"/>
                <a:gd name="connsiteY2" fmla="*/ 396335 h 2161841"/>
                <a:gd name="connsiteX3" fmla="*/ 107525 w 1308282"/>
                <a:gd name="connsiteY3" fmla="*/ 34862 h 2161841"/>
                <a:gd name="connsiteX4" fmla="*/ 389275 w 1308282"/>
                <a:gd name="connsiteY4" fmla="*/ 66199 h 2161841"/>
                <a:gd name="connsiteX5" fmla="*/ 556057 w 1308282"/>
                <a:gd name="connsiteY5" fmla="*/ 232791 h 2161841"/>
                <a:gd name="connsiteX6" fmla="*/ 1234047 w 1308282"/>
                <a:gd name="connsiteY6" fmla="*/ 914972 h 2161841"/>
                <a:gd name="connsiteX7" fmla="*/ 1233856 w 1308282"/>
                <a:gd name="connsiteY7" fmla="*/ 1252157 h 2161841"/>
                <a:gd name="connsiteX8" fmla="*/ 396799 w 1308282"/>
                <a:gd name="connsiteY8" fmla="*/ 2088737 h 2161841"/>
                <a:gd name="connsiteX9" fmla="*/ 163151 w 1308282"/>
                <a:gd name="connsiteY9" fmla="*/ 2151317 h 2161841"/>
                <a:gd name="connsiteX10" fmla="*/ 4465 w 1308282"/>
                <a:gd name="connsiteY10" fmla="*/ 1972818 h 2161841"/>
                <a:gd name="connsiteX11" fmla="*/ 69235 w 1308282"/>
                <a:gd name="connsiteY11" fmla="*/ 1770983 h 2161841"/>
                <a:gd name="connsiteX12" fmla="*/ 734651 w 1308282"/>
                <a:gd name="connsiteY12" fmla="*/ 1106424 h 2161841"/>
                <a:gd name="connsiteX13" fmla="*/ 763036 w 1308282"/>
                <a:gd name="connsiteY13" fmla="*/ 1084136 h 2161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8282" h="2161841">
                  <a:moveTo>
                    <a:pt x="763036" y="1084040"/>
                  </a:moveTo>
                  <a:cubicBezTo>
                    <a:pt x="749129" y="1072706"/>
                    <a:pt x="740271" y="1066705"/>
                    <a:pt x="732841" y="1059275"/>
                  </a:cubicBezTo>
                  <a:cubicBezTo>
                    <a:pt x="511576" y="838391"/>
                    <a:pt x="290215" y="617601"/>
                    <a:pt x="69330" y="396335"/>
                  </a:cubicBezTo>
                  <a:cubicBezTo>
                    <a:pt x="-37160" y="289560"/>
                    <a:pt x="-18300" y="114872"/>
                    <a:pt x="107525" y="34862"/>
                  </a:cubicBezTo>
                  <a:cubicBezTo>
                    <a:pt x="196012" y="-21336"/>
                    <a:pt x="313170" y="-8668"/>
                    <a:pt x="389275" y="66199"/>
                  </a:cubicBezTo>
                  <a:cubicBezTo>
                    <a:pt x="445282" y="121349"/>
                    <a:pt x="500717" y="177070"/>
                    <a:pt x="556057" y="232791"/>
                  </a:cubicBezTo>
                  <a:cubicBezTo>
                    <a:pt x="782086" y="460153"/>
                    <a:pt x="1007923" y="687705"/>
                    <a:pt x="1234047" y="914972"/>
                  </a:cubicBezTo>
                  <a:cubicBezTo>
                    <a:pt x="1332821" y="1014222"/>
                    <a:pt x="1333297" y="1152716"/>
                    <a:pt x="1233856" y="1252157"/>
                  </a:cubicBezTo>
                  <a:cubicBezTo>
                    <a:pt x="954964" y="1531144"/>
                    <a:pt x="675787" y="1809845"/>
                    <a:pt x="396799" y="2088737"/>
                  </a:cubicBezTo>
                  <a:cubicBezTo>
                    <a:pt x="330886" y="2154651"/>
                    <a:pt x="252115" y="2177320"/>
                    <a:pt x="163151" y="2151317"/>
                  </a:cubicBezTo>
                  <a:cubicBezTo>
                    <a:pt x="74664" y="2125409"/>
                    <a:pt x="20562" y="2063306"/>
                    <a:pt x="4465" y="1972818"/>
                  </a:cubicBezTo>
                  <a:cubicBezTo>
                    <a:pt x="-9347" y="1895475"/>
                    <a:pt x="12847" y="1827276"/>
                    <a:pt x="69235" y="1770983"/>
                  </a:cubicBezTo>
                  <a:cubicBezTo>
                    <a:pt x="291072" y="1549527"/>
                    <a:pt x="512719" y="1327880"/>
                    <a:pt x="734651" y="1106424"/>
                  </a:cubicBezTo>
                  <a:cubicBezTo>
                    <a:pt x="741509" y="1099661"/>
                    <a:pt x="749891" y="1094423"/>
                    <a:pt x="763036" y="10841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BBC4B57-862C-9C2C-C910-C6A85A0D6EE0}"/>
              </a:ext>
            </a:extLst>
          </p:cNvPr>
          <p:cNvSpPr>
            <a:spLocks noGrp="1"/>
          </p:cNvSpPr>
          <p:nvPr>
            <p:ph type="title"/>
          </p:nvPr>
        </p:nvSpPr>
        <p:spPr/>
        <p:txBody>
          <a:bodyPr>
            <a:noAutofit/>
          </a:bodyPr>
          <a:lstStyle/>
          <a:p>
            <a:r>
              <a:rPr lang="en-US" sz="3200"/>
              <a:t>M365 Copilot Agents + Microsoft Purview: </a:t>
            </a:r>
            <a:br>
              <a:rPr lang="en-US" sz="3200"/>
            </a:br>
            <a:r>
              <a:rPr lang="en-US" sz="3200"/>
              <a:t>Enterprise ready today!</a:t>
            </a:r>
          </a:p>
        </p:txBody>
      </p:sp>
      <p:sp>
        <p:nvSpPr>
          <p:cNvPr id="14" name="TextBox 13">
            <a:extLst>
              <a:ext uri="{FF2B5EF4-FFF2-40B4-BE49-F238E27FC236}">
                <a16:creationId xmlns:a16="http://schemas.microsoft.com/office/drawing/2014/main" id="{646DA72F-0666-2EDE-C2DA-2F5B5BDE5B63}"/>
              </a:ext>
              <a:ext uri="{C183D7F6-B498-43B3-948B-1728B52AA6E4}">
                <adec:decorative xmlns:adec="http://schemas.microsoft.com/office/drawing/2017/decorative" val="0"/>
              </a:ext>
            </a:extLst>
          </p:cNvPr>
          <p:cNvSpPr txBox="1"/>
          <p:nvPr/>
        </p:nvSpPr>
        <p:spPr>
          <a:xfrm>
            <a:off x="4322299" y="4179522"/>
            <a:ext cx="1769894"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30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a:ea typeface="+mn-ea"/>
                <a:cs typeface="Segoe UI Semibold" panose="020B0702040204020203" pitchFamily="34" charset="0"/>
              </a:rPr>
              <a:t>Copilot Studio</a:t>
            </a:r>
          </a:p>
        </p:txBody>
      </p:sp>
      <p:sp>
        <p:nvSpPr>
          <p:cNvPr id="22" name="TextBox 21">
            <a:extLst>
              <a:ext uri="{FF2B5EF4-FFF2-40B4-BE49-F238E27FC236}">
                <a16:creationId xmlns:a16="http://schemas.microsoft.com/office/drawing/2014/main" id="{28E4016E-1826-85B6-94EA-CF2124C27D9B}"/>
              </a:ext>
              <a:ext uri="{C183D7F6-B498-43B3-948B-1728B52AA6E4}">
                <adec:decorative xmlns:adec="http://schemas.microsoft.com/office/drawing/2017/decorative" val="0"/>
              </a:ext>
            </a:extLst>
          </p:cNvPr>
          <p:cNvSpPr txBox="1"/>
          <p:nvPr/>
        </p:nvSpPr>
        <p:spPr>
          <a:xfrm>
            <a:off x="2576355" y="5436989"/>
            <a:ext cx="1769894"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30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a:ea typeface="+mn-ea"/>
                <a:cs typeface="Segoe UI Semibold" panose="020B0702040204020203" pitchFamily="34" charset="0"/>
              </a:rPr>
              <a:t>Agent builder</a:t>
            </a:r>
          </a:p>
        </p:txBody>
      </p:sp>
      <p:sp>
        <p:nvSpPr>
          <p:cNvPr id="30" name="TextBox 29">
            <a:extLst>
              <a:ext uri="{FF2B5EF4-FFF2-40B4-BE49-F238E27FC236}">
                <a16:creationId xmlns:a16="http://schemas.microsoft.com/office/drawing/2014/main" id="{8F361EC7-D224-1F6E-C612-CDACDBDE1262}"/>
              </a:ext>
              <a:ext uri="{C183D7F6-B498-43B3-948B-1728B52AA6E4}">
                <adec:decorative xmlns:adec="http://schemas.microsoft.com/office/drawing/2017/decorative" val="0"/>
              </a:ext>
            </a:extLst>
          </p:cNvPr>
          <p:cNvSpPr txBox="1"/>
          <p:nvPr/>
        </p:nvSpPr>
        <p:spPr>
          <a:xfrm>
            <a:off x="6032325" y="5167608"/>
            <a:ext cx="1850418"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30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a:ea typeface="+mn-ea"/>
                <a:cs typeface="Segoe UI Semibold" panose="020B0702040204020203" pitchFamily="34" charset="0"/>
              </a:rPr>
              <a:t>Meeting facilitator agent</a:t>
            </a:r>
          </a:p>
        </p:txBody>
      </p:sp>
      <p:sp>
        <p:nvSpPr>
          <p:cNvPr id="38" name="TextBox 37">
            <a:extLst>
              <a:ext uri="{FF2B5EF4-FFF2-40B4-BE49-F238E27FC236}">
                <a16:creationId xmlns:a16="http://schemas.microsoft.com/office/drawing/2014/main" id="{2B1B957A-AC19-D53C-679F-8067D47803AC}"/>
              </a:ext>
              <a:ext uri="{C183D7F6-B498-43B3-948B-1728B52AA6E4}">
                <adec:decorative xmlns:adec="http://schemas.microsoft.com/office/drawing/2017/decorative" val="0"/>
              </a:ext>
            </a:extLst>
          </p:cNvPr>
          <p:cNvSpPr txBox="1"/>
          <p:nvPr/>
        </p:nvSpPr>
        <p:spPr>
          <a:xfrm>
            <a:off x="9704925" y="5135073"/>
            <a:ext cx="1769894"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30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a:ea typeface="+mn-ea"/>
                <a:cs typeface="Segoe UI Semibold" panose="020B0702040204020203" pitchFamily="34" charset="0"/>
              </a:rPr>
              <a:t>More M365 agents</a:t>
            </a:r>
          </a:p>
        </p:txBody>
      </p:sp>
      <p:sp>
        <p:nvSpPr>
          <p:cNvPr id="39" name="Title 8">
            <a:extLst>
              <a:ext uri="{FF2B5EF4-FFF2-40B4-BE49-F238E27FC236}">
                <a16:creationId xmlns:a16="http://schemas.microsoft.com/office/drawing/2014/main" id="{3BC4C1B8-E7C4-093F-A44B-7602C04BB24C}"/>
              </a:ext>
              <a:ext uri="{C183D7F6-B498-43B3-948B-1728B52AA6E4}">
                <adec:decorative xmlns:adec="http://schemas.microsoft.com/office/drawing/2017/decorative" val="1"/>
              </a:ext>
            </a:extLst>
          </p:cNvPr>
          <p:cNvSpPr>
            <a:spLocks/>
          </p:cNvSpPr>
          <p:nvPr/>
        </p:nvSpPr>
        <p:spPr bwMode="auto">
          <a:xfrm>
            <a:off x="516344" y="5976121"/>
            <a:ext cx="11128375" cy="400110"/>
          </a:xfrm>
          <a:prstGeom prst="round2SameRect">
            <a:avLst>
              <a:gd name="adj1" fmla="val 0"/>
              <a:gd name="adj2" fmla="val 0"/>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86" rtl="0" eaLnBrk="1" fontAlgn="base" latinLnBrk="0" hangingPunct="1">
              <a:lnSpc>
                <a:spcPct val="100000"/>
              </a:lnSpc>
              <a:spcBef>
                <a:spcPts val="600"/>
              </a:spcBef>
              <a:spcAft>
                <a:spcPct val="0"/>
              </a:spcAft>
              <a:buClrTx/>
              <a:buSzTx/>
              <a:buFontTx/>
              <a:buNone/>
              <a:tabLst>
                <a:tab pos="1487158" algn="l"/>
              </a:tabLst>
              <a:defRPr/>
            </a:pPr>
            <a:r>
              <a:rPr kumimoji="0" lang="en-US" sz="2000" b="1" i="0" u="none" strike="noStrike" kern="1200" cap="none" spc="0" normalizeH="0" baseline="0" noProof="0">
                <a:ln>
                  <a:noFill/>
                </a:ln>
                <a:solidFill>
                  <a:srgbClr val="FFFFFF"/>
                </a:solidFill>
                <a:effectLst/>
                <a:uLnTx/>
                <a:uFillTx/>
                <a:latin typeface="Segoe UI Semibold"/>
                <a:ea typeface="+mn-ea"/>
                <a:cs typeface="+mn-cs"/>
              </a:rPr>
              <a:t>Purview policies &amp; protections for Copilot automatically extend to agents</a:t>
            </a:r>
          </a:p>
        </p:txBody>
      </p:sp>
      <p:pic>
        <p:nvPicPr>
          <p:cNvPr id="42" name="Picture 41" descr="A blue and green logo&#10;&#10;AI-generated content may be incorrect.">
            <a:extLst>
              <a:ext uri="{FF2B5EF4-FFF2-40B4-BE49-F238E27FC236}">
                <a16:creationId xmlns:a16="http://schemas.microsoft.com/office/drawing/2014/main" id="{CFFC9680-E514-2A64-76EC-F7B8A14EC691}"/>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743395" y="3308415"/>
            <a:ext cx="968989" cy="885535"/>
          </a:xfrm>
          <a:prstGeom prst="rect">
            <a:avLst/>
          </a:prstGeom>
        </p:spPr>
      </p:pic>
      <p:pic>
        <p:nvPicPr>
          <p:cNvPr id="43" name="Picture 42" descr="A blue and green logo&#10;&#10;AI-generated content may be incorrect.">
            <a:extLst>
              <a:ext uri="{FF2B5EF4-FFF2-40B4-BE49-F238E27FC236}">
                <a16:creationId xmlns:a16="http://schemas.microsoft.com/office/drawing/2014/main" id="{4F94C3A3-F232-DE0A-8926-75B989430BBA}"/>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976807" y="4592106"/>
            <a:ext cx="968989" cy="885535"/>
          </a:xfrm>
          <a:prstGeom prst="rect">
            <a:avLst/>
          </a:prstGeom>
        </p:spPr>
      </p:pic>
      <p:sp>
        <p:nvSpPr>
          <p:cNvPr id="45" name="TextBox 44">
            <a:extLst>
              <a:ext uri="{FF2B5EF4-FFF2-40B4-BE49-F238E27FC236}">
                <a16:creationId xmlns:a16="http://schemas.microsoft.com/office/drawing/2014/main" id="{AEDB0B8A-8D71-0A85-A050-A44942CE86B5}"/>
              </a:ext>
            </a:extLst>
          </p:cNvPr>
          <p:cNvSpPr txBox="1"/>
          <p:nvPr/>
        </p:nvSpPr>
        <p:spPr>
          <a:xfrm>
            <a:off x="7974868" y="4127430"/>
            <a:ext cx="2091236" cy="707886"/>
          </a:xfrm>
          <a:prstGeom prst="rect">
            <a:avLst/>
          </a:prstGeom>
          <a:noFill/>
        </p:spPr>
        <p:txBody>
          <a:bodyPr wrap="square">
            <a:spAutoFit/>
          </a:bodyPr>
          <a:lstStyle/>
          <a:p>
            <a:pPr marL="0" marR="0" lvl="0" indent="0" algn="ctr" defTabSz="914367" rtl="0" eaLnBrk="1" fontAlgn="auto" latinLnBrk="0" hangingPunct="1">
              <a:lnSpc>
                <a:spcPct val="100000"/>
              </a:lnSpc>
              <a:spcBef>
                <a:spcPts val="300"/>
              </a:spcBef>
              <a:spcAft>
                <a:spcPts val="0"/>
              </a:spcAft>
              <a:buClrTx/>
              <a:buSzTx/>
              <a:buFontTx/>
              <a:buNone/>
              <a:tabLst/>
              <a:defRPr/>
            </a:pPr>
            <a:r>
              <a:rPr lang="en-US" sz="2000">
                <a:latin typeface="Segoe UI Semibold"/>
                <a:cs typeface="Segoe UI Semibold" panose="020B0702040204020203" pitchFamily="34" charset="0"/>
              </a:rPr>
              <a:t>SharePoint agents</a:t>
            </a:r>
            <a:endParaRPr kumimoji="0" lang="en-US" sz="2000" b="0" i="0" u="none" strike="noStrike" kern="1200" cap="none" spc="0" normalizeH="0" baseline="0" noProof="0">
              <a:ln>
                <a:noFill/>
              </a:ln>
              <a:effectLst/>
              <a:uLnTx/>
              <a:uFillTx/>
              <a:latin typeface="Segoe UI Semibold"/>
              <a:ea typeface="+mn-ea"/>
              <a:cs typeface="Segoe UI Semibold" panose="020B0702040204020203" pitchFamily="34" charset="0"/>
            </a:endParaRPr>
          </a:p>
        </p:txBody>
      </p:sp>
      <p:pic>
        <p:nvPicPr>
          <p:cNvPr id="46" name="Picture 45" descr="Copilot logo">
            <a:extLst>
              <a:ext uri="{FF2B5EF4-FFF2-40B4-BE49-F238E27FC236}">
                <a16:creationId xmlns:a16="http://schemas.microsoft.com/office/drawing/2014/main" id="{E5074363-5B5F-1501-B8B1-6928C3871A6F}"/>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594990" y="4456689"/>
            <a:ext cx="690787" cy="615553"/>
          </a:xfrm>
          <a:prstGeom prst="rect">
            <a:avLst/>
          </a:prstGeom>
        </p:spPr>
      </p:pic>
      <p:pic>
        <p:nvPicPr>
          <p:cNvPr id="47" name="Picture 46" descr="Copilot logo">
            <a:extLst>
              <a:ext uri="{FF2B5EF4-FFF2-40B4-BE49-F238E27FC236}">
                <a16:creationId xmlns:a16="http://schemas.microsoft.com/office/drawing/2014/main" id="{B891B00A-0A3E-1E63-BB73-FFCDB7E1B60A}"/>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244478" y="4440168"/>
            <a:ext cx="690787" cy="615553"/>
          </a:xfrm>
          <a:prstGeom prst="rect">
            <a:avLst/>
          </a:prstGeom>
        </p:spPr>
      </p:pic>
      <p:pic>
        <p:nvPicPr>
          <p:cNvPr id="51" name="Picture 50" descr="A logo with a black background&#10;&#10;AI-generated content may be incorrect.">
            <a:extLst>
              <a:ext uri="{FF2B5EF4-FFF2-40B4-BE49-F238E27FC236}">
                <a16:creationId xmlns:a16="http://schemas.microsoft.com/office/drawing/2014/main" id="{6AB92028-9717-BA4E-9A4D-855BE48FCAE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46511" y="3057013"/>
            <a:ext cx="1352762" cy="1352762"/>
          </a:xfrm>
          <a:prstGeom prst="rect">
            <a:avLst/>
          </a:prstGeom>
        </p:spPr>
      </p:pic>
    </p:spTree>
    <p:extLst>
      <p:ext uri="{BB962C8B-B14F-4D97-AF65-F5344CB8AC3E}">
        <p14:creationId xmlns:p14="http://schemas.microsoft.com/office/powerpoint/2010/main" val="3767867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500"/>
                                        <p:tgtEl>
                                          <p:spTgt spid="3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500"/>
                                        <p:tgtEl>
                                          <p:spTgt spid="3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fade">
                                      <p:cBhvr>
                                        <p:cTn id="31" dur="500"/>
                                        <p:tgtEl>
                                          <p:spTgt spid="38"/>
                                        </p:tgtEl>
                                      </p:cBhvr>
                                    </p:animEffect>
                                  </p:childTnLst>
                                </p:cTn>
                              </p:par>
                              <p:par>
                                <p:cTn id="32" presetID="10" presetClass="entr" presetSubtype="0" fill="hold" nodeType="withEffect">
                                  <p:stCondLst>
                                    <p:cond delay="0"/>
                                  </p:stCondLst>
                                  <p:childTnLst>
                                    <p:set>
                                      <p:cBhvr>
                                        <p:cTn id="33" dur="1" fill="hold">
                                          <p:stCondLst>
                                            <p:cond delay="0"/>
                                          </p:stCondLst>
                                        </p:cTn>
                                        <p:tgtEl>
                                          <p:spTgt spid="42"/>
                                        </p:tgtEl>
                                        <p:attrNameLst>
                                          <p:attrName>style.visibility</p:attrName>
                                        </p:attrNameLst>
                                      </p:cBhvr>
                                      <p:to>
                                        <p:strVal val="visible"/>
                                      </p:to>
                                    </p:set>
                                    <p:animEffect transition="in" filter="fade">
                                      <p:cBhvr>
                                        <p:cTn id="34" dur="500"/>
                                        <p:tgtEl>
                                          <p:spTgt spid="42"/>
                                        </p:tgtEl>
                                      </p:cBhvr>
                                    </p:animEffect>
                                  </p:childTnLst>
                                </p:cTn>
                              </p:par>
                              <p:par>
                                <p:cTn id="35" presetID="10" presetClass="entr" presetSubtype="0" fill="hold" nodeType="withEffect">
                                  <p:stCondLst>
                                    <p:cond delay="0"/>
                                  </p:stCondLst>
                                  <p:childTnLst>
                                    <p:set>
                                      <p:cBhvr>
                                        <p:cTn id="36" dur="1" fill="hold">
                                          <p:stCondLst>
                                            <p:cond delay="0"/>
                                          </p:stCondLst>
                                        </p:cTn>
                                        <p:tgtEl>
                                          <p:spTgt spid="43"/>
                                        </p:tgtEl>
                                        <p:attrNameLst>
                                          <p:attrName>style.visibility</p:attrName>
                                        </p:attrNameLst>
                                      </p:cBhvr>
                                      <p:to>
                                        <p:strVal val="visible"/>
                                      </p:to>
                                    </p:set>
                                    <p:animEffect transition="in" filter="fade">
                                      <p:cBhvr>
                                        <p:cTn id="37" dur="500"/>
                                        <p:tgtEl>
                                          <p:spTgt spid="4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5"/>
                                        </p:tgtEl>
                                        <p:attrNameLst>
                                          <p:attrName>style.visibility</p:attrName>
                                        </p:attrNameLst>
                                      </p:cBhvr>
                                      <p:to>
                                        <p:strVal val="visible"/>
                                      </p:to>
                                    </p:set>
                                    <p:animEffect transition="in" filter="fade">
                                      <p:cBhvr>
                                        <p:cTn id="40" dur="500"/>
                                        <p:tgtEl>
                                          <p:spTgt spid="45"/>
                                        </p:tgtEl>
                                      </p:cBhvr>
                                    </p:animEffect>
                                  </p:childTnLst>
                                </p:cTn>
                              </p:par>
                              <p:par>
                                <p:cTn id="41" presetID="10" presetClass="entr" presetSubtype="0" fill="hold" nodeType="with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500"/>
                                        <p:tgtEl>
                                          <p:spTgt spid="46"/>
                                        </p:tgtEl>
                                      </p:cBhvr>
                                    </p:animEffect>
                                  </p:childTnLst>
                                </p:cTn>
                              </p:par>
                              <p:par>
                                <p:cTn id="44" presetID="10" presetClass="entr" presetSubtype="0" fill="hold" nodeType="withEffect">
                                  <p:stCondLst>
                                    <p:cond delay="0"/>
                                  </p:stCondLst>
                                  <p:childTnLst>
                                    <p:set>
                                      <p:cBhvr>
                                        <p:cTn id="45" dur="1" fill="hold">
                                          <p:stCondLst>
                                            <p:cond delay="0"/>
                                          </p:stCondLst>
                                        </p:cTn>
                                        <p:tgtEl>
                                          <p:spTgt spid="47"/>
                                        </p:tgtEl>
                                        <p:attrNameLst>
                                          <p:attrName>style.visibility</p:attrName>
                                        </p:attrNameLst>
                                      </p:cBhvr>
                                      <p:to>
                                        <p:strVal val="visible"/>
                                      </p:to>
                                    </p:set>
                                    <p:animEffect transition="in" filter="fade">
                                      <p:cBhvr>
                                        <p:cTn id="46" dur="500"/>
                                        <p:tgtEl>
                                          <p:spTgt spid="47"/>
                                        </p:tgtEl>
                                      </p:cBhvr>
                                    </p:animEffect>
                                  </p:childTnLst>
                                </p:cTn>
                              </p:par>
                              <p:par>
                                <p:cTn id="47" presetID="10" presetClass="entr" presetSubtype="0" fill="hold" nodeType="with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fade">
                                      <p:cBhvr>
                                        <p:cTn id="49"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4" grpId="0"/>
      <p:bldP spid="22" grpId="0"/>
      <p:bldP spid="30" grpId="0"/>
      <p:bldP spid="38" grpId="0"/>
      <p:bldP spid="39" grpId="0" animBg="1"/>
      <p:bldP spid="45"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DFE3E3-C554-505B-B3A5-788ECA5342CB}"/>
            </a:ext>
          </a:extLst>
        </p:cNvPr>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3C2B464D-6735-13D3-3B30-4D10DB8BAAB0}"/>
              </a:ext>
              <a:ext uri="{C183D7F6-B498-43B3-948B-1728B52AA6E4}">
                <adec:decorative xmlns:adec="http://schemas.microsoft.com/office/drawing/2017/decorative" val="1"/>
              </a:ext>
            </a:extLst>
          </p:cNvPr>
          <p:cNvSpPr>
            <a:spLocks/>
          </p:cNvSpPr>
          <p:nvPr/>
        </p:nvSpPr>
        <p:spPr bwMode="auto">
          <a:xfrm>
            <a:off x="584201" y="1762613"/>
            <a:ext cx="11025188" cy="4628662"/>
          </a:xfrm>
          <a:prstGeom prst="roundRect">
            <a:avLst>
              <a:gd name="adj" fmla="val 2701"/>
            </a:avLst>
          </a:prstGeom>
          <a:solidFill>
            <a:schemeClr val="bg1"/>
          </a:solidFill>
          <a:ln w="12700" cap="rnd">
            <a:solidFill>
              <a:schemeClr val="bg1">
                <a:lumMod val="7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err="1">
              <a:ln>
                <a:noFill/>
              </a:ln>
              <a:noFill/>
              <a:effectLst/>
              <a:uLnTx/>
              <a:uFillTx/>
              <a:latin typeface="Segoe UI Variable Small Semibol" pitchFamily="2" charset="0"/>
              <a:ea typeface="+mn-ea"/>
              <a:cs typeface="+mn-cs"/>
            </a:endParaRPr>
          </a:p>
        </p:txBody>
      </p:sp>
      <p:sp>
        <p:nvSpPr>
          <p:cNvPr id="66" name="Rectangle: Rounded Corners 65">
            <a:extLst>
              <a:ext uri="{FF2B5EF4-FFF2-40B4-BE49-F238E27FC236}">
                <a16:creationId xmlns:a16="http://schemas.microsoft.com/office/drawing/2014/main" id="{F879747D-138C-B97E-4843-E7DC396BE129}"/>
              </a:ext>
              <a:ext uri="{C183D7F6-B498-43B3-948B-1728B52AA6E4}">
                <adec:decorative xmlns:adec="http://schemas.microsoft.com/office/drawing/2017/decorative" val="1"/>
              </a:ext>
            </a:extLst>
          </p:cNvPr>
          <p:cNvSpPr>
            <a:spLocks/>
          </p:cNvSpPr>
          <p:nvPr/>
        </p:nvSpPr>
        <p:spPr bwMode="auto">
          <a:xfrm>
            <a:off x="767081" y="2308039"/>
            <a:ext cx="3431222" cy="1564165"/>
          </a:xfrm>
          <a:prstGeom prst="roundRect">
            <a:avLst>
              <a:gd name="adj" fmla="val 4779"/>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Rectangle: Rounded Corners 66">
            <a:extLst>
              <a:ext uri="{FF2B5EF4-FFF2-40B4-BE49-F238E27FC236}">
                <a16:creationId xmlns:a16="http://schemas.microsoft.com/office/drawing/2014/main" id="{BB0CB825-5745-C8CE-7B01-11953A26F2B0}"/>
              </a:ext>
              <a:ext uri="{C183D7F6-B498-43B3-948B-1728B52AA6E4}">
                <adec:decorative xmlns:adec="http://schemas.microsoft.com/office/drawing/2017/decorative" val="1"/>
              </a:ext>
            </a:extLst>
          </p:cNvPr>
          <p:cNvSpPr>
            <a:spLocks/>
          </p:cNvSpPr>
          <p:nvPr/>
        </p:nvSpPr>
        <p:spPr bwMode="auto">
          <a:xfrm>
            <a:off x="4381183" y="2308039"/>
            <a:ext cx="3431222" cy="1564165"/>
          </a:xfrm>
          <a:prstGeom prst="roundRect">
            <a:avLst>
              <a:gd name="adj" fmla="val 4779"/>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Rectangle: Rounded Corners 67">
            <a:extLst>
              <a:ext uri="{FF2B5EF4-FFF2-40B4-BE49-F238E27FC236}">
                <a16:creationId xmlns:a16="http://schemas.microsoft.com/office/drawing/2014/main" id="{A4F7307A-E16F-DAB5-12EC-D8C594D7E628}"/>
              </a:ext>
              <a:ext uri="{C183D7F6-B498-43B3-948B-1728B52AA6E4}">
                <adec:decorative xmlns:adec="http://schemas.microsoft.com/office/drawing/2017/decorative" val="1"/>
              </a:ext>
            </a:extLst>
          </p:cNvPr>
          <p:cNvSpPr>
            <a:spLocks/>
          </p:cNvSpPr>
          <p:nvPr/>
        </p:nvSpPr>
        <p:spPr bwMode="auto">
          <a:xfrm>
            <a:off x="7995285" y="2308039"/>
            <a:ext cx="3431222" cy="1564165"/>
          </a:xfrm>
          <a:prstGeom prst="roundRect">
            <a:avLst>
              <a:gd name="adj" fmla="val 4779"/>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Rounded Rectangle 11">
            <a:extLst>
              <a:ext uri="{FF2B5EF4-FFF2-40B4-BE49-F238E27FC236}">
                <a16:creationId xmlns:a16="http://schemas.microsoft.com/office/drawing/2014/main" id="{2AA5FBA3-9CD6-A962-C764-FF98BE9B7888}"/>
              </a:ext>
              <a:ext uri="{C183D7F6-B498-43B3-948B-1728B52AA6E4}">
                <adec:decorative xmlns:adec="http://schemas.microsoft.com/office/drawing/2017/decorative" val="1"/>
              </a:ext>
            </a:extLst>
          </p:cNvPr>
          <p:cNvSpPr/>
          <p:nvPr/>
        </p:nvSpPr>
        <p:spPr bwMode="auto">
          <a:xfrm>
            <a:off x="2119326" y="1944936"/>
            <a:ext cx="726732" cy="726732"/>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32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9" name="Rounded Rectangle 11">
            <a:extLst>
              <a:ext uri="{FF2B5EF4-FFF2-40B4-BE49-F238E27FC236}">
                <a16:creationId xmlns:a16="http://schemas.microsoft.com/office/drawing/2014/main" id="{0E7723D5-FC72-2F4F-E866-BB98063D1704}"/>
              </a:ext>
              <a:ext uri="{C183D7F6-B498-43B3-948B-1728B52AA6E4}">
                <adec:decorative xmlns:adec="http://schemas.microsoft.com/office/drawing/2017/decorative" val="1"/>
              </a:ext>
            </a:extLst>
          </p:cNvPr>
          <p:cNvSpPr/>
          <p:nvPr/>
        </p:nvSpPr>
        <p:spPr bwMode="auto">
          <a:xfrm>
            <a:off x="5733428" y="1944936"/>
            <a:ext cx="726732" cy="726732"/>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32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40" name="Rounded Rectangle 11">
            <a:extLst>
              <a:ext uri="{FF2B5EF4-FFF2-40B4-BE49-F238E27FC236}">
                <a16:creationId xmlns:a16="http://schemas.microsoft.com/office/drawing/2014/main" id="{0B7B6214-BCF5-ADA8-7544-710E30B42257}"/>
              </a:ext>
              <a:ext uri="{C183D7F6-B498-43B3-948B-1728B52AA6E4}">
                <adec:decorative xmlns:adec="http://schemas.microsoft.com/office/drawing/2017/decorative" val="1"/>
              </a:ext>
            </a:extLst>
          </p:cNvPr>
          <p:cNvSpPr/>
          <p:nvPr/>
        </p:nvSpPr>
        <p:spPr bwMode="auto">
          <a:xfrm>
            <a:off x="9347530" y="1944936"/>
            <a:ext cx="726732" cy="726732"/>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32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8" name="Title 1">
            <a:extLst>
              <a:ext uri="{FF2B5EF4-FFF2-40B4-BE49-F238E27FC236}">
                <a16:creationId xmlns:a16="http://schemas.microsoft.com/office/drawing/2014/main" id="{522F1D5E-3A4B-A1E4-6E9D-AB345FCA0B91}"/>
              </a:ext>
              <a:ext uri="{C183D7F6-B498-43B3-948B-1728B52AA6E4}">
                <adec:decorative xmlns:adec="http://schemas.microsoft.com/office/drawing/2017/decorative" val="0"/>
              </a:ext>
            </a:extLst>
          </p:cNvPr>
          <p:cNvSpPr>
            <a:spLocks noGrp="1"/>
          </p:cNvSpPr>
          <p:nvPr>
            <p:ph type="title"/>
          </p:nvPr>
        </p:nvSpPr>
        <p:spPr/>
        <p:txBody>
          <a:bodyPr>
            <a:noAutofit/>
          </a:bodyPr>
          <a:lstStyle/>
          <a:p>
            <a:r>
              <a:rPr lang="en-US" sz="3200">
                <a:solidFill>
                  <a:schemeClr val="tx1"/>
                </a:solidFill>
                <a:ea typeface="+mj-ea"/>
                <a:cs typeface="+mj-cs"/>
              </a:rPr>
              <a:t>Microsoft Purview</a:t>
            </a:r>
          </a:p>
        </p:txBody>
      </p:sp>
      <p:sp>
        <p:nvSpPr>
          <p:cNvPr id="75" name="Graphic 168" descr="Icon of a person with a magnifying glass">
            <a:extLst>
              <a:ext uri="{FF2B5EF4-FFF2-40B4-BE49-F238E27FC236}">
                <a16:creationId xmlns:a16="http://schemas.microsoft.com/office/drawing/2014/main" id="{B1A13B3F-6DCE-83CF-DD66-435050A4B216}"/>
              </a:ext>
            </a:extLst>
          </p:cNvPr>
          <p:cNvSpPr/>
          <p:nvPr/>
        </p:nvSpPr>
        <p:spPr>
          <a:xfrm>
            <a:off x="2322197" y="2147866"/>
            <a:ext cx="320992" cy="320874"/>
          </a:xfrm>
          <a:custGeom>
            <a:avLst/>
            <a:gdLst>
              <a:gd name="connsiteX0" fmla="*/ 125862 w 254043"/>
              <a:gd name="connsiteY0" fmla="*/ 152349 h 253949"/>
              <a:gd name="connsiteX1" fmla="*/ 225469 w 254043"/>
              <a:gd name="connsiteY1" fmla="*/ 152349 h 253949"/>
              <a:gd name="connsiteX2" fmla="*/ 254044 w 254043"/>
              <a:gd name="connsiteY2" fmla="*/ 180924 h 253949"/>
              <a:gd name="connsiteX3" fmla="*/ 254044 w 254043"/>
              <a:gd name="connsiteY3" fmla="*/ 192418 h 253949"/>
              <a:gd name="connsiteX4" fmla="*/ 237445 w 254043"/>
              <a:gd name="connsiteY4" fmla="*/ 228549 h 253949"/>
              <a:gd name="connsiteX5" fmla="*/ 152405 w 254043"/>
              <a:gd name="connsiteY5" fmla="*/ 253949 h 253949"/>
              <a:gd name="connsiteX6" fmla="*/ 150132 w 254043"/>
              <a:gd name="connsiteY6" fmla="*/ 253949 h 253949"/>
              <a:gd name="connsiteX7" fmla="*/ 147325 w 254043"/>
              <a:gd name="connsiteY7" fmla="*/ 229857 h 253949"/>
              <a:gd name="connsiteX8" fmla="*/ 145916 w 254043"/>
              <a:gd name="connsiteY8" fmla="*/ 228333 h 253949"/>
              <a:gd name="connsiteX9" fmla="*/ 117595 w 254043"/>
              <a:gd name="connsiteY9" fmla="*/ 200089 h 253949"/>
              <a:gd name="connsiteX10" fmla="*/ 125850 w 254043"/>
              <a:gd name="connsiteY10" fmla="*/ 152337 h 253949"/>
              <a:gd name="connsiteX11" fmla="*/ 57155 w 254043"/>
              <a:gd name="connsiteY11" fmla="*/ 107899 h 253949"/>
              <a:gd name="connsiteX12" fmla="*/ 114293 w 254043"/>
              <a:gd name="connsiteY12" fmla="*/ 165062 h 253949"/>
              <a:gd name="connsiteX13" fmla="*/ 101097 w 254043"/>
              <a:gd name="connsiteY13" fmla="*/ 201574 h 253949"/>
              <a:gd name="connsiteX14" fmla="*/ 136950 w 254043"/>
              <a:gd name="connsiteY14" fmla="*/ 237312 h 253949"/>
              <a:gd name="connsiteX15" fmla="*/ 137020 w 254043"/>
              <a:gd name="connsiteY15" fmla="*/ 250782 h 253949"/>
              <a:gd name="connsiteX16" fmla="*/ 124567 w 254043"/>
              <a:gd name="connsiteY16" fmla="*/ 251727 h 253949"/>
              <a:gd name="connsiteX17" fmla="*/ 123488 w 254043"/>
              <a:gd name="connsiteY17" fmla="*/ 250800 h 253949"/>
              <a:gd name="connsiteX18" fmla="*/ 86619 w 254043"/>
              <a:gd name="connsiteY18" fmla="*/ 214020 h 253949"/>
              <a:gd name="connsiteX19" fmla="*/ 8187 w 254043"/>
              <a:gd name="connsiteY19" fmla="*/ 194510 h 253949"/>
              <a:gd name="connsiteX20" fmla="*/ 27698 w 254043"/>
              <a:gd name="connsiteY20" fmla="*/ 116078 h 253949"/>
              <a:gd name="connsiteX21" fmla="*/ 57155 w 254043"/>
              <a:gd name="connsiteY21" fmla="*/ 107899 h 253949"/>
              <a:gd name="connsiteX22" fmla="*/ 57155 w 254043"/>
              <a:gd name="connsiteY22" fmla="*/ 126949 h 253949"/>
              <a:gd name="connsiteX23" fmla="*/ 19055 w 254043"/>
              <a:gd name="connsiteY23" fmla="*/ 165049 h 253949"/>
              <a:gd name="connsiteX24" fmla="*/ 57155 w 254043"/>
              <a:gd name="connsiteY24" fmla="*/ 203149 h 253949"/>
              <a:gd name="connsiteX25" fmla="*/ 95255 w 254043"/>
              <a:gd name="connsiteY25" fmla="*/ 165049 h 253949"/>
              <a:gd name="connsiteX26" fmla="*/ 57155 w 254043"/>
              <a:gd name="connsiteY26" fmla="*/ 126949 h 253949"/>
              <a:gd name="connsiteX27" fmla="*/ 152405 w 254043"/>
              <a:gd name="connsiteY27" fmla="*/ 0 h 253949"/>
              <a:gd name="connsiteX28" fmla="*/ 215905 w 254043"/>
              <a:gd name="connsiteY28" fmla="*/ 63500 h 253949"/>
              <a:gd name="connsiteX29" fmla="*/ 152405 w 254043"/>
              <a:gd name="connsiteY29" fmla="*/ 127000 h 253949"/>
              <a:gd name="connsiteX30" fmla="*/ 88905 w 254043"/>
              <a:gd name="connsiteY30" fmla="*/ 63500 h 253949"/>
              <a:gd name="connsiteX31" fmla="*/ 152405 w 254043"/>
              <a:gd name="connsiteY31" fmla="*/ 0 h 253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4043" h="253949">
                <a:moveTo>
                  <a:pt x="125862" y="152349"/>
                </a:moveTo>
                <a:lnTo>
                  <a:pt x="225469" y="152349"/>
                </a:lnTo>
                <a:cubicBezTo>
                  <a:pt x="241250" y="152349"/>
                  <a:pt x="254044" y="165143"/>
                  <a:pt x="254044" y="180924"/>
                </a:cubicBezTo>
                <a:lnTo>
                  <a:pt x="254044" y="192418"/>
                </a:lnTo>
                <a:cubicBezTo>
                  <a:pt x="254043" y="206306"/>
                  <a:pt x="247981" y="219502"/>
                  <a:pt x="237445" y="228549"/>
                </a:cubicBezTo>
                <a:cubicBezTo>
                  <a:pt x="217556" y="245618"/>
                  <a:pt x="189108" y="253949"/>
                  <a:pt x="152405" y="253949"/>
                </a:cubicBezTo>
                <a:lnTo>
                  <a:pt x="150132" y="253949"/>
                </a:lnTo>
                <a:cubicBezTo>
                  <a:pt x="154041" y="246070"/>
                  <a:pt x="152941" y="236627"/>
                  <a:pt x="147325" y="229857"/>
                </a:cubicBezTo>
                <a:lnTo>
                  <a:pt x="145916" y="228333"/>
                </a:lnTo>
                <a:lnTo>
                  <a:pt x="117595" y="200089"/>
                </a:lnTo>
                <a:cubicBezTo>
                  <a:pt x="125976" y="185673"/>
                  <a:pt x="128905" y="168729"/>
                  <a:pt x="125850" y="152337"/>
                </a:cubicBezTo>
                <a:close/>
                <a:moveTo>
                  <a:pt x="57155" y="107899"/>
                </a:moveTo>
                <a:cubicBezTo>
                  <a:pt x="88719" y="107906"/>
                  <a:pt x="114300" y="133499"/>
                  <a:pt x="114293" y="165062"/>
                </a:cubicBezTo>
                <a:cubicBezTo>
                  <a:pt x="114290" y="178400"/>
                  <a:pt x="109622" y="191316"/>
                  <a:pt x="101097" y="201574"/>
                </a:cubicBezTo>
                <a:lnTo>
                  <a:pt x="136950" y="237312"/>
                </a:lnTo>
                <a:cubicBezTo>
                  <a:pt x="140689" y="241012"/>
                  <a:pt x="140720" y="247043"/>
                  <a:pt x="137020" y="250782"/>
                </a:cubicBezTo>
                <a:cubicBezTo>
                  <a:pt x="133683" y="254154"/>
                  <a:pt x="128374" y="254557"/>
                  <a:pt x="124567" y="251727"/>
                </a:cubicBezTo>
                <a:lnTo>
                  <a:pt x="123488" y="250800"/>
                </a:lnTo>
                <a:lnTo>
                  <a:pt x="86619" y="214020"/>
                </a:lnTo>
                <a:cubicBezTo>
                  <a:pt x="59573" y="230291"/>
                  <a:pt x="24458" y="221556"/>
                  <a:pt x="8187" y="194510"/>
                </a:cubicBezTo>
                <a:cubicBezTo>
                  <a:pt x="-8083" y="167464"/>
                  <a:pt x="652" y="132349"/>
                  <a:pt x="27698" y="116078"/>
                </a:cubicBezTo>
                <a:cubicBezTo>
                  <a:pt x="36592" y="110727"/>
                  <a:pt x="46776" y="107900"/>
                  <a:pt x="57155" y="107899"/>
                </a:cubicBezTo>
                <a:close/>
                <a:moveTo>
                  <a:pt x="57155" y="126949"/>
                </a:moveTo>
                <a:cubicBezTo>
                  <a:pt x="36113" y="126949"/>
                  <a:pt x="19055" y="144007"/>
                  <a:pt x="19055" y="165049"/>
                </a:cubicBezTo>
                <a:cubicBezTo>
                  <a:pt x="19055" y="186091"/>
                  <a:pt x="36113" y="203149"/>
                  <a:pt x="57155" y="203149"/>
                </a:cubicBezTo>
                <a:cubicBezTo>
                  <a:pt x="78198" y="203149"/>
                  <a:pt x="95255" y="186091"/>
                  <a:pt x="95255" y="165049"/>
                </a:cubicBezTo>
                <a:cubicBezTo>
                  <a:pt x="95255" y="144007"/>
                  <a:pt x="78198" y="126949"/>
                  <a:pt x="57155" y="126949"/>
                </a:cubicBezTo>
                <a:close/>
                <a:moveTo>
                  <a:pt x="152405" y="0"/>
                </a:moveTo>
                <a:cubicBezTo>
                  <a:pt x="187476" y="0"/>
                  <a:pt x="215905" y="28430"/>
                  <a:pt x="215905" y="63500"/>
                </a:cubicBezTo>
                <a:cubicBezTo>
                  <a:pt x="215905" y="98570"/>
                  <a:pt x="187476" y="127000"/>
                  <a:pt x="152405" y="127000"/>
                </a:cubicBezTo>
                <a:cubicBezTo>
                  <a:pt x="117335" y="127000"/>
                  <a:pt x="88905" y="98570"/>
                  <a:pt x="88905" y="63500"/>
                </a:cubicBezTo>
                <a:cubicBezTo>
                  <a:pt x="88905" y="28430"/>
                  <a:pt x="117335" y="0"/>
                  <a:pt x="152405" y="0"/>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TextBox 32">
            <a:extLst>
              <a:ext uri="{FF2B5EF4-FFF2-40B4-BE49-F238E27FC236}">
                <a16:creationId xmlns:a16="http://schemas.microsoft.com/office/drawing/2014/main" id="{2E91A63F-2EC4-AE67-A090-F60405E2EDD2}"/>
              </a:ext>
              <a:ext uri="{C183D7F6-B498-43B3-948B-1728B52AA6E4}">
                <adec:decorative xmlns:adec="http://schemas.microsoft.com/office/drawing/2017/decorative" val="0"/>
              </a:ext>
            </a:extLst>
          </p:cNvPr>
          <p:cNvSpPr txBox="1"/>
          <p:nvPr/>
        </p:nvSpPr>
        <p:spPr>
          <a:xfrm>
            <a:off x="978459" y="2916039"/>
            <a:ext cx="3008466" cy="692497"/>
          </a:xfrm>
          <a:prstGeom prst="rect">
            <a:avLst/>
          </a:prstGeom>
          <a:noFill/>
        </p:spPr>
        <p:txBody>
          <a:bodyPr wrap="square" lIns="0" tIns="0" rIns="0" bIns="0" anchor="t">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w="3175">
                  <a:noFill/>
                </a:ln>
                <a:gradFill flip="none" rotWithShape="1">
                  <a:gsLst>
                    <a:gs pos="50000">
                      <a:srgbClr val="8661C5"/>
                    </a:gs>
                    <a:gs pos="0">
                      <a:srgbClr val="3E76D4"/>
                    </a:gs>
                    <a:gs pos="100000">
                      <a:srgbClr val="C73ECC"/>
                    </a:gs>
                  </a:gsLst>
                  <a:lin ang="2700000" scaled="1"/>
                  <a:tileRect/>
                </a:gradFill>
                <a:effectLst/>
                <a:uLnTx/>
                <a:uFillTx/>
                <a:latin typeface="Segoe UI Semibold"/>
                <a:ea typeface="+mn-ea"/>
                <a:cs typeface="+mn-cs"/>
              </a:rPr>
              <a:t>Discover</a:t>
            </a:r>
          </a:p>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Data risks</a:t>
            </a:r>
          </a:p>
        </p:txBody>
      </p:sp>
      <p:sp>
        <p:nvSpPr>
          <p:cNvPr id="73" name="Graphic 33" descr="Icon of a shield with a keyhole">
            <a:extLst>
              <a:ext uri="{FF2B5EF4-FFF2-40B4-BE49-F238E27FC236}">
                <a16:creationId xmlns:a16="http://schemas.microsoft.com/office/drawing/2014/main" id="{F1470C54-8E30-95AE-304D-65E362440AF6}"/>
              </a:ext>
            </a:extLst>
          </p:cNvPr>
          <p:cNvSpPr>
            <a:spLocks/>
          </p:cNvSpPr>
          <p:nvPr/>
        </p:nvSpPr>
        <p:spPr>
          <a:xfrm>
            <a:off x="5921108" y="2113095"/>
            <a:ext cx="351372" cy="390414"/>
          </a:xfrm>
          <a:custGeom>
            <a:avLst/>
            <a:gdLst>
              <a:gd name="connsiteX0" fmla="*/ 0 w 171450"/>
              <a:gd name="connsiteY0" fmla="*/ 35719 h 190501"/>
              <a:gd name="connsiteX1" fmla="*/ 0 w 171450"/>
              <a:gd name="connsiteY1" fmla="*/ 85725 h 190501"/>
              <a:gd name="connsiteX2" fmla="*/ 83106 w 171450"/>
              <a:gd name="connsiteY2" fmla="*/ 190005 h 190501"/>
              <a:gd name="connsiteX3" fmla="*/ 88344 w 171450"/>
              <a:gd name="connsiteY3" fmla="*/ 190005 h 190501"/>
              <a:gd name="connsiteX4" fmla="*/ 171450 w 171450"/>
              <a:gd name="connsiteY4" fmla="*/ 85725 h 190501"/>
              <a:gd name="connsiteX5" fmla="*/ 171450 w 171450"/>
              <a:gd name="connsiteY5" fmla="*/ 35719 h 190501"/>
              <a:gd name="connsiteX6" fmla="*/ 164306 w 171450"/>
              <a:gd name="connsiteY6" fmla="*/ 28575 h 190501"/>
              <a:gd name="connsiteX7" fmla="*/ 90011 w 171450"/>
              <a:gd name="connsiteY7" fmla="*/ 1429 h 190501"/>
              <a:gd name="connsiteX8" fmla="*/ 81439 w 171450"/>
              <a:gd name="connsiteY8" fmla="*/ 1429 h 190501"/>
              <a:gd name="connsiteX9" fmla="*/ 7144 w 171450"/>
              <a:gd name="connsiteY9" fmla="*/ 28575 h 190501"/>
              <a:gd name="connsiteX10" fmla="*/ 0 w 171450"/>
              <a:gd name="connsiteY10" fmla="*/ 35719 h 190501"/>
              <a:gd name="connsiteX11" fmla="*/ 104727 w 171450"/>
              <a:gd name="connsiteY11" fmla="*/ 85725 h 190501"/>
              <a:gd name="connsiteX12" fmla="*/ 92869 w 171450"/>
              <a:gd name="connsiteY12" fmla="*/ 103365 h 190501"/>
              <a:gd name="connsiteX13" fmla="*/ 92869 w 171450"/>
              <a:gd name="connsiteY13" fmla="*/ 126206 h 190501"/>
              <a:gd name="connsiteX14" fmla="*/ 85725 w 171450"/>
              <a:gd name="connsiteY14" fmla="*/ 133350 h 190501"/>
              <a:gd name="connsiteX15" fmla="*/ 78581 w 171450"/>
              <a:gd name="connsiteY15" fmla="*/ 126206 h 190501"/>
              <a:gd name="connsiteX16" fmla="*/ 78581 w 171450"/>
              <a:gd name="connsiteY16" fmla="*/ 103403 h 190501"/>
              <a:gd name="connsiteX17" fmla="*/ 67998 w 171450"/>
              <a:gd name="connsiteY17" fmla="*/ 78628 h 190501"/>
              <a:gd name="connsiteX18" fmla="*/ 92774 w 171450"/>
              <a:gd name="connsiteY18" fmla="*/ 68045 h 190501"/>
              <a:gd name="connsiteX19" fmla="*/ 104727 w 171450"/>
              <a:gd name="connsiteY19" fmla="*/ 85725 h 19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1450" h="190501">
                <a:moveTo>
                  <a:pt x="0" y="35719"/>
                </a:moveTo>
                <a:lnTo>
                  <a:pt x="0" y="85725"/>
                </a:lnTo>
                <a:cubicBezTo>
                  <a:pt x="0" y="133360"/>
                  <a:pt x="28175" y="168364"/>
                  <a:pt x="83106" y="190005"/>
                </a:cubicBezTo>
                <a:cubicBezTo>
                  <a:pt x="84789" y="190668"/>
                  <a:pt x="86661" y="190668"/>
                  <a:pt x="88344" y="190005"/>
                </a:cubicBezTo>
                <a:cubicBezTo>
                  <a:pt x="143275" y="168364"/>
                  <a:pt x="171450" y="133350"/>
                  <a:pt x="171450" y="85725"/>
                </a:cubicBezTo>
                <a:lnTo>
                  <a:pt x="171450" y="35719"/>
                </a:lnTo>
                <a:cubicBezTo>
                  <a:pt x="171450" y="31773"/>
                  <a:pt x="168252" y="28575"/>
                  <a:pt x="164306" y="28575"/>
                </a:cubicBezTo>
                <a:cubicBezTo>
                  <a:pt x="138941" y="28575"/>
                  <a:pt x="114224" y="19593"/>
                  <a:pt x="90011" y="1429"/>
                </a:cubicBezTo>
                <a:cubicBezTo>
                  <a:pt x="87471" y="-476"/>
                  <a:pt x="83979" y="-476"/>
                  <a:pt x="81439" y="1429"/>
                </a:cubicBezTo>
                <a:cubicBezTo>
                  <a:pt x="57226" y="19593"/>
                  <a:pt x="32509" y="28575"/>
                  <a:pt x="7144" y="28575"/>
                </a:cubicBezTo>
                <a:cubicBezTo>
                  <a:pt x="3198" y="28575"/>
                  <a:pt x="0" y="31773"/>
                  <a:pt x="0" y="35719"/>
                </a:cubicBezTo>
                <a:close/>
                <a:moveTo>
                  <a:pt x="104727" y="85725"/>
                </a:moveTo>
                <a:cubicBezTo>
                  <a:pt x="104727" y="93469"/>
                  <a:pt x="100039" y="100442"/>
                  <a:pt x="92869" y="103365"/>
                </a:cubicBezTo>
                <a:lnTo>
                  <a:pt x="92869" y="126206"/>
                </a:lnTo>
                <a:cubicBezTo>
                  <a:pt x="92869" y="130152"/>
                  <a:pt x="89670" y="133350"/>
                  <a:pt x="85725" y="133350"/>
                </a:cubicBezTo>
                <a:cubicBezTo>
                  <a:pt x="81780" y="133350"/>
                  <a:pt x="78581" y="130152"/>
                  <a:pt x="78581" y="126206"/>
                </a:cubicBezTo>
                <a:lnTo>
                  <a:pt x="78581" y="103403"/>
                </a:lnTo>
                <a:cubicBezTo>
                  <a:pt x="68817" y="99484"/>
                  <a:pt x="64079" y="88392"/>
                  <a:pt x="67998" y="78628"/>
                </a:cubicBezTo>
                <a:cubicBezTo>
                  <a:pt x="71918" y="68864"/>
                  <a:pt x="83009" y="64126"/>
                  <a:pt x="92774" y="68045"/>
                </a:cubicBezTo>
                <a:cubicBezTo>
                  <a:pt x="99995" y="70944"/>
                  <a:pt x="104727" y="77943"/>
                  <a:pt x="104727" y="85725"/>
                </a:cubicBezTo>
                <a:close/>
              </a:path>
            </a:pathLst>
          </a:custGeom>
          <a:solidFill>
            <a:schemeClr val="bg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8" name="TextBox 107">
            <a:extLst>
              <a:ext uri="{FF2B5EF4-FFF2-40B4-BE49-F238E27FC236}">
                <a16:creationId xmlns:a16="http://schemas.microsoft.com/office/drawing/2014/main" id="{EA304545-CDB0-FDAA-BD5F-3E6E39F2562F}"/>
              </a:ext>
              <a:ext uri="{C183D7F6-B498-43B3-948B-1728B52AA6E4}">
                <adec:decorative xmlns:adec="http://schemas.microsoft.com/office/drawing/2017/decorative" val="0"/>
              </a:ext>
            </a:extLst>
          </p:cNvPr>
          <p:cNvSpPr txBox="1"/>
          <p:nvPr/>
        </p:nvSpPr>
        <p:spPr>
          <a:xfrm>
            <a:off x="4592561" y="2916039"/>
            <a:ext cx="3008466" cy="692497"/>
          </a:xfrm>
          <a:prstGeom prst="rect">
            <a:avLst/>
          </a:prstGeom>
          <a:noFill/>
        </p:spPr>
        <p:txBody>
          <a:bodyPr wrap="square" lIns="0" tIns="0" rIns="0" bIns="0" anchor="t">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w="3175">
                  <a:noFill/>
                </a:ln>
                <a:gradFill flip="none" rotWithShape="1">
                  <a:gsLst>
                    <a:gs pos="50000">
                      <a:srgbClr val="8661C5"/>
                    </a:gs>
                    <a:gs pos="0">
                      <a:srgbClr val="3E76D4"/>
                    </a:gs>
                    <a:gs pos="100000">
                      <a:srgbClr val="C73ECC"/>
                    </a:gs>
                  </a:gsLst>
                  <a:lin ang="2700000" scaled="1"/>
                  <a:tileRect/>
                </a:gradFill>
                <a:effectLst/>
                <a:uLnTx/>
                <a:uFillTx/>
                <a:latin typeface="Segoe UI Semibold"/>
                <a:ea typeface="+mn-ea"/>
                <a:cs typeface="+mn-cs"/>
              </a:rPr>
              <a:t>Protect</a:t>
            </a:r>
          </a:p>
          <a:p>
            <a:pPr marL="0" marR="0" lvl="0" indent="0" algn="ctr" defTabSz="914367" rtl="0" eaLnBrk="1" fontAlgn="auto" latinLnBrk="0" hangingPunct="1">
              <a:lnSpc>
                <a:spcPct val="100000"/>
              </a:lnSpc>
              <a:spcBef>
                <a:spcPts val="0"/>
              </a:spcBef>
              <a:spcAft>
                <a:spcPts val="600"/>
              </a:spcAft>
              <a:buClrTx/>
              <a:buSzTx/>
              <a:buFontTx/>
              <a:buNone/>
              <a:tabLst/>
              <a:defRPr/>
            </a:pPr>
            <a:r>
              <a:rPr lang="en-US" sz="2000">
                <a:solidFill>
                  <a:srgbClr val="000000"/>
                </a:solidFill>
                <a:latin typeface="Segoe UI Semibold"/>
              </a:rPr>
              <a:t>Sensitive</a:t>
            </a:r>
            <a:r>
              <a:rPr kumimoji="0" lang="en-US" sz="2000" b="0" i="0" u="none" strike="noStrike" kern="1200" cap="none" spc="0" normalizeH="0" baseline="0" noProof="0">
                <a:ln>
                  <a:noFill/>
                </a:ln>
                <a:solidFill>
                  <a:srgbClr val="000000"/>
                </a:solidFill>
                <a:effectLst/>
                <a:uLnTx/>
                <a:uFillTx/>
                <a:latin typeface="Segoe UI Semibold"/>
                <a:ea typeface="+mn-ea"/>
                <a:cs typeface="+mn-cs"/>
              </a:rPr>
              <a:t> data</a:t>
            </a:r>
          </a:p>
        </p:txBody>
      </p:sp>
      <p:sp>
        <p:nvSpPr>
          <p:cNvPr id="72" name="Graphic 35" descr="Icon of a government building">
            <a:extLst>
              <a:ext uri="{FF2B5EF4-FFF2-40B4-BE49-F238E27FC236}">
                <a16:creationId xmlns:a16="http://schemas.microsoft.com/office/drawing/2014/main" id="{05575805-817B-BDA6-0683-74F888A0158C}"/>
              </a:ext>
            </a:extLst>
          </p:cNvPr>
          <p:cNvSpPr>
            <a:spLocks/>
          </p:cNvSpPr>
          <p:nvPr/>
        </p:nvSpPr>
        <p:spPr>
          <a:xfrm>
            <a:off x="9520556" y="2117969"/>
            <a:ext cx="380682" cy="380666"/>
          </a:xfrm>
          <a:custGeom>
            <a:avLst/>
            <a:gdLst>
              <a:gd name="connsiteX0" fmla="*/ 1114704 w 1651412"/>
              <a:gd name="connsiteY0" fmla="*/ 0 h 1651412"/>
              <a:gd name="connsiteX1" fmla="*/ 805064 w 1651412"/>
              <a:gd name="connsiteY1" fmla="*/ 0 h 1651412"/>
              <a:gd name="connsiteX2" fmla="*/ 743136 w 1651412"/>
              <a:gd name="connsiteY2" fmla="*/ 61928 h 1651412"/>
              <a:gd name="connsiteX3" fmla="*/ 743136 w 1651412"/>
              <a:gd name="connsiteY3" fmla="*/ 336062 h 1651412"/>
              <a:gd name="connsiteX4" fmla="*/ 247712 w 1651412"/>
              <a:gd name="connsiteY4" fmla="*/ 908277 h 1651412"/>
              <a:gd name="connsiteX5" fmla="*/ 185784 w 1651412"/>
              <a:gd name="connsiteY5" fmla="*/ 908277 h 1651412"/>
              <a:gd name="connsiteX6" fmla="*/ 0 w 1651412"/>
              <a:gd name="connsiteY6" fmla="*/ 1094061 h 1651412"/>
              <a:gd name="connsiteX7" fmla="*/ 0 w 1651412"/>
              <a:gd name="connsiteY7" fmla="*/ 1589485 h 1651412"/>
              <a:gd name="connsiteX8" fmla="*/ 61928 w 1651412"/>
              <a:gd name="connsiteY8" fmla="*/ 1651413 h 1651412"/>
              <a:gd name="connsiteX9" fmla="*/ 660565 w 1651412"/>
              <a:gd name="connsiteY9" fmla="*/ 1651413 h 1651412"/>
              <a:gd name="connsiteX10" fmla="*/ 681208 w 1651412"/>
              <a:gd name="connsiteY10" fmla="*/ 1630770 h 1651412"/>
              <a:gd name="connsiteX11" fmla="*/ 681208 w 1651412"/>
              <a:gd name="connsiteY11" fmla="*/ 1383058 h 1651412"/>
              <a:gd name="connsiteX12" fmla="*/ 722493 w 1651412"/>
              <a:gd name="connsiteY12" fmla="*/ 1341773 h 1651412"/>
              <a:gd name="connsiteX13" fmla="*/ 928920 w 1651412"/>
              <a:gd name="connsiteY13" fmla="*/ 1341773 h 1651412"/>
              <a:gd name="connsiteX14" fmla="*/ 970205 w 1651412"/>
              <a:gd name="connsiteY14" fmla="*/ 1383058 h 1651412"/>
              <a:gd name="connsiteX15" fmla="*/ 970205 w 1651412"/>
              <a:gd name="connsiteY15" fmla="*/ 1630770 h 1651412"/>
              <a:gd name="connsiteX16" fmla="*/ 990848 w 1651412"/>
              <a:gd name="connsiteY16" fmla="*/ 1651413 h 1651412"/>
              <a:gd name="connsiteX17" fmla="*/ 1589485 w 1651412"/>
              <a:gd name="connsiteY17" fmla="*/ 1651413 h 1651412"/>
              <a:gd name="connsiteX18" fmla="*/ 1651413 w 1651412"/>
              <a:gd name="connsiteY18" fmla="*/ 1589485 h 1651412"/>
              <a:gd name="connsiteX19" fmla="*/ 1651413 w 1651412"/>
              <a:gd name="connsiteY19" fmla="*/ 1094061 h 1651412"/>
              <a:gd name="connsiteX20" fmla="*/ 1465629 w 1651412"/>
              <a:gd name="connsiteY20" fmla="*/ 908277 h 1651412"/>
              <a:gd name="connsiteX21" fmla="*/ 1403701 w 1651412"/>
              <a:gd name="connsiteY21" fmla="*/ 908277 h 1651412"/>
              <a:gd name="connsiteX22" fmla="*/ 866992 w 1651412"/>
              <a:gd name="connsiteY22" fmla="*/ 331769 h 1651412"/>
              <a:gd name="connsiteX23" fmla="*/ 866992 w 1651412"/>
              <a:gd name="connsiteY23" fmla="*/ 247712 h 1651412"/>
              <a:gd name="connsiteX24" fmla="*/ 1114704 w 1651412"/>
              <a:gd name="connsiteY24" fmla="*/ 247712 h 1651412"/>
              <a:gd name="connsiteX25" fmla="*/ 1155989 w 1651412"/>
              <a:gd name="connsiteY25" fmla="*/ 206427 h 1651412"/>
              <a:gd name="connsiteX26" fmla="*/ 1155989 w 1651412"/>
              <a:gd name="connsiteY26" fmla="*/ 41285 h 1651412"/>
              <a:gd name="connsiteX27" fmla="*/ 1114704 w 1651412"/>
              <a:gd name="connsiteY27" fmla="*/ 0 h 1651412"/>
              <a:gd name="connsiteX28" fmla="*/ 1114704 w 1651412"/>
              <a:gd name="connsiteY28" fmla="*/ 805064 h 1651412"/>
              <a:gd name="connsiteX29" fmla="*/ 1114704 w 1651412"/>
              <a:gd name="connsiteY29" fmla="*/ 970205 h 1651412"/>
              <a:gd name="connsiteX30" fmla="*/ 1052776 w 1651412"/>
              <a:gd name="connsiteY30" fmla="*/ 1032133 h 1651412"/>
              <a:gd name="connsiteX31" fmla="*/ 990848 w 1651412"/>
              <a:gd name="connsiteY31" fmla="*/ 970205 h 1651412"/>
              <a:gd name="connsiteX32" fmla="*/ 990848 w 1651412"/>
              <a:gd name="connsiteY32" fmla="*/ 805064 h 1651412"/>
              <a:gd name="connsiteX33" fmla="*/ 1052776 w 1651412"/>
              <a:gd name="connsiteY33" fmla="*/ 743136 h 1651412"/>
              <a:gd name="connsiteX34" fmla="*/ 1114704 w 1651412"/>
              <a:gd name="connsiteY34" fmla="*/ 805064 h 1651412"/>
              <a:gd name="connsiteX35" fmla="*/ 805064 w 1651412"/>
              <a:gd name="connsiteY35" fmla="*/ 743136 h 1651412"/>
              <a:gd name="connsiteX36" fmla="*/ 866992 w 1651412"/>
              <a:gd name="connsiteY36" fmla="*/ 805064 h 1651412"/>
              <a:gd name="connsiteX37" fmla="*/ 866992 w 1651412"/>
              <a:gd name="connsiteY37" fmla="*/ 970205 h 1651412"/>
              <a:gd name="connsiteX38" fmla="*/ 805064 w 1651412"/>
              <a:gd name="connsiteY38" fmla="*/ 1032133 h 1651412"/>
              <a:gd name="connsiteX39" fmla="*/ 743136 w 1651412"/>
              <a:gd name="connsiteY39" fmla="*/ 970205 h 1651412"/>
              <a:gd name="connsiteX40" fmla="*/ 743136 w 1651412"/>
              <a:gd name="connsiteY40" fmla="*/ 805064 h 1651412"/>
              <a:gd name="connsiteX41" fmla="*/ 805064 w 1651412"/>
              <a:gd name="connsiteY41" fmla="*/ 743136 h 1651412"/>
              <a:gd name="connsiteX42" fmla="*/ 619280 w 1651412"/>
              <a:gd name="connsiteY42" fmla="*/ 805064 h 1651412"/>
              <a:gd name="connsiteX43" fmla="*/ 619280 w 1651412"/>
              <a:gd name="connsiteY43" fmla="*/ 970205 h 1651412"/>
              <a:gd name="connsiteX44" fmla="*/ 557352 w 1651412"/>
              <a:gd name="connsiteY44" fmla="*/ 1032133 h 1651412"/>
              <a:gd name="connsiteX45" fmla="*/ 495424 w 1651412"/>
              <a:gd name="connsiteY45" fmla="*/ 970205 h 1651412"/>
              <a:gd name="connsiteX46" fmla="*/ 495424 w 1651412"/>
              <a:gd name="connsiteY46" fmla="*/ 805064 h 1651412"/>
              <a:gd name="connsiteX47" fmla="*/ 557352 w 1651412"/>
              <a:gd name="connsiteY47" fmla="*/ 743136 h 1651412"/>
              <a:gd name="connsiteX48" fmla="*/ 619280 w 1651412"/>
              <a:gd name="connsiteY48" fmla="*/ 805064 h 1651412"/>
              <a:gd name="connsiteX49" fmla="*/ 309640 w 1651412"/>
              <a:gd name="connsiteY49" fmla="*/ 1114704 h 1651412"/>
              <a:gd name="connsiteX50" fmla="*/ 371568 w 1651412"/>
              <a:gd name="connsiteY50" fmla="*/ 1176631 h 1651412"/>
              <a:gd name="connsiteX51" fmla="*/ 371568 w 1651412"/>
              <a:gd name="connsiteY51" fmla="*/ 1383058 h 1651412"/>
              <a:gd name="connsiteX52" fmla="*/ 309640 w 1651412"/>
              <a:gd name="connsiteY52" fmla="*/ 1444986 h 1651412"/>
              <a:gd name="connsiteX53" fmla="*/ 247712 w 1651412"/>
              <a:gd name="connsiteY53" fmla="*/ 1383058 h 1651412"/>
              <a:gd name="connsiteX54" fmla="*/ 247712 w 1651412"/>
              <a:gd name="connsiteY54" fmla="*/ 1176631 h 1651412"/>
              <a:gd name="connsiteX55" fmla="*/ 309640 w 1651412"/>
              <a:gd name="connsiteY55" fmla="*/ 1114704 h 1651412"/>
              <a:gd name="connsiteX56" fmla="*/ 1403701 w 1651412"/>
              <a:gd name="connsiteY56" fmla="*/ 1176631 h 1651412"/>
              <a:gd name="connsiteX57" fmla="*/ 1403701 w 1651412"/>
              <a:gd name="connsiteY57" fmla="*/ 1383058 h 1651412"/>
              <a:gd name="connsiteX58" fmla="*/ 1341773 w 1651412"/>
              <a:gd name="connsiteY58" fmla="*/ 1444986 h 1651412"/>
              <a:gd name="connsiteX59" fmla="*/ 1279845 w 1651412"/>
              <a:gd name="connsiteY59" fmla="*/ 1383058 h 1651412"/>
              <a:gd name="connsiteX60" fmla="*/ 1279845 w 1651412"/>
              <a:gd name="connsiteY60" fmla="*/ 1176631 h 1651412"/>
              <a:gd name="connsiteX61" fmla="*/ 1341773 w 1651412"/>
              <a:gd name="connsiteY61" fmla="*/ 1114704 h 1651412"/>
              <a:gd name="connsiteX62" fmla="*/ 1403701 w 1651412"/>
              <a:gd name="connsiteY62" fmla="*/ 1176631 h 165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651412" h="1651412">
                <a:moveTo>
                  <a:pt x="1114704" y="0"/>
                </a:moveTo>
                <a:lnTo>
                  <a:pt x="805064" y="0"/>
                </a:lnTo>
                <a:cubicBezTo>
                  <a:pt x="770863" y="0"/>
                  <a:pt x="743136" y="27726"/>
                  <a:pt x="743136" y="61928"/>
                </a:cubicBezTo>
                <a:lnTo>
                  <a:pt x="743136" y="336062"/>
                </a:lnTo>
                <a:cubicBezTo>
                  <a:pt x="458743" y="377183"/>
                  <a:pt x="247709" y="620926"/>
                  <a:pt x="247712" y="908277"/>
                </a:cubicBezTo>
                <a:lnTo>
                  <a:pt x="185784" y="908277"/>
                </a:lnTo>
                <a:cubicBezTo>
                  <a:pt x="83178" y="908277"/>
                  <a:pt x="0" y="991459"/>
                  <a:pt x="0" y="1094061"/>
                </a:cubicBezTo>
                <a:lnTo>
                  <a:pt x="0" y="1589485"/>
                </a:lnTo>
                <a:cubicBezTo>
                  <a:pt x="0" y="1623669"/>
                  <a:pt x="27744" y="1651413"/>
                  <a:pt x="61928" y="1651413"/>
                </a:cubicBezTo>
                <a:lnTo>
                  <a:pt x="660565" y="1651413"/>
                </a:lnTo>
                <a:cubicBezTo>
                  <a:pt x="671968" y="1651413"/>
                  <a:pt x="681208" y="1642173"/>
                  <a:pt x="681208" y="1630770"/>
                </a:cubicBezTo>
                <a:lnTo>
                  <a:pt x="681208" y="1383058"/>
                </a:lnTo>
                <a:cubicBezTo>
                  <a:pt x="681208" y="1360260"/>
                  <a:pt x="699695" y="1341773"/>
                  <a:pt x="722493" y="1341773"/>
                </a:cubicBezTo>
                <a:lnTo>
                  <a:pt x="928920" y="1341773"/>
                </a:lnTo>
                <a:cubicBezTo>
                  <a:pt x="951717" y="1341773"/>
                  <a:pt x="970205" y="1360260"/>
                  <a:pt x="970205" y="1383058"/>
                </a:cubicBezTo>
                <a:lnTo>
                  <a:pt x="970205" y="1630770"/>
                </a:lnTo>
                <a:cubicBezTo>
                  <a:pt x="970205" y="1642165"/>
                  <a:pt x="979453" y="1651413"/>
                  <a:pt x="990848" y="1651413"/>
                </a:cubicBezTo>
                <a:lnTo>
                  <a:pt x="1589485" y="1651413"/>
                </a:lnTo>
                <a:cubicBezTo>
                  <a:pt x="1623685" y="1651413"/>
                  <a:pt x="1651413" y="1623685"/>
                  <a:pt x="1651413" y="1589485"/>
                </a:cubicBezTo>
                <a:lnTo>
                  <a:pt x="1651413" y="1094061"/>
                </a:lnTo>
                <a:cubicBezTo>
                  <a:pt x="1651413" y="991459"/>
                  <a:pt x="1568231" y="908277"/>
                  <a:pt x="1465629" y="908277"/>
                </a:cubicBezTo>
                <a:lnTo>
                  <a:pt x="1403701" y="908277"/>
                </a:lnTo>
                <a:cubicBezTo>
                  <a:pt x="1403692" y="605083"/>
                  <a:pt x="1169415" y="353425"/>
                  <a:pt x="866992" y="331769"/>
                </a:cubicBezTo>
                <a:lnTo>
                  <a:pt x="866992" y="247712"/>
                </a:lnTo>
                <a:lnTo>
                  <a:pt x="1114704" y="247712"/>
                </a:lnTo>
                <a:cubicBezTo>
                  <a:pt x="1137501" y="247712"/>
                  <a:pt x="1155989" y="229228"/>
                  <a:pt x="1155989" y="206427"/>
                </a:cubicBezTo>
                <a:lnTo>
                  <a:pt x="1155989" y="41285"/>
                </a:lnTo>
                <a:cubicBezTo>
                  <a:pt x="1155989" y="18484"/>
                  <a:pt x="1137501" y="0"/>
                  <a:pt x="1114704" y="0"/>
                </a:cubicBezTo>
                <a:close/>
                <a:moveTo>
                  <a:pt x="1114704" y="805064"/>
                </a:moveTo>
                <a:lnTo>
                  <a:pt x="1114704" y="970205"/>
                </a:lnTo>
                <a:cubicBezTo>
                  <a:pt x="1114704" y="1004406"/>
                  <a:pt x="1086976" y="1032133"/>
                  <a:pt x="1052776" y="1032133"/>
                </a:cubicBezTo>
                <a:cubicBezTo>
                  <a:pt x="1018575" y="1032133"/>
                  <a:pt x="990848" y="1004406"/>
                  <a:pt x="990848" y="970205"/>
                </a:cubicBezTo>
                <a:lnTo>
                  <a:pt x="990848" y="805064"/>
                </a:lnTo>
                <a:cubicBezTo>
                  <a:pt x="990848" y="770863"/>
                  <a:pt x="1018575" y="743136"/>
                  <a:pt x="1052776" y="743136"/>
                </a:cubicBezTo>
                <a:cubicBezTo>
                  <a:pt x="1086976" y="743136"/>
                  <a:pt x="1114704" y="770863"/>
                  <a:pt x="1114704" y="805064"/>
                </a:cubicBezTo>
                <a:close/>
                <a:moveTo>
                  <a:pt x="805064" y="743136"/>
                </a:moveTo>
                <a:cubicBezTo>
                  <a:pt x="839264" y="743136"/>
                  <a:pt x="866992" y="770863"/>
                  <a:pt x="866992" y="805064"/>
                </a:cubicBezTo>
                <a:lnTo>
                  <a:pt x="866992" y="970205"/>
                </a:lnTo>
                <a:cubicBezTo>
                  <a:pt x="866992" y="1004406"/>
                  <a:pt x="839264" y="1032133"/>
                  <a:pt x="805064" y="1032133"/>
                </a:cubicBezTo>
                <a:cubicBezTo>
                  <a:pt x="770863" y="1032133"/>
                  <a:pt x="743136" y="1004406"/>
                  <a:pt x="743136" y="970205"/>
                </a:cubicBezTo>
                <a:lnTo>
                  <a:pt x="743136" y="805064"/>
                </a:lnTo>
                <a:cubicBezTo>
                  <a:pt x="743136" y="770863"/>
                  <a:pt x="770863" y="743136"/>
                  <a:pt x="805064" y="743136"/>
                </a:cubicBezTo>
                <a:close/>
                <a:moveTo>
                  <a:pt x="619280" y="805064"/>
                </a:moveTo>
                <a:lnTo>
                  <a:pt x="619280" y="970205"/>
                </a:lnTo>
                <a:cubicBezTo>
                  <a:pt x="619280" y="1004406"/>
                  <a:pt x="591553" y="1032133"/>
                  <a:pt x="557352" y="1032133"/>
                </a:cubicBezTo>
                <a:cubicBezTo>
                  <a:pt x="523150" y="1032133"/>
                  <a:pt x="495424" y="1004406"/>
                  <a:pt x="495424" y="970205"/>
                </a:cubicBezTo>
                <a:lnTo>
                  <a:pt x="495424" y="805064"/>
                </a:lnTo>
                <a:cubicBezTo>
                  <a:pt x="495424" y="770863"/>
                  <a:pt x="523150" y="743136"/>
                  <a:pt x="557352" y="743136"/>
                </a:cubicBezTo>
                <a:cubicBezTo>
                  <a:pt x="591553" y="743136"/>
                  <a:pt x="619280" y="770863"/>
                  <a:pt x="619280" y="805064"/>
                </a:cubicBezTo>
                <a:close/>
                <a:moveTo>
                  <a:pt x="309640" y="1114704"/>
                </a:moveTo>
                <a:cubicBezTo>
                  <a:pt x="343841" y="1114704"/>
                  <a:pt x="371568" y="1142431"/>
                  <a:pt x="371568" y="1176631"/>
                </a:cubicBezTo>
                <a:lnTo>
                  <a:pt x="371568" y="1383058"/>
                </a:lnTo>
                <a:cubicBezTo>
                  <a:pt x="371568" y="1417259"/>
                  <a:pt x="343841" y="1444986"/>
                  <a:pt x="309640" y="1444986"/>
                </a:cubicBezTo>
                <a:cubicBezTo>
                  <a:pt x="275438" y="1444986"/>
                  <a:pt x="247712" y="1417259"/>
                  <a:pt x="247712" y="1383058"/>
                </a:cubicBezTo>
                <a:lnTo>
                  <a:pt x="247712" y="1176631"/>
                </a:lnTo>
                <a:cubicBezTo>
                  <a:pt x="247712" y="1142431"/>
                  <a:pt x="275438" y="1114704"/>
                  <a:pt x="309640" y="1114704"/>
                </a:cubicBezTo>
                <a:close/>
                <a:moveTo>
                  <a:pt x="1403701" y="1176631"/>
                </a:moveTo>
                <a:lnTo>
                  <a:pt x="1403701" y="1383058"/>
                </a:lnTo>
                <a:cubicBezTo>
                  <a:pt x="1403701" y="1417259"/>
                  <a:pt x="1375973" y="1444986"/>
                  <a:pt x="1341773" y="1444986"/>
                </a:cubicBezTo>
                <a:cubicBezTo>
                  <a:pt x="1307572" y="1444986"/>
                  <a:pt x="1279845" y="1417259"/>
                  <a:pt x="1279845" y="1383058"/>
                </a:cubicBezTo>
                <a:lnTo>
                  <a:pt x="1279845" y="1176631"/>
                </a:lnTo>
                <a:cubicBezTo>
                  <a:pt x="1279845" y="1142431"/>
                  <a:pt x="1307572" y="1114704"/>
                  <a:pt x="1341773" y="1114704"/>
                </a:cubicBezTo>
                <a:cubicBezTo>
                  <a:pt x="1375973" y="1114704"/>
                  <a:pt x="1403701" y="1142431"/>
                  <a:pt x="1403701" y="1176631"/>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0" name="TextBox 109">
            <a:extLst>
              <a:ext uri="{FF2B5EF4-FFF2-40B4-BE49-F238E27FC236}">
                <a16:creationId xmlns:a16="http://schemas.microsoft.com/office/drawing/2014/main" id="{C33F0F37-6CB8-818B-BEAD-F8BBBCBD8686}"/>
              </a:ext>
              <a:ext uri="{C183D7F6-B498-43B3-948B-1728B52AA6E4}">
                <adec:decorative xmlns:adec="http://schemas.microsoft.com/office/drawing/2017/decorative" val="0"/>
              </a:ext>
            </a:extLst>
          </p:cNvPr>
          <p:cNvSpPr txBox="1"/>
          <p:nvPr/>
        </p:nvSpPr>
        <p:spPr>
          <a:xfrm>
            <a:off x="8206663" y="2916039"/>
            <a:ext cx="3008466" cy="692497"/>
          </a:xfrm>
          <a:prstGeom prst="rect">
            <a:avLst/>
          </a:prstGeom>
          <a:noFill/>
        </p:spPr>
        <p:txBody>
          <a:bodyPr wrap="square" lIns="0" tIns="0" rIns="0" bIns="0" anchor="t">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w="3175">
                  <a:noFill/>
                </a:ln>
                <a:gradFill flip="none" rotWithShape="1">
                  <a:gsLst>
                    <a:gs pos="50000">
                      <a:srgbClr val="8661C5"/>
                    </a:gs>
                    <a:gs pos="0">
                      <a:srgbClr val="3E76D4"/>
                    </a:gs>
                    <a:gs pos="100000">
                      <a:srgbClr val="C73ECC"/>
                    </a:gs>
                  </a:gsLst>
                  <a:lin ang="2700000" scaled="1"/>
                  <a:tileRect/>
                </a:gradFill>
                <a:effectLst/>
                <a:uLnTx/>
                <a:uFillTx/>
                <a:latin typeface="Segoe UI Semibold"/>
                <a:ea typeface="+mn-ea"/>
                <a:cs typeface="+mn-cs"/>
              </a:rPr>
              <a:t>Govern</a:t>
            </a:r>
          </a:p>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Compliant usage</a:t>
            </a:r>
          </a:p>
        </p:txBody>
      </p:sp>
      <p:sp>
        <p:nvSpPr>
          <p:cNvPr id="5" name="TextBox 4">
            <a:extLst>
              <a:ext uri="{FF2B5EF4-FFF2-40B4-BE49-F238E27FC236}">
                <a16:creationId xmlns:a16="http://schemas.microsoft.com/office/drawing/2014/main" id="{959F7322-0222-3968-C8CE-CEA35B2F322F}"/>
              </a:ext>
            </a:extLst>
          </p:cNvPr>
          <p:cNvSpPr txBox="1"/>
          <p:nvPr/>
        </p:nvSpPr>
        <p:spPr>
          <a:xfrm>
            <a:off x="1188890" y="1105368"/>
            <a:ext cx="8267529" cy="369332"/>
          </a:xfrm>
          <a:prstGeom prst="rect">
            <a:avLst/>
          </a:prstGeom>
          <a:noFill/>
        </p:spPr>
        <p:txBody>
          <a:bodyPr wrap="square">
            <a:spAutoFit/>
          </a:bodyPr>
          <a:lstStyle/>
          <a:p>
            <a:pPr lvl="0" algn="ctr" defTabSz="932742">
              <a:spcBef>
                <a:spcPct val="0"/>
              </a:spcBef>
              <a:defRPr/>
            </a:pPr>
            <a:r>
              <a:rPr kumimoji="0" lang="en-US" sz="1800" b="0" i="0" u="none" strike="noStrike" kern="1200" cap="none" spc="0" normalizeH="0" baseline="0" noProof="0">
                <a:ln w="3175">
                  <a:noFill/>
                </a:ln>
                <a:solidFill>
                  <a:srgbClr val="1C1C1C"/>
                </a:solidFill>
                <a:effectLst/>
                <a:uLnTx/>
                <a:uFillTx/>
                <a:latin typeface="Segoe UI"/>
                <a:ea typeface="+mn-ea"/>
                <a:cs typeface="Segoe UI" pitchFamily="34" charset="0"/>
              </a:rPr>
              <a:t>Unified data security, governance and compliance solutions for all data</a:t>
            </a:r>
            <a:endParaRPr kumimoji="0" lang="en-US" b="0" i="0" u="none" strike="noStrike" kern="1200" cap="none" spc="0" normalizeH="0" baseline="0" noProof="0">
              <a:ln w="3175">
                <a:noFill/>
              </a:ln>
              <a:solidFill>
                <a:srgbClr val="1C1C1C"/>
              </a:solidFill>
              <a:effectLst/>
              <a:uLnTx/>
              <a:uFillTx/>
              <a:latin typeface="Segoe UI"/>
              <a:ea typeface="+mn-ea"/>
              <a:cs typeface="Segoe UI" pitchFamily="34" charset="0"/>
            </a:endParaRPr>
          </a:p>
        </p:txBody>
      </p:sp>
      <p:pic>
        <p:nvPicPr>
          <p:cNvPr id="6" name="Picture 5">
            <a:extLst>
              <a:ext uri="{FF2B5EF4-FFF2-40B4-BE49-F238E27FC236}">
                <a16:creationId xmlns:a16="http://schemas.microsoft.com/office/drawing/2014/main" id="{5B701181-D35A-9E9D-51CA-00C87829946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951833" y="722002"/>
            <a:ext cx="340768" cy="340768"/>
          </a:xfrm>
          <a:prstGeom prst="rect">
            <a:avLst/>
          </a:prstGeom>
        </p:spPr>
      </p:pic>
      <p:sp>
        <p:nvSpPr>
          <p:cNvPr id="7" name="Rectangle: Rounded Corners 6">
            <a:extLst>
              <a:ext uri="{FF2B5EF4-FFF2-40B4-BE49-F238E27FC236}">
                <a16:creationId xmlns:a16="http://schemas.microsoft.com/office/drawing/2014/main" id="{8060DE38-FEE8-1A9B-29D7-85BFC243C279}"/>
              </a:ext>
              <a:ext uri="{C183D7F6-B498-43B3-948B-1728B52AA6E4}">
                <adec:decorative xmlns:adec="http://schemas.microsoft.com/office/drawing/2017/decorative" val="1"/>
              </a:ext>
            </a:extLst>
          </p:cNvPr>
          <p:cNvSpPr>
            <a:spLocks/>
          </p:cNvSpPr>
          <p:nvPr/>
        </p:nvSpPr>
        <p:spPr bwMode="auto">
          <a:xfrm>
            <a:off x="768783" y="4280083"/>
            <a:ext cx="10659428" cy="1855915"/>
          </a:xfrm>
          <a:prstGeom prst="roundRect">
            <a:avLst>
              <a:gd name="adj" fmla="val 4779"/>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2D9E9E8F-71D4-5909-2C53-6924C44BD256}"/>
              </a:ext>
              <a:ext uri="{C183D7F6-B498-43B3-948B-1728B52AA6E4}">
                <adec:decorative xmlns:adec="http://schemas.microsoft.com/office/drawing/2017/decorative" val="1"/>
              </a:ext>
            </a:extLst>
          </p:cNvPr>
          <p:cNvSpPr/>
          <p:nvPr/>
        </p:nvSpPr>
        <p:spPr>
          <a:xfrm>
            <a:off x="5721569" y="4516878"/>
            <a:ext cx="748862" cy="246221"/>
          </a:xfrm>
          <a:prstGeom prst="rect">
            <a:avLst/>
          </a:prstGeom>
          <a:noFill/>
        </p:spPr>
        <p:txBody>
          <a:bodyPr wrap="square" lIns="0" tIns="0" rIns="0" bIns="0" anchor="t">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across</a:t>
            </a:r>
          </a:p>
        </p:txBody>
      </p:sp>
      <p:sp>
        <p:nvSpPr>
          <p:cNvPr id="11" name="TextBox 10">
            <a:extLst>
              <a:ext uri="{FF2B5EF4-FFF2-40B4-BE49-F238E27FC236}">
                <a16:creationId xmlns:a16="http://schemas.microsoft.com/office/drawing/2014/main" id="{9A27BF28-49AD-E01A-0B10-BE44529B41B2}"/>
              </a:ext>
              <a:ext uri="{C183D7F6-B498-43B3-948B-1728B52AA6E4}">
                <adec:decorative xmlns:adec="http://schemas.microsoft.com/office/drawing/2017/decorative" val="0"/>
              </a:ext>
            </a:extLst>
          </p:cNvPr>
          <p:cNvSpPr txBox="1"/>
          <p:nvPr/>
        </p:nvSpPr>
        <p:spPr>
          <a:xfrm>
            <a:off x="978758" y="5377286"/>
            <a:ext cx="1813300" cy="61555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Structur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a:solidFill>
                  <a:srgbClr val="000000"/>
                </a:solidFill>
                <a:latin typeface="Segoe UI Semibold"/>
              </a:rPr>
              <a:t>data</a:t>
            </a: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2" name="Graphic 8" descr="plus">
            <a:extLst>
              <a:ext uri="{FF2B5EF4-FFF2-40B4-BE49-F238E27FC236}">
                <a16:creationId xmlns:a16="http://schemas.microsoft.com/office/drawing/2014/main" id="{48F28AA9-4420-1173-782F-FF246CB7AEB2}"/>
              </a:ext>
              <a:ext uri="{C183D7F6-B498-43B3-948B-1728B52AA6E4}">
                <adec:decorative xmlns:adec="http://schemas.microsoft.com/office/drawing/2017/decorative" val="0"/>
              </a:ext>
            </a:extLst>
          </p:cNvPr>
          <p:cNvSpPr/>
          <p:nvPr/>
        </p:nvSpPr>
        <p:spPr>
          <a:xfrm>
            <a:off x="3186023" y="5078572"/>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A4953"/>
              </a:solidFill>
              <a:effectLst/>
              <a:uLnTx/>
              <a:uFillTx/>
              <a:latin typeface="Segoe UI Semibold"/>
              <a:ea typeface="+mn-ea"/>
              <a:cs typeface="Segoe UI" pitchFamily="34" charset="0"/>
            </a:endParaRPr>
          </a:p>
        </p:txBody>
      </p:sp>
      <p:sp>
        <p:nvSpPr>
          <p:cNvPr id="17" name="TextBox 16">
            <a:extLst>
              <a:ext uri="{FF2B5EF4-FFF2-40B4-BE49-F238E27FC236}">
                <a16:creationId xmlns:a16="http://schemas.microsoft.com/office/drawing/2014/main" id="{BCF089AA-84D3-A332-6A8A-B61DDC73B527}"/>
              </a:ext>
              <a:ext uri="{C183D7F6-B498-43B3-948B-1728B52AA6E4}">
                <adec:decorative xmlns:adec="http://schemas.microsoft.com/office/drawing/2017/decorative" val="0"/>
              </a:ext>
            </a:extLst>
          </p:cNvPr>
          <p:cNvSpPr txBox="1"/>
          <p:nvPr/>
        </p:nvSpPr>
        <p:spPr>
          <a:xfrm>
            <a:off x="3786251" y="5377287"/>
            <a:ext cx="1813300"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Files and Emails</a:t>
            </a:r>
          </a:p>
        </p:txBody>
      </p:sp>
      <p:sp>
        <p:nvSpPr>
          <p:cNvPr id="18" name="Graphic 8" descr="plus">
            <a:extLst>
              <a:ext uri="{FF2B5EF4-FFF2-40B4-BE49-F238E27FC236}">
                <a16:creationId xmlns:a16="http://schemas.microsoft.com/office/drawing/2014/main" id="{599262AB-9F15-EDC1-7311-FBE9BB821276}"/>
              </a:ext>
              <a:ext uri="{C183D7F6-B498-43B3-948B-1728B52AA6E4}">
                <adec:decorative xmlns:adec="http://schemas.microsoft.com/office/drawing/2017/decorative" val="0"/>
              </a:ext>
            </a:extLst>
          </p:cNvPr>
          <p:cNvSpPr/>
          <p:nvPr/>
        </p:nvSpPr>
        <p:spPr>
          <a:xfrm>
            <a:off x="5993812" y="5081887"/>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A4953"/>
              </a:solidFill>
              <a:effectLst/>
              <a:uLnTx/>
              <a:uFillTx/>
              <a:latin typeface="Segoe UI Semibold"/>
              <a:ea typeface="+mn-ea"/>
              <a:cs typeface="Segoe UI" pitchFamily="34" charset="0"/>
            </a:endParaRPr>
          </a:p>
        </p:txBody>
      </p:sp>
      <p:sp>
        <p:nvSpPr>
          <p:cNvPr id="23" name="TextBox 22">
            <a:extLst>
              <a:ext uri="{FF2B5EF4-FFF2-40B4-BE49-F238E27FC236}">
                <a16:creationId xmlns:a16="http://schemas.microsoft.com/office/drawing/2014/main" id="{2354A0CC-E8A2-A923-13BA-C4AABAE00334}"/>
              </a:ext>
              <a:ext uri="{C183D7F6-B498-43B3-948B-1728B52AA6E4}">
                <adec:decorative xmlns:adec="http://schemas.microsoft.com/office/drawing/2017/decorative" val="0"/>
              </a:ext>
            </a:extLst>
          </p:cNvPr>
          <p:cNvSpPr txBox="1"/>
          <p:nvPr/>
        </p:nvSpPr>
        <p:spPr>
          <a:xfrm>
            <a:off x="6594040" y="5377287"/>
            <a:ext cx="1813300" cy="61555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AI-generated data</a:t>
            </a:r>
          </a:p>
        </p:txBody>
      </p:sp>
      <p:sp>
        <p:nvSpPr>
          <p:cNvPr id="25" name="Graphic 8" descr="plus">
            <a:extLst>
              <a:ext uri="{FF2B5EF4-FFF2-40B4-BE49-F238E27FC236}">
                <a16:creationId xmlns:a16="http://schemas.microsoft.com/office/drawing/2014/main" id="{F145659F-48EB-398D-8B6C-34E02A6B8501}"/>
              </a:ext>
              <a:ext uri="{C183D7F6-B498-43B3-948B-1728B52AA6E4}">
                <adec:decorative xmlns:adec="http://schemas.microsoft.com/office/drawing/2017/decorative" val="0"/>
              </a:ext>
            </a:extLst>
          </p:cNvPr>
          <p:cNvSpPr/>
          <p:nvPr/>
        </p:nvSpPr>
        <p:spPr>
          <a:xfrm>
            <a:off x="8801601" y="5075263"/>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A4953"/>
              </a:solidFill>
              <a:effectLst/>
              <a:uLnTx/>
              <a:uFillTx/>
              <a:latin typeface="Segoe UI Semibold"/>
              <a:ea typeface="+mn-ea"/>
              <a:cs typeface="Segoe UI" pitchFamily="34" charset="0"/>
            </a:endParaRPr>
          </a:p>
        </p:txBody>
      </p:sp>
      <p:sp>
        <p:nvSpPr>
          <p:cNvPr id="28" name="Graphic 147" descr="Icon of an AI robot">
            <a:extLst>
              <a:ext uri="{FF2B5EF4-FFF2-40B4-BE49-F238E27FC236}">
                <a16:creationId xmlns:a16="http://schemas.microsoft.com/office/drawing/2014/main" id="{5FC9C41E-9C2B-9D1E-2603-728B0A0DF394}"/>
              </a:ext>
            </a:extLst>
          </p:cNvPr>
          <p:cNvSpPr>
            <a:spLocks/>
          </p:cNvSpPr>
          <p:nvPr/>
        </p:nvSpPr>
        <p:spPr>
          <a:xfrm>
            <a:off x="7327363" y="4755441"/>
            <a:ext cx="393784" cy="438912"/>
          </a:xfrm>
          <a:custGeom>
            <a:avLst/>
            <a:gdLst>
              <a:gd name="connsiteX0" fmla="*/ 130969 w 152400"/>
              <a:gd name="connsiteY0" fmla="*/ 114300 h 190500"/>
              <a:gd name="connsiteX1" fmla="*/ 152400 w 152400"/>
              <a:gd name="connsiteY1" fmla="*/ 135731 h 190500"/>
              <a:gd name="connsiteX2" fmla="*/ 152400 w 152400"/>
              <a:gd name="connsiteY2" fmla="*/ 144351 h 190500"/>
              <a:gd name="connsiteX3" fmla="*/ 139951 w 152400"/>
              <a:gd name="connsiteY3" fmla="*/ 171460 h 190500"/>
              <a:gd name="connsiteX4" fmla="*/ 76171 w 152400"/>
              <a:gd name="connsiteY4" fmla="*/ 190500 h 190500"/>
              <a:gd name="connsiteX5" fmla="*/ 12440 w 152400"/>
              <a:gd name="connsiteY5" fmla="*/ 171450 h 190500"/>
              <a:gd name="connsiteX6" fmla="*/ 0 w 152400"/>
              <a:gd name="connsiteY6" fmla="*/ 144370 h 190500"/>
              <a:gd name="connsiteX7" fmla="*/ 0 w 152400"/>
              <a:gd name="connsiteY7" fmla="*/ 135722 h 190500"/>
              <a:gd name="connsiteX8" fmla="*/ 21431 w 152400"/>
              <a:gd name="connsiteY8" fmla="*/ 114300 h 190500"/>
              <a:gd name="connsiteX9" fmla="*/ 130969 w 152400"/>
              <a:gd name="connsiteY9" fmla="*/ 114300 h 190500"/>
              <a:gd name="connsiteX10" fmla="*/ 75200 w 152400"/>
              <a:gd name="connsiteY10" fmla="*/ 76 h 190500"/>
              <a:gd name="connsiteX11" fmla="*/ 76171 w 152400"/>
              <a:gd name="connsiteY11" fmla="*/ 0 h 190500"/>
              <a:gd name="connsiteX12" fmla="*/ 83249 w 152400"/>
              <a:gd name="connsiteY12" fmla="*/ 6172 h 190500"/>
              <a:gd name="connsiteX13" fmla="*/ 83315 w 152400"/>
              <a:gd name="connsiteY13" fmla="*/ 7144 h 190500"/>
              <a:gd name="connsiteX14" fmla="*/ 83315 w 152400"/>
              <a:gd name="connsiteY14" fmla="*/ 14288 h 190500"/>
              <a:gd name="connsiteX15" fmla="*/ 116653 w 152400"/>
              <a:gd name="connsiteY15" fmla="*/ 14288 h 190500"/>
              <a:gd name="connsiteX16" fmla="*/ 138084 w 152400"/>
              <a:gd name="connsiteY16" fmla="*/ 35719 h 190500"/>
              <a:gd name="connsiteX17" fmla="*/ 138084 w 152400"/>
              <a:gd name="connsiteY17" fmla="*/ 78629 h 190500"/>
              <a:gd name="connsiteX18" fmla="*/ 116653 w 152400"/>
              <a:gd name="connsiteY18" fmla="*/ 100060 h 190500"/>
              <a:gd name="connsiteX19" fmla="*/ 35690 w 152400"/>
              <a:gd name="connsiteY19" fmla="*/ 100060 h 190500"/>
              <a:gd name="connsiteX20" fmla="*/ 14259 w 152400"/>
              <a:gd name="connsiteY20" fmla="*/ 78629 h 190500"/>
              <a:gd name="connsiteX21" fmla="*/ 14259 w 152400"/>
              <a:gd name="connsiteY21" fmla="*/ 35719 h 190500"/>
              <a:gd name="connsiteX22" fmla="*/ 35690 w 152400"/>
              <a:gd name="connsiteY22" fmla="*/ 14288 h 190500"/>
              <a:gd name="connsiteX23" fmla="*/ 69028 w 152400"/>
              <a:gd name="connsiteY23" fmla="*/ 14288 h 190500"/>
              <a:gd name="connsiteX24" fmla="*/ 69028 w 152400"/>
              <a:gd name="connsiteY24" fmla="*/ 7153 h 190500"/>
              <a:gd name="connsiteX25" fmla="*/ 75200 w 152400"/>
              <a:gd name="connsiteY25" fmla="*/ 76 h 190500"/>
              <a:gd name="connsiteX26" fmla="*/ 76171 w 152400"/>
              <a:gd name="connsiteY26" fmla="*/ 0 h 190500"/>
              <a:gd name="connsiteX27" fmla="*/ 75200 w 152400"/>
              <a:gd name="connsiteY27" fmla="*/ 67 h 190500"/>
              <a:gd name="connsiteX28" fmla="*/ 54740 w 152400"/>
              <a:gd name="connsiteY28" fmla="*/ 42863 h 190500"/>
              <a:gd name="connsiteX29" fmla="*/ 42834 w 152400"/>
              <a:gd name="connsiteY29" fmla="*/ 54769 h 190500"/>
              <a:gd name="connsiteX30" fmla="*/ 54740 w 152400"/>
              <a:gd name="connsiteY30" fmla="*/ 66675 h 190500"/>
              <a:gd name="connsiteX31" fmla="*/ 66646 w 152400"/>
              <a:gd name="connsiteY31" fmla="*/ 54769 h 190500"/>
              <a:gd name="connsiteX32" fmla="*/ 54740 w 152400"/>
              <a:gd name="connsiteY32" fmla="*/ 42863 h 190500"/>
              <a:gd name="connsiteX33" fmla="*/ 97536 w 152400"/>
              <a:gd name="connsiteY33" fmla="*/ 42863 h 190500"/>
              <a:gd name="connsiteX34" fmla="*/ 85297 w 152400"/>
              <a:gd name="connsiteY34" fmla="*/ 54427 h 190500"/>
              <a:gd name="connsiteX35" fmla="*/ 96863 w 152400"/>
              <a:gd name="connsiteY35" fmla="*/ 66665 h 190500"/>
              <a:gd name="connsiteX36" fmla="*/ 97536 w 152400"/>
              <a:gd name="connsiteY36" fmla="*/ 66665 h 190500"/>
              <a:gd name="connsiteX37" fmla="*/ 109100 w 152400"/>
              <a:gd name="connsiteY37" fmla="*/ 54427 h 190500"/>
              <a:gd name="connsiteX38" fmla="*/ 97536 w 152400"/>
              <a:gd name="connsiteY38" fmla="*/ 4286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2400" h="190500">
                <a:moveTo>
                  <a:pt x="130969" y="114300"/>
                </a:moveTo>
                <a:cubicBezTo>
                  <a:pt x="142805" y="114300"/>
                  <a:pt x="152400" y="123895"/>
                  <a:pt x="152400" y="135731"/>
                </a:cubicBezTo>
                <a:lnTo>
                  <a:pt x="152400" y="144351"/>
                </a:lnTo>
                <a:cubicBezTo>
                  <a:pt x="152403" y="154771"/>
                  <a:pt x="147856" y="164672"/>
                  <a:pt x="139951" y="171460"/>
                </a:cubicBezTo>
                <a:cubicBezTo>
                  <a:pt x="125035" y="184261"/>
                  <a:pt x="103699" y="190500"/>
                  <a:pt x="76171" y="190500"/>
                </a:cubicBezTo>
                <a:cubicBezTo>
                  <a:pt x="48644" y="190500"/>
                  <a:pt x="27327" y="184252"/>
                  <a:pt x="12440" y="171450"/>
                </a:cubicBezTo>
                <a:cubicBezTo>
                  <a:pt x="4546" y="164667"/>
                  <a:pt x="3" y="154778"/>
                  <a:pt x="0" y="144370"/>
                </a:cubicBezTo>
                <a:lnTo>
                  <a:pt x="0" y="135722"/>
                </a:lnTo>
                <a:cubicBezTo>
                  <a:pt x="5" y="123890"/>
                  <a:pt x="9599" y="114300"/>
                  <a:pt x="21431" y="114300"/>
                </a:cubicBezTo>
                <a:lnTo>
                  <a:pt x="130969" y="114300"/>
                </a:lnTo>
                <a:close/>
                <a:moveTo>
                  <a:pt x="75200" y="76"/>
                </a:moveTo>
                <a:lnTo>
                  <a:pt x="76171" y="0"/>
                </a:lnTo>
                <a:cubicBezTo>
                  <a:pt x="79741" y="0"/>
                  <a:pt x="82763" y="2636"/>
                  <a:pt x="83249" y="6172"/>
                </a:cubicBezTo>
                <a:lnTo>
                  <a:pt x="83315" y="7144"/>
                </a:lnTo>
                <a:lnTo>
                  <a:pt x="83315" y="14288"/>
                </a:lnTo>
                <a:lnTo>
                  <a:pt x="116653" y="14288"/>
                </a:lnTo>
                <a:cubicBezTo>
                  <a:pt x="128488" y="14288"/>
                  <a:pt x="138084" y="23883"/>
                  <a:pt x="138084" y="35719"/>
                </a:cubicBezTo>
                <a:lnTo>
                  <a:pt x="138084" y="78629"/>
                </a:lnTo>
                <a:cubicBezTo>
                  <a:pt x="138084" y="90465"/>
                  <a:pt x="128488" y="100060"/>
                  <a:pt x="116653" y="100060"/>
                </a:cubicBezTo>
                <a:lnTo>
                  <a:pt x="35690" y="100060"/>
                </a:lnTo>
                <a:cubicBezTo>
                  <a:pt x="23854" y="100060"/>
                  <a:pt x="14259" y="90465"/>
                  <a:pt x="14259" y="78629"/>
                </a:cubicBezTo>
                <a:lnTo>
                  <a:pt x="14259" y="35719"/>
                </a:lnTo>
                <a:cubicBezTo>
                  <a:pt x="14259" y="23883"/>
                  <a:pt x="23854" y="14288"/>
                  <a:pt x="35690" y="14288"/>
                </a:cubicBezTo>
                <a:lnTo>
                  <a:pt x="69028" y="14288"/>
                </a:lnTo>
                <a:lnTo>
                  <a:pt x="69028" y="7153"/>
                </a:lnTo>
                <a:cubicBezTo>
                  <a:pt x="69028" y="3583"/>
                  <a:pt x="71663" y="562"/>
                  <a:pt x="75200" y="76"/>
                </a:cubicBezTo>
                <a:lnTo>
                  <a:pt x="76171" y="0"/>
                </a:lnTo>
                <a:lnTo>
                  <a:pt x="75200" y="67"/>
                </a:lnTo>
                <a:close/>
                <a:moveTo>
                  <a:pt x="54740" y="42863"/>
                </a:moveTo>
                <a:cubicBezTo>
                  <a:pt x="48164" y="42863"/>
                  <a:pt x="42834" y="48193"/>
                  <a:pt x="42834" y="54769"/>
                </a:cubicBezTo>
                <a:cubicBezTo>
                  <a:pt x="42834" y="61344"/>
                  <a:pt x="48164" y="66675"/>
                  <a:pt x="54740" y="66675"/>
                </a:cubicBezTo>
                <a:cubicBezTo>
                  <a:pt x="61316" y="66675"/>
                  <a:pt x="66646" y="61344"/>
                  <a:pt x="66646" y="54769"/>
                </a:cubicBezTo>
                <a:cubicBezTo>
                  <a:pt x="66646" y="48193"/>
                  <a:pt x="61316" y="42863"/>
                  <a:pt x="54740" y="42863"/>
                </a:cubicBezTo>
                <a:close/>
                <a:moveTo>
                  <a:pt x="97536" y="42863"/>
                </a:moveTo>
                <a:cubicBezTo>
                  <a:pt x="90963" y="42677"/>
                  <a:pt x="85484" y="47854"/>
                  <a:pt x="85297" y="54427"/>
                </a:cubicBezTo>
                <a:cubicBezTo>
                  <a:pt x="85112" y="61000"/>
                  <a:pt x="90289" y="66480"/>
                  <a:pt x="96863" y="66665"/>
                </a:cubicBezTo>
                <a:cubicBezTo>
                  <a:pt x="97087" y="66672"/>
                  <a:pt x="97311" y="66672"/>
                  <a:pt x="97536" y="66665"/>
                </a:cubicBezTo>
                <a:cubicBezTo>
                  <a:pt x="104109" y="66480"/>
                  <a:pt x="109287" y="61000"/>
                  <a:pt x="109100" y="54427"/>
                </a:cubicBezTo>
                <a:cubicBezTo>
                  <a:pt x="108922" y="48116"/>
                  <a:pt x="103847" y="43041"/>
                  <a:pt x="97536" y="42863"/>
                </a:cubicBezTo>
                <a:close/>
              </a:path>
            </a:pathLst>
          </a:cu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GB" sz="32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0" name="TextBox 29">
            <a:extLst>
              <a:ext uri="{FF2B5EF4-FFF2-40B4-BE49-F238E27FC236}">
                <a16:creationId xmlns:a16="http://schemas.microsoft.com/office/drawing/2014/main" id="{7D66B081-43DD-64B5-5F94-C1F067DF4114}"/>
              </a:ext>
              <a:ext uri="{C183D7F6-B498-43B3-948B-1728B52AA6E4}">
                <adec:decorative xmlns:adec="http://schemas.microsoft.com/office/drawing/2017/decorative" val="0"/>
              </a:ext>
            </a:extLst>
          </p:cNvPr>
          <p:cNvSpPr txBox="1"/>
          <p:nvPr/>
        </p:nvSpPr>
        <p:spPr>
          <a:xfrm>
            <a:off x="9401829" y="5377287"/>
            <a:ext cx="1813300" cy="61555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M365 &amp; other clouds</a:t>
            </a:r>
          </a:p>
        </p:txBody>
      </p:sp>
      <p:sp>
        <p:nvSpPr>
          <p:cNvPr id="31" name="Freeform: Shape 30" descr="Icon of a blank document">
            <a:extLst>
              <a:ext uri="{FF2B5EF4-FFF2-40B4-BE49-F238E27FC236}">
                <a16:creationId xmlns:a16="http://schemas.microsoft.com/office/drawing/2014/main" id="{449EC25E-67FC-13B0-F89C-15C74A32F485}"/>
              </a:ext>
            </a:extLst>
          </p:cNvPr>
          <p:cNvSpPr>
            <a:spLocks/>
          </p:cNvSpPr>
          <p:nvPr/>
        </p:nvSpPr>
        <p:spPr>
          <a:xfrm>
            <a:off x="4494418" y="4755441"/>
            <a:ext cx="338328" cy="438912"/>
          </a:xfrm>
          <a:custGeom>
            <a:avLst/>
            <a:gdLst>
              <a:gd name="connsiteX0" fmla="*/ 130456 w 219716"/>
              <a:gd name="connsiteY0" fmla="*/ 6866 h 274645"/>
              <a:gd name="connsiteX1" fmla="*/ 212850 w 219716"/>
              <a:gd name="connsiteY1" fmla="*/ 89260 h 274645"/>
              <a:gd name="connsiteX2" fmla="*/ 137322 w 219716"/>
              <a:gd name="connsiteY2" fmla="*/ 89260 h 274645"/>
              <a:gd name="connsiteX3" fmla="*/ 130456 w 219716"/>
              <a:gd name="connsiteY3" fmla="*/ 82393 h 274645"/>
              <a:gd name="connsiteX4" fmla="*/ 27465 w 219716"/>
              <a:gd name="connsiteY4" fmla="*/ 0 h 274645"/>
              <a:gd name="connsiteX5" fmla="*/ 109858 w 219716"/>
              <a:gd name="connsiteY5" fmla="*/ 0 h 274645"/>
              <a:gd name="connsiteX6" fmla="*/ 109858 w 219716"/>
              <a:gd name="connsiteY6" fmla="*/ 82394 h 274645"/>
              <a:gd name="connsiteX7" fmla="*/ 137323 w 219716"/>
              <a:gd name="connsiteY7" fmla="*/ 109858 h 274645"/>
              <a:gd name="connsiteX8" fmla="*/ 219716 w 219716"/>
              <a:gd name="connsiteY8" fmla="*/ 109858 h 274645"/>
              <a:gd name="connsiteX9" fmla="*/ 219716 w 219716"/>
              <a:gd name="connsiteY9" fmla="*/ 247181 h 274645"/>
              <a:gd name="connsiteX10" fmla="*/ 192252 w 219716"/>
              <a:gd name="connsiteY10" fmla="*/ 274645 h 274645"/>
              <a:gd name="connsiteX11" fmla="*/ 27465 w 219716"/>
              <a:gd name="connsiteY11" fmla="*/ 274645 h 274645"/>
              <a:gd name="connsiteX12" fmla="*/ 0 w 219716"/>
              <a:gd name="connsiteY12" fmla="*/ 247181 h 274645"/>
              <a:gd name="connsiteX13" fmla="*/ 0 w 219716"/>
              <a:gd name="connsiteY13" fmla="*/ 27465 h 274645"/>
              <a:gd name="connsiteX14" fmla="*/ 27465 w 219716"/>
              <a:gd name="connsiteY14" fmla="*/ 0 h 27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716" h="274645">
                <a:moveTo>
                  <a:pt x="130456" y="6866"/>
                </a:moveTo>
                <a:lnTo>
                  <a:pt x="212850" y="89260"/>
                </a:lnTo>
                <a:lnTo>
                  <a:pt x="137322" y="89260"/>
                </a:lnTo>
                <a:cubicBezTo>
                  <a:pt x="133531" y="89260"/>
                  <a:pt x="130456" y="86185"/>
                  <a:pt x="130456" y="82393"/>
                </a:cubicBezTo>
                <a:close/>
                <a:moveTo>
                  <a:pt x="27465" y="0"/>
                </a:moveTo>
                <a:lnTo>
                  <a:pt x="109858" y="0"/>
                </a:lnTo>
                <a:lnTo>
                  <a:pt x="109858" y="82394"/>
                </a:lnTo>
                <a:cubicBezTo>
                  <a:pt x="109858" y="97562"/>
                  <a:pt x="122154" y="109858"/>
                  <a:pt x="137323" y="109858"/>
                </a:cubicBezTo>
                <a:lnTo>
                  <a:pt x="219716" y="109858"/>
                </a:lnTo>
                <a:lnTo>
                  <a:pt x="219716" y="247181"/>
                </a:lnTo>
                <a:cubicBezTo>
                  <a:pt x="219716" y="262349"/>
                  <a:pt x="207420" y="274645"/>
                  <a:pt x="192252" y="274645"/>
                </a:cubicBezTo>
                <a:lnTo>
                  <a:pt x="27465" y="274645"/>
                </a:lnTo>
                <a:cubicBezTo>
                  <a:pt x="12296" y="274645"/>
                  <a:pt x="0" y="262349"/>
                  <a:pt x="0" y="247181"/>
                </a:cubicBezTo>
                <a:lnTo>
                  <a:pt x="0" y="27465"/>
                </a:lnTo>
                <a:cubicBezTo>
                  <a:pt x="0" y="12296"/>
                  <a:pt x="12296" y="0"/>
                  <a:pt x="27465" y="0"/>
                </a:cubicBezTo>
                <a:close/>
              </a:path>
            </a:pathLst>
          </a:cu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a:ln>
                <a:noFill/>
              </a:ln>
              <a:solidFill>
                <a:srgbClr val="FFFFFF"/>
              </a:solidFill>
              <a:effectLst/>
              <a:uLnTx/>
              <a:uFillTx/>
              <a:latin typeface="Segoe UI Semibold"/>
              <a:ea typeface="+mn-ea"/>
              <a:cs typeface="+mn-cs"/>
            </a:endParaRPr>
          </a:p>
        </p:txBody>
      </p:sp>
      <p:grpSp>
        <p:nvGrpSpPr>
          <p:cNvPr id="47" name="Graphic 36" descr="Database with solid fill">
            <a:extLst>
              <a:ext uri="{FF2B5EF4-FFF2-40B4-BE49-F238E27FC236}">
                <a16:creationId xmlns:a16="http://schemas.microsoft.com/office/drawing/2014/main" id="{70FC62D9-ADBF-2B5C-3838-8F51F57B7F76}"/>
              </a:ext>
            </a:extLst>
          </p:cNvPr>
          <p:cNvGrpSpPr/>
          <p:nvPr/>
        </p:nvGrpSpPr>
        <p:grpSpPr>
          <a:xfrm>
            <a:off x="1688812" y="4755441"/>
            <a:ext cx="393192" cy="438912"/>
            <a:chOff x="446710" y="4386007"/>
            <a:chExt cx="533400" cy="723900"/>
          </a:xfrm>
          <a:solidFill>
            <a:srgbClr val="000000"/>
          </a:solidFill>
        </p:grpSpPr>
        <p:sp>
          <p:nvSpPr>
            <p:cNvPr id="48" name="Freeform: Shape 47">
              <a:extLst>
                <a:ext uri="{FF2B5EF4-FFF2-40B4-BE49-F238E27FC236}">
                  <a16:creationId xmlns:a16="http://schemas.microsoft.com/office/drawing/2014/main" id="{BEF3206B-0A2E-681D-F1FD-BE389801D6E6}"/>
                </a:ext>
              </a:extLst>
            </p:cNvPr>
            <p:cNvSpPr/>
            <p:nvPr/>
          </p:nvSpPr>
          <p:spPr>
            <a:xfrm>
              <a:off x="446710" y="4386007"/>
              <a:ext cx="533400" cy="152400"/>
            </a:xfrm>
            <a:custGeom>
              <a:avLst/>
              <a:gdLst>
                <a:gd name="connsiteX0" fmla="*/ 533400 w 533400"/>
                <a:gd name="connsiteY0" fmla="*/ 76200 h 152400"/>
                <a:gd name="connsiteX1" fmla="*/ 266700 w 533400"/>
                <a:gd name="connsiteY1" fmla="*/ 152400 h 152400"/>
                <a:gd name="connsiteX2" fmla="*/ 0 w 533400"/>
                <a:gd name="connsiteY2" fmla="*/ 76200 h 152400"/>
                <a:gd name="connsiteX3" fmla="*/ 266700 w 533400"/>
                <a:gd name="connsiteY3" fmla="*/ 0 h 152400"/>
                <a:gd name="connsiteX4" fmla="*/ 533400 w 533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152400">
                  <a:moveTo>
                    <a:pt x="533400" y="76200"/>
                  </a:moveTo>
                  <a:cubicBezTo>
                    <a:pt x="533400" y="118284"/>
                    <a:pt x="413994" y="152400"/>
                    <a:pt x="266700" y="152400"/>
                  </a:cubicBezTo>
                  <a:cubicBezTo>
                    <a:pt x="119406" y="152400"/>
                    <a:pt x="0" y="118284"/>
                    <a:pt x="0" y="76200"/>
                  </a:cubicBezTo>
                  <a:cubicBezTo>
                    <a:pt x="0" y="34116"/>
                    <a:pt x="119406" y="0"/>
                    <a:pt x="266700" y="0"/>
                  </a:cubicBezTo>
                  <a:cubicBezTo>
                    <a:pt x="413994" y="0"/>
                    <a:pt x="533400" y="34116"/>
                    <a:pt x="533400" y="76200"/>
                  </a:cubicBezTo>
                  <a:close/>
                </a:path>
              </a:pathLst>
            </a:cu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algn="ctr" defTabSz="914367" fontAlgn="base">
                <a:spcBef>
                  <a:spcPct val="0"/>
                </a:spcBef>
                <a:spcAft>
                  <a:spcPts val="1200"/>
                </a:spcAft>
                <a:buSzPct val="90000"/>
              </a:pPr>
              <a:endParaRPr lang="en-US" sz="3200">
                <a:solidFill>
                  <a:srgbClr val="FFFFFF"/>
                </a:solidFill>
                <a:latin typeface="Segoe UI Semibold"/>
              </a:endParaRPr>
            </a:p>
          </p:txBody>
        </p:sp>
        <p:sp>
          <p:nvSpPr>
            <p:cNvPr id="49" name="Freeform: Shape 48">
              <a:extLst>
                <a:ext uri="{FF2B5EF4-FFF2-40B4-BE49-F238E27FC236}">
                  <a16:creationId xmlns:a16="http://schemas.microsoft.com/office/drawing/2014/main" id="{B4CBAF07-73FD-C255-83A7-1CDAE1EE96A0}"/>
                </a:ext>
              </a:extLst>
            </p:cNvPr>
            <p:cNvSpPr/>
            <p:nvPr/>
          </p:nvSpPr>
          <p:spPr>
            <a:xfrm>
              <a:off x="446710" y="4500307"/>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algn="ctr" defTabSz="914367" fontAlgn="base">
                <a:spcBef>
                  <a:spcPct val="0"/>
                </a:spcBef>
                <a:spcAft>
                  <a:spcPts val="1200"/>
                </a:spcAft>
                <a:buSzPct val="90000"/>
              </a:pPr>
              <a:endParaRPr lang="en-US" sz="3200">
                <a:solidFill>
                  <a:srgbClr val="FFFFFF"/>
                </a:solidFill>
                <a:latin typeface="Segoe UI Semibold"/>
              </a:endParaRPr>
            </a:p>
          </p:txBody>
        </p:sp>
        <p:sp>
          <p:nvSpPr>
            <p:cNvPr id="50" name="Freeform: Shape 49">
              <a:extLst>
                <a:ext uri="{FF2B5EF4-FFF2-40B4-BE49-F238E27FC236}">
                  <a16:creationId xmlns:a16="http://schemas.microsoft.com/office/drawing/2014/main" id="{8D49710E-DD86-BA37-6CAF-06DD72DAEAAC}"/>
                </a:ext>
              </a:extLst>
            </p:cNvPr>
            <p:cNvSpPr/>
            <p:nvPr/>
          </p:nvSpPr>
          <p:spPr>
            <a:xfrm>
              <a:off x="446710" y="4690807"/>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algn="ctr" defTabSz="914367" fontAlgn="base">
                <a:spcBef>
                  <a:spcPct val="0"/>
                </a:spcBef>
                <a:spcAft>
                  <a:spcPts val="1200"/>
                </a:spcAft>
                <a:buSzPct val="90000"/>
              </a:pPr>
              <a:endParaRPr lang="en-US" sz="3200">
                <a:solidFill>
                  <a:srgbClr val="FFFFFF"/>
                </a:solidFill>
                <a:latin typeface="Segoe UI Semibold"/>
              </a:endParaRPr>
            </a:p>
          </p:txBody>
        </p:sp>
        <p:sp>
          <p:nvSpPr>
            <p:cNvPr id="51" name="Freeform: Shape 50">
              <a:extLst>
                <a:ext uri="{FF2B5EF4-FFF2-40B4-BE49-F238E27FC236}">
                  <a16:creationId xmlns:a16="http://schemas.microsoft.com/office/drawing/2014/main" id="{A710AFA6-2193-D007-2C9E-D5EC1A7EF979}"/>
                </a:ext>
              </a:extLst>
            </p:cNvPr>
            <p:cNvSpPr/>
            <p:nvPr/>
          </p:nvSpPr>
          <p:spPr>
            <a:xfrm>
              <a:off x="446710" y="4881307"/>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algn="ctr" defTabSz="914367" fontAlgn="base">
                <a:spcBef>
                  <a:spcPct val="0"/>
                </a:spcBef>
                <a:spcAft>
                  <a:spcPts val="1200"/>
                </a:spcAft>
                <a:buSzPct val="90000"/>
              </a:pPr>
              <a:endParaRPr lang="en-US" sz="3200">
                <a:solidFill>
                  <a:srgbClr val="FFFFFF"/>
                </a:solidFill>
                <a:latin typeface="Segoe UI Semibold"/>
              </a:endParaRPr>
            </a:p>
          </p:txBody>
        </p:sp>
      </p:grpSp>
      <p:sp>
        <p:nvSpPr>
          <p:cNvPr id="54" name="Graphic 52" descr="Cloud with solid fill">
            <a:extLst>
              <a:ext uri="{FF2B5EF4-FFF2-40B4-BE49-F238E27FC236}">
                <a16:creationId xmlns:a16="http://schemas.microsoft.com/office/drawing/2014/main" id="{32429B0E-7AA0-9FD2-39EC-D1103E51FC8F}"/>
              </a:ext>
            </a:extLst>
          </p:cNvPr>
          <p:cNvSpPr/>
          <p:nvPr/>
        </p:nvSpPr>
        <p:spPr>
          <a:xfrm>
            <a:off x="9835410" y="4755441"/>
            <a:ext cx="667777" cy="438912"/>
          </a:xfrm>
          <a:custGeom>
            <a:avLst/>
            <a:gdLst>
              <a:gd name="connsiteX0" fmla="*/ 689427 w 802774"/>
              <a:gd name="connsiteY0" fmla="*/ 227507 h 457059"/>
              <a:gd name="connsiteX1" fmla="*/ 679902 w 802774"/>
              <a:gd name="connsiteY1" fmla="*/ 227507 h 457059"/>
              <a:gd name="connsiteX2" fmla="*/ 679902 w 802774"/>
              <a:gd name="connsiteY2" fmla="*/ 227507 h 457059"/>
              <a:gd name="connsiteX3" fmla="*/ 619895 w 802774"/>
              <a:gd name="connsiteY3" fmla="*/ 111302 h 457059"/>
              <a:gd name="connsiteX4" fmla="*/ 489403 w 802774"/>
              <a:gd name="connsiteY4" fmla="*/ 93204 h 457059"/>
              <a:gd name="connsiteX5" fmla="*/ 296998 w 802774"/>
              <a:gd name="connsiteY5" fmla="*/ 4622 h 457059"/>
              <a:gd name="connsiteX6" fmla="*/ 165552 w 802774"/>
              <a:gd name="connsiteY6" fmla="*/ 170357 h 457059"/>
              <a:gd name="connsiteX7" fmla="*/ 165552 w 802774"/>
              <a:gd name="connsiteY7" fmla="*/ 172262 h 457059"/>
              <a:gd name="connsiteX8" fmla="*/ 28392 w 802774"/>
              <a:gd name="connsiteY8" fmla="*/ 227507 h 457059"/>
              <a:gd name="connsiteX9" fmla="*/ 13152 w 802774"/>
              <a:gd name="connsiteY9" fmla="*/ 374192 h 457059"/>
              <a:gd name="connsiteX10" fmla="*/ 136025 w 802774"/>
              <a:gd name="connsiteY10" fmla="*/ 456107 h 457059"/>
              <a:gd name="connsiteX11" fmla="*/ 136025 w 802774"/>
              <a:gd name="connsiteY11" fmla="*/ 457059 h 457059"/>
              <a:gd name="connsiteX12" fmla="*/ 688475 w 802774"/>
              <a:gd name="connsiteY12" fmla="*/ 457059 h 457059"/>
              <a:gd name="connsiteX13" fmla="*/ 802775 w 802774"/>
              <a:gd name="connsiteY13" fmla="*/ 342759 h 457059"/>
              <a:gd name="connsiteX14" fmla="*/ 689427 w 802774"/>
              <a:gd name="connsiteY14" fmla="*/ 227507 h 457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2774" h="457059">
                <a:moveTo>
                  <a:pt x="689427" y="227507"/>
                </a:moveTo>
                <a:cubicBezTo>
                  <a:pt x="686570" y="227507"/>
                  <a:pt x="682760" y="227507"/>
                  <a:pt x="679902" y="227507"/>
                </a:cubicBezTo>
                <a:cubicBezTo>
                  <a:pt x="679902" y="227507"/>
                  <a:pt x="679902" y="227507"/>
                  <a:pt x="679902" y="227507"/>
                </a:cubicBezTo>
                <a:cubicBezTo>
                  <a:pt x="679902" y="180834"/>
                  <a:pt x="657043" y="137972"/>
                  <a:pt x="619895" y="111302"/>
                </a:cubicBezTo>
                <a:cubicBezTo>
                  <a:pt x="581795" y="84632"/>
                  <a:pt x="533218" y="77964"/>
                  <a:pt x="489403" y="93204"/>
                </a:cubicBezTo>
                <a:cubicBezTo>
                  <a:pt x="453208" y="22719"/>
                  <a:pt x="373198" y="-13476"/>
                  <a:pt x="296998" y="4622"/>
                </a:cubicBezTo>
                <a:cubicBezTo>
                  <a:pt x="220797" y="22719"/>
                  <a:pt x="165552" y="91299"/>
                  <a:pt x="165552" y="170357"/>
                </a:cubicBezTo>
                <a:cubicBezTo>
                  <a:pt x="165552" y="170357"/>
                  <a:pt x="165552" y="171309"/>
                  <a:pt x="165552" y="172262"/>
                </a:cubicBezTo>
                <a:cubicBezTo>
                  <a:pt x="113165" y="163689"/>
                  <a:pt x="60777" y="185597"/>
                  <a:pt x="28392" y="227507"/>
                </a:cubicBezTo>
                <a:cubicBezTo>
                  <a:pt x="-3040" y="270369"/>
                  <a:pt x="-8755" y="326567"/>
                  <a:pt x="13152" y="374192"/>
                </a:cubicBezTo>
                <a:cubicBezTo>
                  <a:pt x="36012" y="421817"/>
                  <a:pt x="83637" y="453249"/>
                  <a:pt x="136025" y="456107"/>
                </a:cubicBezTo>
                <a:lnTo>
                  <a:pt x="136025" y="457059"/>
                </a:lnTo>
                <a:lnTo>
                  <a:pt x="688475" y="457059"/>
                </a:lnTo>
                <a:cubicBezTo>
                  <a:pt x="751340" y="457059"/>
                  <a:pt x="802775" y="405624"/>
                  <a:pt x="802775" y="342759"/>
                </a:cubicBezTo>
                <a:cubicBezTo>
                  <a:pt x="802775" y="279894"/>
                  <a:pt x="752293" y="227507"/>
                  <a:pt x="689427" y="227507"/>
                </a:cubicBezTo>
                <a:close/>
              </a:path>
            </a:pathLst>
          </a:cu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ts val="1200"/>
              </a:spcAft>
              <a:buSzPct val="90000"/>
            </a:pPr>
            <a:endParaRPr lang="en-US" sz="3600">
              <a:solidFill>
                <a:srgbClr val="FFFFFF"/>
              </a:solidFill>
              <a:latin typeface="Segoe UI Semibold"/>
            </a:endParaRPr>
          </a:p>
        </p:txBody>
      </p:sp>
      <p:cxnSp>
        <p:nvCxnSpPr>
          <p:cNvPr id="4" name="Straight Connector 3">
            <a:extLst>
              <a:ext uri="{FF2B5EF4-FFF2-40B4-BE49-F238E27FC236}">
                <a16:creationId xmlns:a16="http://schemas.microsoft.com/office/drawing/2014/main" id="{8FF076B6-0E8F-1BF7-E1C6-910BA7EB2D37}"/>
              </a:ext>
            </a:extLst>
          </p:cNvPr>
          <p:cNvCxnSpPr/>
          <p:nvPr/>
        </p:nvCxnSpPr>
        <p:spPr>
          <a:xfrm>
            <a:off x="8912318" y="1474700"/>
            <a:ext cx="1554480" cy="0"/>
          </a:xfrm>
          <a:prstGeom prst="line">
            <a:avLst/>
          </a:prstGeom>
          <a:ln w="28575" cap="rnd">
            <a:gradFill flip="none" rotWithShape="1">
              <a:gsLst>
                <a:gs pos="0">
                  <a:srgbClr val="C03BC4"/>
                </a:gs>
                <a:gs pos="80000">
                  <a:srgbClr val="0078D4"/>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4900DF5-A430-0C39-A408-4B11E104DF64}"/>
              </a:ext>
            </a:extLst>
          </p:cNvPr>
          <p:cNvSpPr txBox="1"/>
          <p:nvPr/>
        </p:nvSpPr>
        <p:spPr>
          <a:xfrm>
            <a:off x="8852057" y="1119989"/>
            <a:ext cx="1675459" cy="369332"/>
          </a:xfrm>
          <a:prstGeom prst="rect">
            <a:avLst/>
          </a:prstGeom>
          <a:noFill/>
        </p:spPr>
        <p:txBody>
          <a:bodyPr wrap="none">
            <a:spAutoFit/>
          </a:bodyPr>
          <a:lstStyle/>
          <a:p>
            <a:r>
              <a:rPr lang="en-US" b="1">
                <a:gradFill>
                  <a:gsLst>
                    <a:gs pos="2000">
                      <a:srgbClr val="0179D4"/>
                    </a:gs>
                    <a:gs pos="32000">
                      <a:srgbClr val="2CB6FF"/>
                    </a:gs>
                    <a:gs pos="44000">
                      <a:srgbClr val="2DB6FF"/>
                    </a:gs>
                    <a:gs pos="81000">
                      <a:srgbClr val="D962FA"/>
                    </a:gs>
                    <a:gs pos="96000">
                      <a:srgbClr val="F69991"/>
                    </a:gs>
                  </a:gsLst>
                  <a:lin ang="3600000" scaled="0"/>
                </a:gradFill>
                <a:latin typeface="Segoe UI" panose="020B0502040204020203" pitchFamily="34" charset="0"/>
              </a:rPr>
              <a:t>and AI agents</a:t>
            </a:r>
            <a:endParaRPr lang="en-US"/>
          </a:p>
        </p:txBody>
      </p:sp>
    </p:spTree>
    <p:extLst>
      <p:ext uri="{BB962C8B-B14F-4D97-AF65-F5344CB8AC3E}">
        <p14:creationId xmlns:p14="http://schemas.microsoft.com/office/powerpoint/2010/main" val="745375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sez="http://schemas.microsoft.com/office/powerpoint/2016/sectionzoom">
        <mc:Choice Requires="psez">
          <p:graphicFrame>
            <p:nvGraphicFramePr>
              <p:cNvPr id="3" name="Section Zoom 2">
                <a:extLst>
                  <a:ext uri="{FF2B5EF4-FFF2-40B4-BE49-F238E27FC236}">
                    <a16:creationId xmlns:a16="http://schemas.microsoft.com/office/drawing/2014/main" id="{31DCF3A1-5261-1B41-1F26-EFCA7902915A}"/>
                  </a:ext>
                </a:extLst>
              </p:cNvPr>
              <p:cNvGraphicFramePr>
                <a:graphicFrameLocks noChangeAspect="1"/>
              </p:cNvGraphicFramePr>
              <p:nvPr>
                <p:extLst>
                  <p:ext uri="{D42A27DB-BD31-4B8C-83A1-F6EECF244321}">
                    <p14:modId xmlns:p14="http://schemas.microsoft.com/office/powerpoint/2010/main" val="3100620713"/>
                  </p:ext>
                </p:extLst>
              </p:nvPr>
            </p:nvGraphicFramePr>
            <p:xfrm>
              <a:off x="849884" y="322326"/>
              <a:ext cx="4470400" cy="2514600"/>
            </p:xfrm>
            <a:graphic>
              <a:graphicData uri="http://schemas.microsoft.com/office/powerpoint/2016/sectionzoom">
                <psez:sectionZm>
                  <psez:sectionZmObj sectionId="{ED7FAC09-E054-461E-85A5-FB9A4292B8D3}">
                    <psez:zmPr id="{7C6398AE-8C24-4935-AB2F-B3A8188E5488}" transitionDur="1000">
                      <p166:blipFill xmlns:p166="http://schemas.microsoft.com/office/powerpoint/2016/6/main">
                        <a:blip r:embed="rId2"/>
                        <a:stretch>
                          <a:fillRect/>
                        </a:stretch>
                      </p166:blipFill>
                      <p166:spPr xmlns:p166="http://schemas.microsoft.com/office/powerpoint/2016/6/main">
                        <a:xfrm>
                          <a:off x="0" y="0"/>
                          <a:ext cx="4470400" cy="2514600"/>
                        </a:xfrm>
                        <a:prstGeom prst="rect">
                          <a:avLst/>
                        </a:prstGeom>
                        <a:ln w="3175">
                          <a:solidFill>
                            <a:prstClr val="ltGray"/>
                          </a:solidFill>
                        </a:ln>
                      </p166:spPr>
                    </psez:zmPr>
                  </psez:sectionZmObj>
                </psez:sectionZm>
              </a:graphicData>
            </a:graphic>
          </p:graphicFrame>
        </mc:Choice>
        <mc:Fallback xmlns="">
          <p:pic>
            <p:nvPicPr>
              <p:cNvPr id="3" name="Section Zoom 2">
                <a:hlinkClick r:id="rId3" action="ppaction://hlinksldjump"/>
                <a:extLst>
                  <a:ext uri="{FF2B5EF4-FFF2-40B4-BE49-F238E27FC236}">
                    <a16:creationId xmlns:a16="http://schemas.microsoft.com/office/drawing/2014/main" id="{31DCF3A1-5261-1B41-1F26-EFCA7902915A}"/>
                  </a:ext>
                </a:extLst>
              </p:cNvPr>
              <p:cNvPicPr>
                <a:picLocks noGrp="1" noRot="1" noChangeAspect="1" noMove="1" noResize="1" noEditPoints="1" noAdjustHandles="1" noChangeArrowheads="1" noChangeShapeType="1"/>
              </p:cNvPicPr>
              <p:nvPr/>
            </p:nvPicPr>
            <p:blipFill>
              <a:blip r:embed="rId4"/>
              <a:stretch>
                <a:fillRect/>
              </a:stretch>
            </p:blipFill>
            <p:spPr>
              <a:xfrm>
                <a:off x="849884" y="322326"/>
                <a:ext cx="4470400" cy="2514600"/>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5" name="Section Zoom 4">
                <a:extLst>
                  <a:ext uri="{FF2B5EF4-FFF2-40B4-BE49-F238E27FC236}">
                    <a16:creationId xmlns:a16="http://schemas.microsoft.com/office/drawing/2014/main" id="{97B8FDF5-5BEA-E805-A72D-D0B3FA1F2D97}"/>
                  </a:ext>
                </a:extLst>
              </p:cNvPr>
              <p:cNvGraphicFramePr>
                <a:graphicFrameLocks noChangeAspect="1"/>
              </p:cNvGraphicFramePr>
              <p:nvPr>
                <p:extLst>
                  <p:ext uri="{D42A27DB-BD31-4B8C-83A1-F6EECF244321}">
                    <p14:modId xmlns:p14="http://schemas.microsoft.com/office/powerpoint/2010/main" val="1618153977"/>
                  </p:ext>
                </p:extLst>
              </p:nvPr>
            </p:nvGraphicFramePr>
            <p:xfrm>
              <a:off x="849884" y="3679698"/>
              <a:ext cx="4470400" cy="2514600"/>
            </p:xfrm>
            <a:graphic>
              <a:graphicData uri="http://schemas.microsoft.com/office/powerpoint/2016/sectionzoom">
                <psez:sectionZm>
                  <psez:sectionZmObj sectionId="{DBDF2655-97A6-4EA0-A045-2A1ABB14D06B}">
                    <psez:zmPr id="{C8FC753C-5968-421E-9EEF-36A5889E984D}" transitionDur="1000">
                      <p166:blipFill xmlns:p166="http://schemas.microsoft.com/office/powerpoint/2016/6/main">
                        <a:blip r:embed="rId5"/>
                        <a:stretch>
                          <a:fillRect/>
                        </a:stretch>
                      </p166:blipFill>
                      <p166:spPr xmlns:p166="http://schemas.microsoft.com/office/powerpoint/2016/6/main">
                        <a:xfrm>
                          <a:off x="0" y="0"/>
                          <a:ext cx="4470400" cy="2514600"/>
                        </a:xfrm>
                        <a:prstGeom prst="rect">
                          <a:avLst/>
                        </a:prstGeom>
                        <a:ln w="3175">
                          <a:solidFill>
                            <a:prstClr val="ltGray"/>
                          </a:solidFill>
                        </a:ln>
                      </p166:spPr>
                    </psez:zmPr>
                  </psez:sectionZmObj>
                </psez:sectionZm>
              </a:graphicData>
            </a:graphic>
          </p:graphicFrame>
        </mc:Choice>
        <mc:Fallback xmlns="">
          <p:pic>
            <p:nvPicPr>
              <p:cNvPr id="5" name="Section Zoom 4">
                <a:hlinkClick r:id="rId6" action="ppaction://hlinksldjump"/>
                <a:extLst>
                  <a:ext uri="{FF2B5EF4-FFF2-40B4-BE49-F238E27FC236}">
                    <a16:creationId xmlns:a16="http://schemas.microsoft.com/office/drawing/2014/main" id="{97B8FDF5-5BEA-E805-A72D-D0B3FA1F2D97}"/>
                  </a:ext>
                </a:extLst>
              </p:cNvPr>
              <p:cNvPicPr>
                <a:picLocks noGrp="1" noRot="1" noChangeAspect="1" noMove="1" noResize="1" noEditPoints="1" noAdjustHandles="1" noChangeArrowheads="1" noChangeShapeType="1"/>
              </p:cNvPicPr>
              <p:nvPr/>
            </p:nvPicPr>
            <p:blipFill>
              <a:blip r:embed="rId7"/>
              <a:stretch>
                <a:fillRect/>
              </a:stretch>
            </p:blipFill>
            <p:spPr>
              <a:xfrm>
                <a:off x="849884" y="3679698"/>
                <a:ext cx="4470400" cy="2514600"/>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7" name="Section Zoom 6">
                <a:extLst>
                  <a:ext uri="{FF2B5EF4-FFF2-40B4-BE49-F238E27FC236}">
                    <a16:creationId xmlns:a16="http://schemas.microsoft.com/office/drawing/2014/main" id="{21C61FCC-EA56-9285-3DEE-EC8119AD69FC}"/>
                  </a:ext>
                </a:extLst>
              </p:cNvPr>
              <p:cNvGraphicFramePr>
                <a:graphicFrameLocks noChangeAspect="1"/>
              </p:cNvGraphicFramePr>
              <p:nvPr>
                <p:extLst>
                  <p:ext uri="{D42A27DB-BD31-4B8C-83A1-F6EECF244321}">
                    <p14:modId xmlns:p14="http://schemas.microsoft.com/office/powerpoint/2010/main" val="3646205808"/>
                  </p:ext>
                </p:extLst>
              </p:nvPr>
            </p:nvGraphicFramePr>
            <p:xfrm>
              <a:off x="6871716" y="322326"/>
              <a:ext cx="4470400" cy="2514600"/>
            </p:xfrm>
            <a:graphic>
              <a:graphicData uri="http://schemas.microsoft.com/office/powerpoint/2016/sectionzoom">
                <psez:sectionZm>
                  <psez:sectionZmObj sectionId="{C343E9D7-D45D-465A-95A5-FCD1C571341A}">
                    <psez:zmPr id="{736C1BF8-F04A-4BA5-AD70-45D6B252F9A3}" transitionDur="1000">
                      <p166:blipFill xmlns:p166="http://schemas.microsoft.com/office/powerpoint/2016/6/main">
                        <a:blip r:embed="rId8"/>
                        <a:stretch>
                          <a:fillRect/>
                        </a:stretch>
                      </p166:blipFill>
                      <p166:spPr xmlns:p166="http://schemas.microsoft.com/office/powerpoint/2016/6/main">
                        <a:xfrm>
                          <a:off x="0" y="0"/>
                          <a:ext cx="4470400" cy="2514600"/>
                        </a:xfrm>
                        <a:prstGeom prst="rect">
                          <a:avLst/>
                        </a:prstGeom>
                        <a:ln w="3175">
                          <a:solidFill>
                            <a:prstClr val="ltGray"/>
                          </a:solidFill>
                        </a:ln>
                      </p166:spPr>
                    </psez:zmPr>
                  </psez:sectionZmObj>
                </psez:sectionZm>
              </a:graphicData>
            </a:graphic>
          </p:graphicFrame>
        </mc:Choice>
        <mc:Fallback xmlns="">
          <p:pic>
            <p:nvPicPr>
              <p:cNvPr id="7" name="Section Zoom 6">
                <a:hlinkClick r:id="rId9" action="ppaction://hlinksldjump"/>
                <a:extLst>
                  <a:ext uri="{FF2B5EF4-FFF2-40B4-BE49-F238E27FC236}">
                    <a16:creationId xmlns:a16="http://schemas.microsoft.com/office/drawing/2014/main" id="{21C61FCC-EA56-9285-3DEE-EC8119AD69FC}"/>
                  </a:ext>
                </a:extLst>
              </p:cNvPr>
              <p:cNvPicPr>
                <a:picLocks noGrp="1" noRot="1" noChangeAspect="1" noMove="1" noResize="1" noEditPoints="1" noAdjustHandles="1" noChangeArrowheads="1" noChangeShapeType="1"/>
              </p:cNvPicPr>
              <p:nvPr/>
            </p:nvPicPr>
            <p:blipFill>
              <a:blip r:embed="rId10"/>
              <a:stretch>
                <a:fillRect/>
              </a:stretch>
            </p:blipFill>
            <p:spPr>
              <a:xfrm>
                <a:off x="6871716" y="322326"/>
                <a:ext cx="4470400" cy="2514600"/>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9" name="Section Zoom 8">
                <a:extLst>
                  <a:ext uri="{FF2B5EF4-FFF2-40B4-BE49-F238E27FC236}">
                    <a16:creationId xmlns:a16="http://schemas.microsoft.com/office/drawing/2014/main" id="{DFE5EDD1-789B-F274-6E82-F88EC82EFC0D}"/>
                  </a:ext>
                </a:extLst>
              </p:cNvPr>
              <p:cNvGraphicFramePr>
                <a:graphicFrameLocks noChangeAspect="1"/>
              </p:cNvGraphicFramePr>
              <p:nvPr>
                <p:extLst>
                  <p:ext uri="{D42A27DB-BD31-4B8C-83A1-F6EECF244321}">
                    <p14:modId xmlns:p14="http://schemas.microsoft.com/office/powerpoint/2010/main" val="245942655"/>
                  </p:ext>
                </p:extLst>
              </p:nvPr>
            </p:nvGraphicFramePr>
            <p:xfrm>
              <a:off x="6871716" y="3679698"/>
              <a:ext cx="4470400" cy="2514600"/>
            </p:xfrm>
            <a:graphic>
              <a:graphicData uri="http://schemas.microsoft.com/office/powerpoint/2016/sectionzoom">
                <psez:sectionZm>
                  <psez:sectionZmObj sectionId="{B7725E6D-28F0-47AE-9828-7CBDF4515C38}">
                    <psez:zmPr id="{59059AB8-D83E-4A1F-A712-4A36FD8D26A7}" transitionDur="1000">
                      <p166:blipFill xmlns:p166="http://schemas.microsoft.com/office/powerpoint/2016/6/main">
                        <a:blip r:embed="rId11"/>
                        <a:stretch>
                          <a:fillRect/>
                        </a:stretch>
                      </p166:blipFill>
                      <p166:spPr xmlns:p166="http://schemas.microsoft.com/office/powerpoint/2016/6/main">
                        <a:xfrm>
                          <a:off x="0" y="0"/>
                          <a:ext cx="4470400" cy="2514600"/>
                        </a:xfrm>
                        <a:prstGeom prst="rect">
                          <a:avLst/>
                        </a:prstGeom>
                        <a:ln w="3175">
                          <a:solidFill>
                            <a:prstClr val="ltGray"/>
                          </a:solidFill>
                        </a:ln>
                      </p166:spPr>
                    </psez:zmPr>
                  </psez:sectionZmObj>
                </psez:sectionZm>
              </a:graphicData>
            </a:graphic>
          </p:graphicFrame>
        </mc:Choice>
        <mc:Fallback xmlns="">
          <p:pic>
            <p:nvPicPr>
              <p:cNvPr id="9" name="Section Zoom 8">
                <a:hlinkClick r:id="rId12" action="ppaction://hlinksldjump"/>
                <a:extLst>
                  <a:ext uri="{FF2B5EF4-FFF2-40B4-BE49-F238E27FC236}">
                    <a16:creationId xmlns:a16="http://schemas.microsoft.com/office/drawing/2014/main" id="{DFE5EDD1-789B-F274-6E82-F88EC82EFC0D}"/>
                  </a:ext>
                </a:extLst>
              </p:cNvPr>
              <p:cNvPicPr>
                <a:picLocks noGrp="1" noRot="1" noChangeAspect="1" noMove="1" noResize="1" noEditPoints="1" noAdjustHandles="1" noChangeArrowheads="1" noChangeShapeType="1"/>
              </p:cNvPicPr>
              <p:nvPr/>
            </p:nvPicPr>
            <p:blipFill>
              <a:blip r:embed="rId13"/>
              <a:stretch>
                <a:fillRect/>
              </a:stretch>
            </p:blipFill>
            <p:spPr>
              <a:xfrm>
                <a:off x="6871716" y="3679698"/>
                <a:ext cx="4470400" cy="2514600"/>
              </a:xfrm>
              <a:prstGeom prst="rect">
                <a:avLst/>
              </a:prstGeom>
              <a:ln w="3175">
                <a:solidFill>
                  <a:prstClr val="ltGray"/>
                </a:solidFill>
              </a:ln>
            </p:spPr>
          </p:pic>
        </mc:Fallback>
      </mc:AlternateContent>
    </p:spTree>
    <p:extLst>
      <p:ext uri="{BB962C8B-B14F-4D97-AF65-F5344CB8AC3E}">
        <p14:creationId xmlns:p14="http://schemas.microsoft.com/office/powerpoint/2010/main" val="288483561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62F4688-53D0-5D4A-72E2-EC07B53D1DB8}"/>
              </a:ext>
            </a:extLst>
          </p:cNvPr>
          <p:cNvSpPr txBox="1"/>
          <p:nvPr/>
        </p:nvSpPr>
        <p:spPr>
          <a:xfrm>
            <a:off x="2832222" y="2705725"/>
            <a:ext cx="6527556" cy="1446550"/>
          </a:xfrm>
          <a:prstGeom prst="rect">
            <a:avLst/>
          </a:prstGeom>
          <a:noFill/>
        </p:spPr>
        <p:txBody>
          <a:bodyPr wrap="none" rtlCol="0">
            <a:spAutoFit/>
          </a:bodyPr>
          <a:lstStyle/>
          <a:p>
            <a:r>
              <a:rPr lang="en-US" sz="8800" b="1"/>
              <a:t>Maker demo</a:t>
            </a:r>
          </a:p>
        </p:txBody>
      </p:sp>
    </p:spTree>
    <p:extLst>
      <p:ext uri="{BB962C8B-B14F-4D97-AF65-F5344CB8AC3E}">
        <p14:creationId xmlns:p14="http://schemas.microsoft.com/office/powerpoint/2010/main" val="10680607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225D5-7287-D269-988F-5EC658D8F417}"/>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821B9A5F-AD42-84AE-D594-AFDB108D8CA5}"/>
              </a:ext>
            </a:extLst>
          </p:cNvPr>
          <p:cNvPicPr>
            <a:picLocks noChangeAspect="1"/>
          </p:cNvPicPr>
          <p:nvPr/>
        </p:nvPicPr>
        <p:blipFill>
          <a:blip r:embed="rId3"/>
          <a:stretch>
            <a:fillRect/>
          </a:stretch>
        </p:blipFill>
        <p:spPr>
          <a:xfrm>
            <a:off x="0" y="1390"/>
            <a:ext cx="12192000" cy="6855220"/>
          </a:xfrm>
          <a:prstGeom prst="rect">
            <a:avLst/>
          </a:prstGeom>
        </p:spPr>
      </p:pic>
      <p:sp>
        <p:nvSpPr>
          <p:cNvPr id="6" name="Rectangle: Rounded Corners 5">
            <a:extLst>
              <a:ext uri="{FF2B5EF4-FFF2-40B4-BE49-F238E27FC236}">
                <a16:creationId xmlns:a16="http://schemas.microsoft.com/office/drawing/2014/main" id="{CA87062F-2D45-44CC-DD8D-90EEC5493FA1}"/>
              </a:ext>
            </a:extLst>
          </p:cNvPr>
          <p:cNvSpPr/>
          <p:nvPr/>
        </p:nvSpPr>
        <p:spPr bwMode="auto">
          <a:xfrm>
            <a:off x="461850" y="319778"/>
            <a:ext cx="1739090" cy="408552"/>
          </a:xfrm>
          <a:prstGeom prst="roundRect">
            <a:avLst>
              <a:gd name="adj" fmla="val 2909"/>
            </a:avLst>
          </a:prstGeom>
          <a:noFill/>
          <a:ln w="28575">
            <a:gradFill>
              <a:gsLst>
                <a:gs pos="1000">
                  <a:srgbClr val="7D7ED5"/>
                </a:gs>
                <a:gs pos="88000">
                  <a:srgbClr val="BF65CD"/>
                </a:gs>
                <a:gs pos="16000">
                  <a:srgbClr val="3B96DD"/>
                </a:gs>
                <a:gs pos="69000">
                  <a:srgbClr val="5671ED"/>
                </a:gs>
                <a:gs pos="100000">
                  <a:srgbClr val="906EBD"/>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7" name="Rectangle: Rounded Corners 6">
            <a:extLst>
              <a:ext uri="{FF2B5EF4-FFF2-40B4-BE49-F238E27FC236}">
                <a16:creationId xmlns:a16="http://schemas.microsoft.com/office/drawing/2014/main" id="{8763C975-3662-4EEB-5F93-2EBF645E784A}"/>
              </a:ext>
            </a:extLst>
          </p:cNvPr>
          <p:cNvSpPr/>
          <p:nvPr/>
        </p:nvSpPr>
        <p:spPr bwMode="auto">
          <a:xfrm>
            <a:off x="10770781" y="319778"/>
            <a:ext cx="653904" cy="355389"/>
          </a:xfrm>
          <a:prstGeom prst="roundRect">
            <a:avLst>
              <a:gd name="adj" fmla="val 2909"/>
            </a:avLst>
          </a:prstGeom>
          <a:noFill/>
          <a:ln w="28575">
            <a:gradFill>
              <a:gsLst>
                <a:gs pos="1000">
                  <a:srgbClr val="7D7ED5"/>
                </a:gs>
                <a:gs pos="88000">
                  <a:srgbClr val="BF65CD"/>
                </a:gs>
                <a:gs pos="16000">
                  <a:srgbClr val="3B96DD"/>
                </a:gs>
                <a:gs pos="69000">
                  <a:srgbClr val="5671ED"/>
                </a:gs>
                <a:gs pos="100000">
                  <a:srgbClr val="906EBD"/>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44DB6B10-7E0C-4563-A159-24E284B7897F}"/>
              </a:ext>
            </a:extLst>
          </p:cNvPr>
          <p:cNvSpPr/>
          <p:nvPr/>
        </p:nvSpPr>
        <p:spPr bwMode="auto">
          <a:xfrm>
            <a:off x="3349036" y="5448779"/>
            <a:ext cx="5811148" cy="1243334"/>
          </a:xfrm>
          <a:prstGeom prst="roundRect">
            <a:avLst>
              <a:gd name="adj" fmla="val 2909"/>
            </a:avLst>
          </a:prstGeom>
          <a:noFill/>
          <a:ln w="28575">
            <a:gradFill>
              <a:gsLst>
                <a:gs pos="1000">
                  <a:srgbClr val="7D7ED5"/>
                </a:gs>
                <a:gs pos="88000">
                  <a:srgbClr val="BF65CD"/>
                </a:gs>
                <a:gs pos="16000">
                  <a:srgbClr val="3B96DD"/>
                </a:gs>
                <a:gs pos="69000">
                  <a:srgbClr val="5671ED"/>
                </a:gs>
                <a:gs pos="100000">
                  <a:srgbClr val="906EBD"/>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40707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Whova mobile app logo">
            <a:extLst>
              <a:ext uri="{FF2B5EF4-FFF2-40B4-BE49-F238E27FC236}">
                <a16:creationId xmlns:a16="http://schemas.microsoft.com/office/drawing/2014/main" id="{931740CA-3FA7-198D-6774-6EF2CBF29F0C}"/>
              </a:ext>
            </a:extLst>
          </p:cNvPr>
          <p:cNvPicPr>
            <a:picLocks noChangeAspect="1"/>
          </p:cNvPicPr>
          <p:nvPr/>
        </p:nvPicPr>
        <p:blipFill>
          <a:blip r:embed="rId2"/>
          <a:stretch>
            <a:fillRect/>
          </a:stretch>
        </p:blipFill>
        <p:spPr>
          <a:xfrm>
            <a:off x="1492628" y="313083"/>
            <a:ext cx="2377437" cy="800099"/>
          </a:xfrm>
          <a:prstGeom prst="rect">
            <a:avLst/>
          </a:prstGeom>
        </p:spPr>
      </p:pic>
      <p:sp>
        <p:nvSpPr>
          <p:cNvPr id="8" name="TextBox 7">
            <a:extLst>
              <a:ext uri="{FF2B5EF4-FFF2-40B4-BE49-F238E27FC236}">
                <a16:creationId xmlns:a16="http://schemas.microsoft.com/office/drawing/2014/main" id="{3621A9B1-5D1E-8EDA-B18E-C71ACCC8B10D}"/>
              </a:ext>
            </a:extLst>
          </p:cNvPr>
          <p:cNvSpPr txBox="1"/>
          <p:nvPr/>
        </p:nvSpPr>
        <p:spPr>
          <a:xfrm>
            <a:off x="4664568" y="713132"/>
            <a:ext cx="5857875" cy="830997"/>
          </a:xfrm>
          <a:prstGeom prst="rect">
            <a:avLst/>
          </a:prstGeom>
          <a:noFill/>
        </p:spPr>
        <p:txBody>
          <a:bodyPr wrap="square" rtlCol="0">
            <a:spAutoFit/>
          </a:bodyPr>
          <a:lstStyle/>
          <a:p>
            <a:r>
              <a:rPr lang="en-US" sz="2400">
                <a:latin typeface="Segoe UI" panose="020B0502040204020203" pitchFamily="34" charset="0"/>
                <a:cs typeface="Segoe UI" panose="020B0502040204020203" pitchFamily="34" charset="0"/>
              </a:rPr>
              <a:t>The official event app for the </a:t>
            </a:r>
          </a:p>
          <a:p>
            <a:r>
              <a:rPr lang="en-US" sz="2400" b="1">
                <a:solidFill>
                  <a:srgbClr val="091F2C"/>
                </a:solidFill>
                <a:latin typeface="Segoe UI" panose="020B0502040204020203" pitchFamily="34" charset="0"/>
                <a:cs typeface="Segoe UI" panose="020B0502040204020203" pitchFamily="34" charset="0"/>
              </a:rPr>
              <a:t>Microsoft 365 Community Conference</a:t>
            </a:r>
          </a:p>
        </p:txBody>
      </p:sp>
      <p:pic>
        <p:nvPicPr>
          <p:cNvPr id="4" name="Picture 3" descr="Image of a mobile phone with a QR code to access the Whova mobile app. ">
            <a:extLst>
              <a:ext uri="{FF2B5EF4-FFF2-40B4-BE49-F238E27FC236}">
                <a16:creationId xmlns:a16="http://schemas.microsoft.com/office/drawing/2014/main" id="{2F175549-C4A3-D386-F9D1-3945F2E3AE9D}"/>
              </a:ext>
            </a:extLst>
          </p:cNvPr>
          <p:cNvPicPr>
            <a:picLocks noChangeAspect="1"/>
          </p:cNvPicPr>
          <p:nvPr/>
        </p:nvPicPr>
        <p:blipFill>
          <a:blip r:embed="rId3"/>
          <a:srcRect l="13443" t="3322" r="8439" b="1626"/>
          <a:stretch/>
        </p:blipFill>
        <p:spPr>
          <a:xfrm>
            <a:off x="1421364" y="1327404"/>
            <a:ext cx="2519967" cy="5217513"/>
          </a:xfrm>
          <a:prstGeom prst="roundRect">
            <a:avLst/>
          </a:prstGeom>
          <a:effectLst>
            <a:outerShdw blurRad="50800" dist="38100" dir="2700000" algn="tl" rotWithShape="0">
              <a:prstClr val="black">
                <a:alpha val="40000"/>
              </a:prstClr>
            </a:outerShdw>
          </a:effectLst>
        </p:spPr>
      </p:pic>
      <p:sp>
        <p:nvSpPr>
          <p:cNvPr id="12" name="Rectangle 11">
            <a:extLst>
              <a:ext uri="{FF2B5EF4-FFF2-40B4-BE49-F238E27FC236}">
                <a16:creationId xmlns:a16="http://schemas.microsoft.com/office/drawing/2014/main" id="{A3B93281-4B28-3D3B-28E9-492E065C17A1}"/>
              </a:ext>
            </a:extLst>
          </p:cNvPr>
          <p:cNvSpPr/>
          <p:nvPr/>
        </p:nvSpPr>
        <p:spPr>
          <a:xfrm>
            <a:off x="4794401" y="1648880"/>
            <a:ext cx="5477129" cy="546265"/>
          </a:xfrm>
          <a:prstGeom prst="rect">
            <a:avLst/>
          </a:prstGeom>
          <a:solidFill>
            <a:srgbClr val="091F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ln w="3175">
                  <a:noFill/>
                </a:ln>
                <a:solidFill>
                  <a:schemeClr val="bg1"/>
                </a:solidFill>
              </a:rPr>
              <a:t>Event invitation code: NextGen2025</a:t>
            </a:r>
          </a:p>
        </p:txBody>
      </p:sp>
      <p:sp>
        <p:nvSpPr>
          <p:cNvPr id="13" name="Title 12">
            <a:extLst>
              <a:ext uri="{FF2B5EF4-FFF2-40B4-BE49-F238E27FC236}">
                <a16:creationId xmlns:a16="http://schemas.microsoft.com/office/drawing/2014/main" id="{2420C10F-0FBD-0FA6-FD4F-18D769F87D12}"/>
              </a:ext>
            </a:extLst>
          </p:cNvPr>
          <p:cNvSpPr txBox="1">
            <a:spLocks noGrp="1"/>
          </p:cNvSpPr>
          <p:nvPr>
            <p:ph type="title" idx="4294967295"/>
          </p:nvPr>
        </p:nvSpPr>
        <p:spPr>
          <a:xfrm>
            <a:off x="4794401" y="2748350"/>
            <a:ext cx="4362450" cy="4619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tx1"/>
                </a:solidFill>
                <a:effectLst/>
                <a:uLnTx/>
                <a:uFillTx/>
                <a:latin typeface="+mn-lt"/>
                <a:ea typeface="+mn-ea"/>
                <a:cs typeface="+mn-cs"/>
              </a:rPr>
              <a:t>Join the event app to access:</a:t>
            </a:r>
          </a:p>
        </p:txBody>
      </p:sp>
      <p:sp>
        <p:nvSpPr>
          <p:cNvPr id="2" name="TextBox 1" descr="Bulleted list of app benefits:&#10;Event announcements&#10;Personalized agenda, session details&#10;Speaker &amp; attendee profiles&#10;Networking, meet-ups, messages&#10;Event documents&#10;">
            <a:extLst>
              <a:ext uri="{FF2B5EF4-FFF2-40B4-BE49-F238E27FC236}">
                <a16:creationId xmlns:a16="http://schemas.microsoft.com/office/drawing/2014/main" id="{9E8AD8A4-944E-D852-3CF7-4EF974142FA0}"/>
              </a:ext>
            </a:extLst>
          </p:cNvPr>
          <p:cNvSpPr txBox="1"/>
          <p:nvPr/>
        </p:nvSpPr>
        <p:spPr>
          <a:xfrm>
            <a:off x="4794401" y="3399366"/>
            <a:ext cx="5548277" cy="2701189"/>
          </a:xfrm>
          <a:prstGeom prst="rect">
            <a:avLst/>
          </a:prstGeom>
          <a:noFill/>
        </p:spPr>
        <p:txBody>
          <a:bodyPr wrap="square" lIns="0" tIns="0" rIns="0" bIns="0" rtlCol="0">
            <a:spAutoFit/>
          </a:bodyPr>
          <a:lstStyle/>
          <a:p>
            <a:pPr marL="342900" indent="-342900" algn="l">
              <a:lnSpc>
                <a:spcPct val="150000"/>
              </a:lnSpc>
              <a:buFont typeface="Wingdings" panose="05000000000000000000" pitchFamily="2" charset="2"/>
              <a:buChar char=""/>
            </a:pPr>
            <a:r>
              <a:rPr lang="en-US" sz="2400"/>
              <a:t>Event announcements</a:t>
            </a:r>
          </a:p>
          <a:p>
            <a:pPr marL="342900" indent="-342900" algn="l">
              <a:lnSpc>
                <a:spcPct val="150000"/>
              </a:lnSpc>
              <a:buFont typeface="Wingdings" panose="05000000000000000000" pitchFamily="2" charset="2"/>
              <a:buChar char=""/>
            </a:pPr>
            <a:r>
              <a:rPr lang="en-US" sz="2400"/>
              <a:t>Personalized agenda, session details</a:t>
            </a:r>
          </a:p>
          <a:p>
            <a:pPr marL="342900" indent="-342900" algn="l">
              <a:lnSpc>
                <a:spcPct val="150000"/>
              </a:lnSpc>
              <a:buFont typeface="Wingdings" panose="05000000000000000000" pitchFamily="2" charset="2"/>
              <a:buChar char=""/>
            </a:pPr>
            <a:r>
              <a:rPr lang="en-US" sz="2400"/>
              <a:t>Speaker &amp; attendee profiles</a:t>
            </a:r>
          </a:p>
          <a:p>
            <a:pPr marL="342900" indent="-342900" algn="l">
              <a:lnSpc>
                <a:spcPct val="150000"/>
              </a:lnSpc>
              <a:buFont typeface="Wingdings" panose="05000000000000000000" pitchFamily="2" charset="2"/>
              <a:buChar char=""/>
            </a:pPr>
            <a:r>
              <a:rPr lang="en-US" sz="2400"/>
              <a:t>Networking, meet-ups, messages</a:t>
            </a:r>
          </a:p>
          <a:p>
            <a:pPr marL="342900" indent="-342900" algn="l">
              <a:lnSpc>
                <a:spcPct val="150000"/>
              </a:lnSpc>
              <a:buFont typeface="Wingdings" panose="05000000000000000000" pitchFamily="2" charset="2"/>
              <a:buChar char=""/>
            </a:pPr>
            <a:r>
              <a:rPr lang="en-US" sz="2400"/>
              <a:t>Event documents</a:t>
            </a:r>
          </a:p>
        </p:txBody>
      </p:sp>
      <p:pic>
        <p:nvPicPr>
          <p:cNvPr id="3" name="Graphic 2">
            <a:extLst>
              <a:ext uri="{FF2B5EF4-FFF2-40B4-BE49-F238E27FC236}">
                <a16:creationId xmlns:a16="http://schemas.microsoft.com/office/drawing/2014/main" id="{B767033D-AD96-05F2-66FC-BCD4DD40B8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901373" y="-1176361"/>
            <a:ext cx="3162870" cy="561826"/>
          </a:xfrm>
          <a:prstGeom prst="rect">
            <a:avLst/>
          </a:prstGeom>
        </p:spPr>
      </p:pic>
    </p:spTree>
    <p:extLst>
      <p:ext uri="{BB962C8B-B14F-4D97-AF65-F5344CB8AC3E}">
        <p14:creationId xmlns:p14="http://schemas.microsoft.com/office/powerpoint/2010/main" val="14141531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C1CD455-40FA-9EDC-F2A0-D7F91FC0A872}"/>
              </a:ext>
            </a:extLst>
          </p:cNvPr>
          <p:cNvPicPr>
            <a:picLocks noChangeAspect="1"/>
          </p:cNvPicPr>
          <p:nvPr/>
        </p:nvPicPr>
        <p:blipFill>
          <a:blip r:embed="rId3"/>
          <a:stretch>
            <a:fillRect/>
          </a:stretch>
        </p:blipFill>
        <p:spPr>
          <a:xfrm>
            <a:off x="0" y="1390"/>
            <a:ext cx="12192000" cy="6855220"/>
          </a:xfrm>
          <a:prstGeom prst="rect">
            <a:avLst/>
          </a:prstGeom>
        </p:spPr>
      </p:pic>
      <p:sp>
        <p:nvSpPr>
          <p:cNvPr id="4" name="Rectangle: Rounded Corners 3">
            <a:extLst>
              <a:ext uri="{FF2B5EF4-FFF2-40B4-BE49-F238E27FC236}">
                <a16:creationId xmlns:a16="http://schemas.microsoft.com/office/drawing/2014/main" id="{D8317143-771F-330E-B11F-0312E8A416E6}"/>
              </a:ext>
            </a:extLst>
          </p:cNvPr>
          <p:cNvSpPr/>
          <p:nvPr/>
        </p:nvSpPr>
        <p:spPr bwMode="auto">
          <a:xfrm>
            <a:off x="3874901" y="2175159"/>
            <a:ext cx="6311089" cy="408552"/>
          </a:xfrm>
          <a:prstGeom prst="roundRect">
            <a:avLst>
              <a:gd name="adj" fmla="val 2909"/>
            </a:avLst>
          </a:prstGeom>
          <a:noFill/>
          <a:ln w="28575">
            <a:gradFill>
              <a:gsLst>
                <a:gs pos="1000">
                  <a:srgbClr val="7D7ED5"/>
                </a:gs>
                <a:gs pos="88000">
                  <a:srgbClr val="BF65CD"/>
                </a:gs>
                <a:gs pos="16000">
                  <a:srgbClr val="3B96DD"/>
                </a:gs>
                <a:gs pos="69000">
                  <a:srgbClr val="5671ED"/>
                </a:gs>
                <a:gs pos="100000">
                  <a:srgbClr val="906EBD"/>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65979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1.xml><?xml version="1.0" encoding="utf-8"?>
<p:sld xmlns:a="http://schemas.openxmlformats.org/drawingml/2006/main" xmlns:r="http://schemas.openxmlformats.org/officeDocument/2006/relationships" xmlns:p="http://schemas.openxmlformats.org/presentationml/2006/main" show="0">
  <p:cSld>
    <p:bg>
      <p:bgPr>
        <a:gradFill>
          <a:gsLst>
            <a:gs pos="21275">
              <a:srgbClr val="1A9CED"/>
            </a:gs>
            <a:gs pos="7000">
              <a:srgbClr val="0179D4"/>
            </a:gs>
            <a:gs pos="32000">
              <a:srgbClr val="2CB6FF"/>
            </a:gs>
            <a:gs pos="64350">
              <a:srgbClr val="8C88FC"/>
            </a:gs>
            <a:gs pos="44000">
              <a:srgbClr val="2DB6FF"/>
            </a:gs>
            <a:gs pos="81000">
              <a:srgbClr val="D962FA"/>
            </a:gs>
            <a:gs pos="96000">
              <a:srgbClr val="F69991"/>
            </a:gs>
          </a:gsLst>
          <a:lin ang="3600000" scaled="0"/>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12DD9A-79BE-9A93-0144-96E66ABBF0C4}"/>
              </a:ext>
            </a:extLst>
          </p:cNvPr>
          <p:cNvPicPr preferRelativeResize="0">
            <a:picLocks/>
          </p:cNvPicPr>
          <p:nvPr/>
        </p:nvPicPr>
        <p:blipFill>
          <a:blip r:embed="rId3"/>
          <a:stretch>
            <a:fillRect/>
          </a:stretch>
        </p:blipFill>
        <p:spPr>
          <a:xfrm>
            <a:off x="1" y="62412"/>
            <a:ext cx="12187673" cy="6055163"/>
          </a:xfrm>
          <a:prstGeom prst="rect">
            <a:avLst/>
          </a:prstGeom>
        </p:spPr>
      </p:pic>
    </p:spTree>
    <p:extLst>
      <p:ext uri="{BB962C8B-B14F-4D97-AF65-F5344CB8AC3E}">
        <p14:creationId xmlns:p14="http://schemas.microsoft.com/office/powerpoint/2010/main" val="9672393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24A093-B546-7EAA-BF8E-1B0F48AF69A6}"/>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70A1F8F2-E4C7-5BAA-748F-DCAE0B7ED57E}"/>
              </a:ext>
            </a:extLst>
          </p:cNvPr>
          <p:cNvSpPr txBox="1"/>
          <p:nvPr/>
        </p:nvSpPr>
        <p:spPr>
          <a:xfrm>
            <a:off x="3000056" y="2705725"/>
            <a:ext cx="6191888" cy="1446550"/>
          </a:xfrm>
          <a:prstGeom prst="rect">
            <a:avLst/>
          </a:prstGeom>
          <a:noFill/>
        </p:spPr>
        <p:txBody>
          <a:bodyPr wrap="none" rtlCol="0">
            <a:spAutoFit/>
          </a:bodyPr>
          <a:lstStyle/>
          <a:p>
            <a:r>
              <a:rPr lang="en-US" sz="8800" b="1"/>
              <a:t>DSPM for AI</a:t>
            </a:r>
          </a:p>
        </p:txBody>
      </p:sp>
    </p:spTree>
    <p:extLst>
      <p:ext uri="{BB962C8B-B14F-4D97-AF65-F5344CB8AC3E}">
        <p14:creationId xmlns:p14="http://schemas.microsoft.com/office/powerpoint/2010/main" val="14760513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D4908F-4E7E-4EF1-C089-C1DD399579E7}"/>
            </a:ext>
          </a:extLst>
        </p:cNvPr>
        <p:cNvGrpSpPr/>
        <p:nvPr/>
      </p:nvGrpSpPr>
      <p:grpSpPr>
        <a:xfrm>
          <a:off x="0" y="0"/>
          <a:ext cx="0" cy="0"/>
          <a:chOff x="0" y="0"/>
          <a:chExt cx="0" cy="0"/>
        </a:xfrm>
      </p:grpSpPr>
      <p:sp>
        <p:nvSpPr>
          <p:cNvPr id="23" name="Title 22">
            <a:extLst>
              <a:ext uri="{FF2B5EF4-FFF2-40B4-BE49-F238E27FC236}">
                <a16:creationId xmlns:a16="http://schemas.microsoft.com/office/drawing/2014/main" id="{7F8D2F4E-E9B6-5783-6D3B-02BFFEDE6CF0}"/>
              </a:ext>
            </a:extLst>
          </p:cNvPr>
          <p:cNvSpPr>
            <a:spLocks noGrp="1"/>
          </p:cNvSpPr>
          <p:nvPr>
            <p:ph type="title"/>
          </p:nvPr>
        </p:nvSpPr>
        <p:spPr/>
        <p:txBody>
          <a:bodyPr vert="horz" wrap="square" lIns="0" tIns="0" rIns="0" bIns="0" rtlCol="0" anchor="b">
            <a:spAutoFit/>
          </a:bodyPr>
          <a:lstStyle/>
          <a:p>
            <a:r>
              <a:rPr lang="en-IN"/>
              <a:t>Microsoft Purview</a:t>
            </a:r>
          </a:p>
        </p:txBody>
      </p:sp>
      <p:pic>
        <p:nvPicPr>
          <p:cNvPr id="4" name="Picture 3">
            <a:extLst>
              <a:ext uri="{FF2B5EF4-FFF2-40B4-BE49-F238E27FC236}">
                <a16:creationId xmlns:a16="http://schemas.microsoft.com/office/drawing/2014/main" id="{1B12F686-DD5F-2B0B-A497-72CF660C39D3}"/>
              </a:ext>
            </a:extLst>
          </p:cNvPr>
          <p:cNvPicPr>
            <a:picLocks noChangeAspect="1"/>
          </p:cNvPicPr>
          <p:nvPr/>
        </p:nvPicPr>
        <p:blipFill>
          <a:blip r:embed="rId3"/>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BC992C7C-41F2-58B7-2455-AE040BB6E5C9}"/>
              </a:ext>
            </a:extLst>
          </p:cNvPr>
          <p:cNvPicPr>
            <a:picLocks noChangeAspect="1"/>
          </p:cNvPicPr>
          <p:nvPr/>
        </p:nvPicPr>
        <p:blipFill>
          <a:blip r:embed="rId4"/>
          <a:stretch>
            <a:fillRect/>
          </a:stretch>
        </p:blipFill>
        <p:spPr>
          <a:xfrm>
            <a:off x="2246483" y="3778103"/>
            <a:ext cx="220821" cy="220821"/>
          </a:xfrm>
          <a:prstGeom prst="rect">
            <a:avLst/>
          </a:prstGeom>
        </p:spPr>
      </p:pic>
      <p:sp>
        <p:nvSpPr>
          <p:cNvPr id="7" name="Rectangle: Rounded Corners 6">
            <a:extLst>
              <a:ext uri="{FF2B5EF4-FFF2-40B4-BE49-F238E27FC236}">
                <a16:creationId xmlns:a16="http://schemas.microsoft.com/office/drawing/2014/main" id="{8A0A1662-7BE6-8A43-2F47-581268B5F651}"/>
              </a:ext>
            </a:extLst>
          </p:cNvPr>
          <p:cNvSpPr/>
          <p:nvPr/>
        </p:nvSpPr>
        <p:spPr bwMode="auto">
          <a:xfrm>
            <a:off x="0" y="2446290"/>
            <a:ext cx="1307805" cy="312859"/>
          </a:xfrm>
          <a:prstGeom prst="roundRect">
            <a:avLst>
              <a:gd name="adj" fmla="val 2909"/>
            </a:avLst>
          </a:prstGeom>
          <a:noFill/>
          <a:ln w="28575">
            <a:gradFill>
              <a:gsLst>
                <a:gs pos="1000">
                  <a:srgbClr val="7D7ED5"/>
                </a:gs>
                <a:gs pos="88000">
                  <a:srgbClr val="BF65CD"/>
                </a:gs>
                <a:gs pos="16000">
                  <a:srgbClr val="3B96DD"/>
                </a:gs>
                <a:gs pos="69000">
                  <a:srgbClr val="5671ED"/>
                </a:gs>
                <a:gs pos="100000">
                  <a:srgbClr val="906EBD"/>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A3B7F793-9986-260B-FF89-C90B43E87309}"/>
              </a:ext>
            </a:extLst>
          </p:cNvPr>
          <p:cNvSpPr/>
          <p:nvPr/>
        </p:nvSpPr>
        <p:spPr bwMode="auto">
          <a:xfrm>
            <a:off x="2323214" y="1606317"/>
            <a:ext cx="414670" cy="265013"/>
          </a:xfrm>
          <a:prstGeom prst="roundRect">
            <a:avLst>
              <a:gd name="adj" fmla="val 2909"/>
            </a:avLst>
          </a:prstGeom>
          <a:noFill/>
          <a:ln w="28575">
            <a:gradFill>
              <a:gsLst>
                <a:gs pos="1000">
                  <a:srgbClr val="7D7ED5"/>
                </a:gs>
                <a:gs pos="88000">
                  <a:srgbClr val="BF65CD"/>
                </a:gs>
                <a:gs pos="16000">
                  <a:srgbClr val="3B96DD"/>
                </a:gs>
                <a:gs pos="69000">
                  <a:srgbClr val="5671ED"/>
                </a:gs>
                <a:gs pos="100000">
                  <a:srgbClr val="906EBD"/>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454071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9BE2274-84B0-12D6-76D1-E4D0A99ACA83}"/>
              </a:ext>
            </a:extLst>
          </p:cNvPr>
          <p:cNvPicPr>
            <a:picLocks noChangeAspect="1"/>
          </p:cNvPicPr>
          <p:nvPr/>
        </p:nvPicPr>
        <p:blipFill>
          <a:blip r:embed="rId3"/>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8A3B5EE1-E58E-D5B7-7A35-F3FB06B4248C}"/>
              </a:ext>
            </a:extLst>
          </p:cNvPr>
          <p:cNvPicPr>
            <a:picLocks noChangeAspect="1"/>
          </p:cNvPicPr>
          <p:nvPr/>
        </p:nvPicPr>
        <p:blipFill>
          <a:blip r:embed="rId4"/>
          <a:stretch>
            <a:fillRect/>
          </a:stretch>
        </p:blipFill>
        <p:spPr>
          <a:xfrm>
            <a:off x="3602844" y="808589"/>
            <a:ext cx="8589156" cy="6049411"/>
          </a:xfrm>
          <a:prstGeom prst="rect">
            <a:avLst/>
          </a:prstGeom>
        </p:spPr>
      </p:pic>
      <p:pic>
        <p:nvPicPr>
          <p:cNvPr id="10" name="Picture 9">
            <a:extLst>
              <a:ext uri="{FF2B5EF4-FFF2-40B4-BE49-F238E27FC236}">
                <a16:creationId xmlns:a16="http://schemas.microsoft.com/office/drawing/2014/main" id="{81BB9D63-5631-1A44-D2DB-D5005CAAF637}"/>
              </a:ext>
            </a:extLst>
          </p:cNvPr>
          <p:cNvPicPr>
            <a:picLocks noChangeAspect="1"/>
          </p:cNvPicPr>
          <p:nvPr/>
        </p:nvPicPr>
        <p:blipFill>
          <a:blip r:embed="rId5"/>
          <a:stretch>
            <a:fillRect/>
          </a:stretch>
        </p:blipFill>
        <p:spPr>
          <a:xfrm>
            <a:off x="3671424" y="1194924"/>
            <a:ext cx="275736" cy="275736"/>
          </a:xfrm>
          <a:prstGeom prst="rect">
            <a:avLst/>
          </a:prstGeom>
        </p:spPr>
      </p:pic>
      <p:sp>
        <p:nvSpPr>
          <p:cNvPr id="3" name="Rectangle: Rounded Corners 2">
            <a:extLst>
              <a:ext uri="{FF2B5EF4-FFF2-40B4-BE49-F238E27FC236}">
                <a16:creationId xmlns:a16="http://schemas.microsoft.com/office/drawing/2014/main" id="{9587E96E-E24B-68F0-C5B7-D90186499258}"/>
              </a:ext>
            </a:extLst>
          </p:cNvPr>
          <p:cNvSpPr/>
          <p:nvPr/>
        </p:nvSpPr>
        <p:spPr bwMode="auto">
          <a:xfrm>
            <a:off x="3602844" y="1109663"/>
            <a:ext cx="1968616" cy="427405"/>
          </a:xfrm>
          <a:prstGeom prst="roundRect">
            <a:avLst>
              <a:gd name="adj" fmla="val 8737"/>
            </a:avLst>
          </a:prstGeom>
          <a:noFill/>
          <a:ln w="28575">
            <a:gradFill>
              <a:gsLst>
                <a:gs pos="1000">
                  <a:srgbClr val="7D7ED5"/>
                </a:gs>
                <a:gs pos="88000">
                  <a:srgbClr val="BF65CD"/>
                </a:gs>
                <a:gs pos="16000">
                  <a:srgbClr val="3B96DD"/>
                </a:gs>
                <a:gs pos="69000">
                  <a:srgbClr val="5671ED"/>
                </a:gs>
                <a:gs pos="100000">
                  <a:srgbClr val="906EBD"/>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A4D1EA99-F41F-8D50-25CF-9052C7F386B1}"/>
              </a:ext>
            </a:extLst>
          </p:cNvPr>
          <p:cNvSpPr/>
          <p:nvPr/>
        </p:nvSpPr>
        <p:spPr bwMode="auto">
          <a:xfrm>
            <a:off x="3744611" y="4864396"/>
            <a:ext cx="784859" cy="361506"/>
          </a:xfrm>
          <a:prstGeom prst="roundRect">
            <a:avLst>
              <a:gd name="adj" fmla="val 8737"/>
            </a:avLst>
          </a:prstGeom>
          <a:noFill/>
          <a:ln w="28575">
            <a:gradFill>
              <a:gsLst>
                <a:gs pos="1000">
                  <a:srgbClr val="7D7ED5"/>
                </a:gs>
                <a:gs pos="88000">
                  <a:srgbClr val="BF65CD"/>
                </a:gs>
                <a:gs pos="16000">
                  <a:srgbClr val="3B96DD"/>
                </a:gs>
                <a:gs pos="69000">
                  <a:srgbClr val="5671ED"/>
                </a:gs>
                <a:gs pos="100000">
                  <a:srgbClr val="906EBD"/>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7" name="Rectangle: Rounded Corners 6">
            <a:extLst>
              <a:ext uri="{FF2B5EF4-FFF2-40B4-BE49-F238E27FC236}">
                <a16:creationId xmlns:a16="http://schemas.microsoft.com/office/drawing/2014/main" id="{2B17E9B0-296A-D278-A203-F0FEE1D747EA}"/>
              </a:ext>
            </a:extLst>
          </p:cNvPr>
          <p:cNvSpPr/>
          <p:nvPr/>
        </p:nvSpPr>
        <p:spPr bwMode="auto">
          <a:xfrm>
            <a:off x="9415309" y="4639341"/>
            <a:ext cx="784859" cy="361506"/>
          </a:xfrm>
          <a:prstGeom prst="roundRect">
            <a:avLst>
              <a:gd name="adj" fmla="val 8737"/>
            </a:avLst>
          </a:prstGeom>
          <a:noFill/>
          <a:ln w="28575">
            <a:gradFill>
              <a:gsLst>
                <a:gs pos="1000">
                  <a:srgbClr val="7D7ED5"/>
                </a:gs>
                <a:gs pos="88000">
                  <a:srgbClr val="BF65CD"/>
                </a:gs>
                <a:gs pos="16000">
                  <a:srgbClr val="3B96DD"/>
                </a:gs>
                <a:gs pos="69000">
                  <a:srgbClr val="5671ED"/>
                </a:gs>
                <a:gs pos="100000">
                  <a:srgbClr val="906EBD"/>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D30CC88F-1B58-3EC8-638F-89EDB8829E7C}"/>
              </a:ext>
            </a:extLst>
          </p:cNvPr>
          <p:cNvSpPr/>
          <p:nvPr/>
        </p:nvSpPr>
        <p:spPr bwMode="auto">
          <a:xfrm>
            <a:off x="6553378" y="4864396"/>
            <a:ext cx="784859" cy="361506"/>
          </a:xfrm>
          <a:prstGeom prst="roundRect">
            <a:avLst>
              <a:gd name="adj" fmla="val 8737"/>
            </a:avLst>
          </a:prstGeom>
          <a:noFill/>
          <a:ln w="28575">
            <a:gradFill>
              <a:gsLst>
                <a:gs pos="1000">
                  <a:srgbClr val="7D7ED5"/>
                </a:gs>
                <a:gs pos="88000">
                  <a:srgbClr val="BF65CD"/>
                </a:gs>
                <a:gs pos="16000">
                  <a:srgbClr val="3B96DD"/>
                </a:gs>
                <a:gs pos="69000">
                  <a:srgbClr val="5671ED"/>
                </a:gs>
                <a:gs pos="100000">
                  <a:srgbClr val="906EBD"/>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84162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 presetClass="entr" presetSubtype="4"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500" fill="hold"/>
                                        <p:tgtEl>
                                          <p:spTgt spid="5"/>
                                        </p:tgtEl>
                                        <p:attrNameLst>
                                          <p:attrName>ppt_x</p:attrName>
                                        </p:attrNameLst>
                                      </p:cBhvr>
                                      <p:tavLst>
                                        <p:tav tm="0">
                                          <p:val>
                                            <p:strVal val="#ppt_x"/>
                                          </p:val>
                                        </p:tav>
                                        <p:tav tm="100000">
                                          <p:val>
                                            <p:strVal val="#ppt_x"/>
                                          </p:val>
                                        </p:tav>
                                      </p:tavLst>
                                    </p:anim>
                                    <p:anim calcmode="lin" valueType="num">
                                      <p:cBhvr additive="base">
                                        <p:cTn id="17"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500" fill="hold"/>
                                        <p:tgtEl>
                                          <p:spTgt spid="8"/>
                                        </p:tgtEl>
                                        <p:attrNameLst>
                                          <p:attrName>ppt_x</p:attrName>
                                        </p:attrNameLst>
                                      </p:cBhvr>
                                      <p:tavLst>
                                        <p:tav tm="0">
                                          <p:val>
                                            <p:strVal val="#ppt_x"/>
                                          </p:val>
                                        </p:tav>
                                        <p:tav tm="100000">
                                          <p:val>
                                            <p:strVal val="#ppt_x"/>
                                          </p:val>
                                        </p:tav>
                                      </p:tavLst>
                                    </p:anim>
                                    <p:anim calcmode="lin" valueType="num">
                                      <p:cBhvr additive="base">
                                        <p:cTn id="23"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4" fill="hold" grpId="0" nodeType="click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additive="base">
                                        <p:cTn id="28" dur="500" fill="hold"/>
                                        <p:tgtEl>
                                          <p:spTgt spid="7"/>
                                        </p:tgtEl>
                                        <p:attrNameLst>
                                          <p:attrName>ppt_x</p:attrName>
                                        </p:attrNameLst>
                                      </p:cBhvr>
                                      <p:tavLst>
                                        <p:tav tm="0">
                                          <p:val>
                                            <p:strVal val="#ppt_x"/>
                                          </p:val>
                                        </p:tav>
                                        <p:tav tm="100000">
                                          <p:val>
                                            <p:strVal val="#ppt_x"/>
                                          </p:val>
                                        </p:tav>
                                      </p:tavLst>
                                    </p:anim>
                                    <p:anim calcmode="lin" valueType="num">
                                      <p:cBhvr additive="base">
                                        <p:cTn id="29"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7" grpId="0" animBg="1"/>
      <p:bldP spid="8"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E2DC36-F27A-5935-3E95-0D069FE389AB}"/>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42E9153B-71BE-4732-7939-F07028F61C0F}"/>
              </a:ext>
            </a:extLst>
          </p:cNvPr>
          <p:cNvPicPr>
            <a:picLocks noChangeAspect="1"/>
          </p:cNvPicPr>
          <p:nvPr/>
        </p:nvPicPr>
        <p:blipFill>
          <a:blip r:embed="rId3"/>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262D641B-5C06-90B2-6341-5FBCD2A867F4}"/>
              </a:ext>
            </a:extLst>
          </p:cNvPr>
          <p:cNvPicPr>
            <a:picLocks noChangeAspect="1"/>
          </p:cNvPicPr>
          <p:nvPr/>
        </p:nvPicPr>
        <p:blipFill>
          <a:blip r:embed="rId4"/>
          <a:stretch>
            <a:fillRect/>
          </a:stretch>
        </p:blipFill>
        <p:spPr>
          <a:xfrm>
            <a:off x="3596488" y="812004"/>
            <a:ext cx="8595512" cy="6045996"/>
          </a:xfrm>
          <a:prstGeom prst="rect">
            <a:avLst/>
          </a:prstGeom>
        </p:spPr>
      </p:pic>
    </p:spTree>
    <p:extLst>
      <p:ext uri="{BB962C8B-B14F-4D97-AF65-F5344CB8AC3E}">
        <p14:creationId xmlns:p14="http://schemas.microsoft.com/office/powerpoint/2010/main" val="19713419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066D23-DA75-6A38-DFF7-3E31BA595108}"/>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915EAD31-2ECD-AC7B-0F8F-CD4C383D5CDA}"/>
              </a:ext>
            </a:extLst>
          </p:cNvPr>
          <p:cNvPicPr>
            <a:picLocks noChangeAspect="1"/>
          </p:cNvPicPr>
          <p:nvPr/>
        </p:nvPicPr>
        <p:blipFill>
          <a:blip r:embed="rId3"/>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38E8C375-586B-CB7E-1AF9-A2642E3F3A14}"/>
              </a:ext>
            </a:extLst>
          </p:cNvPr>
          <p:cNvPicPr>
            <a:picLocks noChangeAspect="1"/>
          </p:cNvPicPr>
          <p:nvPr/>
        </p:nvPicPr>
        <p:blipFill>
          <a:blip r:embed="rId4"/>
          <a:stretch>
            <a:fillRect/>
          </a:stretch>
        </p:blipFill>
        <p:spPr>
          <a:xfrm>
            <a:off x="3606427" y="804247"/>
            <a:ext cx="8585573" cy="6053753"/>
          </a:xfrm>
          <a:prstGeom prst="rect">
            <a:avLst/>
          </a:prstGeom>
        </p:spPr>
      </p:pic>
    </p:spTree>
    <p:extLst>
      <p:ext uri="{BB962C8B-B14F-4D97-AF65-F5344CB8AC3E}">
        <p14:creationId xmlns:p14="http://schemas.microsoft.com/office/powerpoint/2010/main" val="25264650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28D764-B206-EAD2-7A16-4D7194105A3F}"/>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5B435314-5D1A-6DBC-7B7A-6F92DBED4D75}"/>
              </a:ext>
            </a:extLst>
          </p:cNvPr>
          <p:cNvPicPr>
            <a:picLocks noChangeAspect="1"/>
          </p:cNvPicPr>
          <p:nvPr/>
        </p:nvPicPr>
        <p:blipFill>
          <a:blip r:embed="rId3"/>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B8351778-4565-A6A4-32ED-50FEB29F91DB}"/>
              </a:ext>
            </a:extLst>
          </p:cNvPr>
          <p:cNvPicPr>
            <a:picLocks noChangeAspect="1"/>
          </p:cNvPicPr>
          <p:nvPr/>
        </p:nvPicPr>
        <p:blipFill>
          <a:blip r:embed="rId4"/>
          <a:stretch>
            <a:fillRect/>
          </a:stretch>
        </p:blipFill>
        <p:spPr>
          <a:xfrm>
            <a:off x="3576610" y="798022"/>
            <a:ext cx="8615390" cy="6059978"/>
          </a:xfrm>
          <a:prstGeom prst="rect">
            <a:avLst/>
          </a:prstGeom>
        </p:spPr>
      </p:pic>
    </p:spTree>
    <p:extLst>
      <p:ext uri="{BB962C8B-B14F-4D97-AF65-F5344CB8AC3E}">
        <p14:creationId xmlns:p14="http://schemas.microsoft.com/office/powerpoint/2010/main" val="5724972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F200A6-9AAA-880D-D331-D9E05E825A43}"/>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BF220CA8-CC94-4AFC-DB0E-B84AD1AE38F4}"/>
              </a:ext>
            </a:extLst>
          </p:cNvPr>
          <p:cNvSpPr txBox="1"/>
          <p:nvPr/>
        </p:nvSpPr>
        <p:spPr>
          <a:xfrm>
            <a:off x="719368" y="2705725"/>
            <a:ext cx="10753265" cy="1446550"/>
          </a:xfrm>
          <a:prstGeom prst="rect">
            <a:avLst/>
          </a:prstGeom>
          <a:noFill/>
        </p:spPr>
        <p:txBody>
          <a:bodyPr wrap="none" rtlCol="0">
            <a:spAutoFit/>
          </a:bodyPr>
          <a:lstStyle/>
          <a:p>
            <a:r>
              <a:rPr lang="en-US" sz="8800" b="1"/>
              <a:t>Data loss Prevention</a:t>
            </a:r>
          </a:p>
        </p:txBody>
      </p:sp>
    </p:spTree>
    <p:extLst>
      <p:ext uri="{BB962C8B-B14F-4D97-AF65-F5344CB8AC3E}">
        <p14:creationId xmlns:p14="http://schemas.microsoft.com/office/powerpoint/2010/main" val="376191249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E80FF7-DC12-781D-2046-94F95FAF8168}"/>
              </a:ext>
            </a:extLst>
          </p:cNvPr>
          <p:cNvPicPr>
            <a:picLocks noChangeAspect="1"/>
          </p:cNvPicPr>
          <p:nvPr/>
        </p:nvPicPr>
        <p:blipFill>
          <a:blip r:embed="rId3"/>
          <a:srcRect t="6666" b="5124"/>
          <a:stretch/>
        </p:blipFill>
        <p:spPr>
          <a:xfrm>
            <a:off x="-1" y="-72570"/>
            <a:ext cx="12211519" cy="6930570"/>
          </a:xfrm>
          <a:prstGeom prst="roundRect">
            <a:avLst>
              <a:gd name="adj" fmla="val 1079"/>
            </a:avLst>
          </a:prstGeom>
        </p:spPr>
      </p:pic>
      <p:sp>
        <p:nvSpPr>
          <p:cNvPr id="21" name="Title 20">
            <a:extLst>
              <a:ext uri="{FF2B5EF4-FFF2-40B4-BE49-F238E27FC236}">
                <a16:creationId xmlns:a16="http://schemas.microsoft.com/office/drawing/2014/main" id="{8092683A-ED48-0CEC-B6C8-7C7D5B7FD70C}"/>
              </a:ext>
            </a:extLst>
          </p:cNvPr>
          <p:cNvSpPr>
            <a:spLocks noGrp="1"/>
          </p:cNvSpPr>
          <p:nvPr>
            <p:ph type="title"/>
          </p:nvPr>
        </p:nvSpPr>
        <p:spPr/>
        <p:txBody>
          <a:bodyPr vert="horz" wrap="square" lIns="0" tIns="0" rIns="0" bIns="0" rtlCol="0" anchor="b">
            <a:spAutoFit/>
          </a:bodyPr>
          <a:lstStyle/>
          <a:p>
            <a:r>
              <a:rPr lang="en-IN"/>
              <a:t>Data Assessments </a:t>
            </a:r>
          </a:p>
        </p:txBody>
      </p:sp>
      <p:pic>
        <p:nvPicPr>
          <p:cNvPr id="7" name="Picture 6">
            <a:extLst>
              <a:ext uri="{FF2B5EF4-FFF2-40B4-BE49-F238E27FC236}">
                <a16:creationId xmlns:a16="http://schemas.microsoft.com/office/drawing/2014/main" id="{DB6F8B79-DA0F-A667-F416-DC33CD686B00}"/>
              </a:ext>
            </a:extLst>
          </p:cNvPr>
          <p:cNvPicPr>
            <a:picLocks noChangeAspect="1"/>
          </p:cNvPicPr>
          <p:nvPr/>
        </p:nvPicPr>
        <p:blipFill>
          <a:blip r:embed="rId4"/>
          <a:stretch>
            <a:fillRect/>
          </a:stretch>
        </p:blipFill>
        <p:spPr>
          <a:xfrm>
            <a:off x="19518" y="0"/>
            <a:ext cx="12192000" cy="303432"/>
          </a:xfrm>
          <a:prstGeom prst="rect">
            <a:avLst/>
          </a:prstGeom>
        </p:spPr>
      </p:pic>
      <p:sp>
        <p:nvSpPr>
          <p:cNvPr id="5" name="Rectangle: Rounded Corners 4">
            <a:extLst>
              <a:ext uri="{FF2B5EF4-FFF2-40B4-BE49-F238E27FC236}">
                <a16:creationId xmlns:a16="http://schemas.microsoft.com/office/drawing/2014/main" id="{7C07B285-5920-A499-18A5-9F461D606E57}"/>
              </a:ext>
            </a:extLst>
          </p:cNvPr>
          <p:cNvSpPr/>
          <p:nvPr/>
        </p:nvSpPr>
        <p:spPr bwMode="auto">
          <a:xfrm>
            <a:off x="454873" y="2368754"/>
            <a:ext cx="1714682" cy="303432"/>
          </a:xfrm>
          <a:prstGeom prst="roundRect">
            <a:avLst>
              <a:gd name="adj" fmla="val 2909"/>
            </a:avLst>
          </a:prstGeom>
          <a:noFill/>
          <a:ln w="28575">
            <a:gradFill>
              <a:gsLst>
                <a:gs pos="0">
                  <a:srgbClr val="7D7ED5"/>
                </a:gs>
                <a:gs pos="88000">
                  <a:srgbClr val="BF65CD"/>
                </a:gs>
                <a:gs pos="16000">
                  <a:srgbClr val="3B96DD"/>
                </a:gs>
                <a:gs pos="69000">
                  <a:srgbClr val="5671ED"/>
                </a:gs>
                <a:gs pos="100000">
                  <a:srgbClr val="906EBD"/>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4410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4C630C-D8E3-D33D-36F4-C94160AF973D}"/>
            </a:ext>
          </a:extLst>
        </p:cNvPr>
        <p:cNvGrpSpPr/>
        <p:nvPr/>
      </p:nvGrpSpPr>
      <p:grpSpPr>
        <a:xfrm>
          <a:off x="0" y="0"/>
          <a:ext cx="0" cy="0"/>
          <a:chOff x="0" y="0"/>
          <a:chExt cx="0" cy="0"/>
        </a:xfrm>
      </p:grpSpPr>
      <p:sp>
        <p:nvSpPr>
          <p:cNvPr id="4" name="Rounded Rectangle 64">
            <a:extLst>
              <a:ext uri="{FF2B5EF4-FFF2-40B4-BE49-F238E27FC236}">
                <a16:creationId xmlns:a16="http://schemas.microsoft.com/office/drawing/2014/main" id="{B5521FF8-AE97-A8EA-C13F-2D6852D1F8D4}"/>
              </a:ext>
              <a:ext uri="{C183D7F6-B498-43B3-948B-1728B52AA6E4}">
                <adec:decorative xmlns:adec="http://schemas.microsoft.com/office/drawing/2017/decorative" val="1"/>
              </a:ext>
            </a:extLst>
          </p:cNvPr>
          <p:cNvSpPr>
            <a:spLocks/>
          </p:cNvSpPr>
          <p:nvPr/>
        </p:nvSpPr>
        <p:spPr bwMode="auto">
          <a:xfrm>
            <a:off x="4159478" y="457200"/>
            <a:ext cx="7444375" cy="5809186"/>
          </a:xfrm>
          <a:prstGeom prst="roundRect">
            <a:avLst>
              <a:gd name="adj" fmla="val 3125"/>
            </a:avLst>
          </a:prstGeom>
          <a:noFill/>
          <a:ln w="12700" cap="rnd">
            <a:solidFill>
              <a:schemeClr val="bg1">
                <a:lumMod val="7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noFill/>
              <a:effectLst/>
              <a:uLnTx/>
              <a:uFillTx/>
              <a:latin typeface="Segoe UI Variable Small Semibol" pitchFamily="2" charset="0"/>
              <a:ea typeface="+mn-ea"/>
              <a:cs typeface="+mn-cs"/>
            </a:endParaRPr>
          </a:p>
        </p:txBody>
      </p:sp>
      <p:sp>
        <p:nvSpPr>
          <p:cNvPr id="15" name="Rectangle: Rounded Corners 18">
            <a:extLst>
              <a:ext uri="{FF2B5EF4-FFF2-40B4-BE49-F238E27FC236}">
                <a16:creationId xmlns:a16="http://schemas.microsoft.com/office/drawing/2014/main" id="{C28B615D-E4AB-5793-3368-5D02CF2067C3}"/>
              </a:ext>
              <a:ext uri="{C183D7F6-B498-43B3-948B-1728B52AA6E4}">
                <adec:decorative xmlns:adec="http://schemas.microsoft.com/office/drawing/2017/decorative" val="1"/>
              </a:ext>
            </a:extLst>
          </p:cNvPr>
          <p:cNvSpPr>
            <a:spLocks/>
          </p:cNvSpPr>
          <p:nvPr/>
        </p:nvSpPr>
        <p:spPr bwMode="auto">
          <a:xfrm flipV="1">
            <a:off x="-11241" y="-16934"/>
            <a:ext cx="4463626" cy="6891868"/>
          </a:xfrm>
          <a:prstGeom prst="round1Rect">
            <a:avLst>
              <a:gd name="adj" fmla="val 4856"/>
            </a:avLst>
          </a:prstGeom>
          <a:gradFill flip="none" rotWithShape="1">
            <a:gsLst>
              <a:gs pos="0">
                <a:srgbClr val="C03BC4"/>
              </a:gs>
              <a:gs pos="80000">
                <a:srgbClr val="0078D4"/>
              </a:gs>
            </a:gsLst>
            <a:path path="circle">
              <a:fillToRect l="100000" t="100000"/>
            </a:path>
            <a:tileRect r="-100000" b="-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6" name="Title 5">
            <a:extLst>
              <a:ext uri="{FF2B5EF4-FFF2-40B4-BE49-F238E27FC236}">
                <a16:creationId xmlns:a16="http://schemas.microsoft.com/office/drawing/2014/main" id="{546B9A99-8154-2529-5C29-AAA5083CD657}"/>
              </a:ext>
            </a:extLst>
          </p:cNvPr>
          <p:cNvSpPr>
            <a:spLocks noGrp="1"/>
          </p:cNvSpPr>
          <p:nvPr>
            <p:ph type="title"/>
          </p:nvPr>
        </p:nvSpPr>
        <p:spPr>
          <a:xfrm>
            <a:off x="588963" y="2856174"/>
            <a:ext cx="2923749" cy="553998"/>
          </a:xfrm>
        </p:spPr>
        <p:txBody>
          <a:bodyPr>
            <a:normAutofit fontScale="90000"/>
          </a:bodyPr>
          <a:lstStyle/>
          <a:p>
            <a:r>
              <a:rPr lang="en-US">
                <a:solidFill>
                  <a:schemeClr val="bg1"/>
                </a:solidFill>
                <a:ea typeface="+mj-ea"/>
                <a:cs typeface="+mj-cs"/>
              </a:rPr>
              <a:t>Agenda</a:t>
            </a:r>
          </a:p>
        </p:txBody>
      </p:sp>
      <p:grpSp>
        <p:nvGrpSpPr>
          <p:cNvPr id="22" name="Group 21">
            <a:extLst>
              <a:ext uri="{FF2B5EF4-FFF2-40B4-BE49-F238E27FC236}">
                <a16:creationId xmlns:a16="http://schemas.microsoft.com/office/drawing/2014/main" id="{44948DDA-E474-F826-7833-63946C6E838C}"/>
              </a:ext>
            </a:extLst>
          </p:cNvPr>
          <p:cNvGrpSpPr/>
          <p:nvPr/>
        </p:nvGrpSpPr>
        <p:grpSpPr>
          <a:xfrm>
            <a:off x="4728898" y="567363"/>
            <a:ext cx="6598441" cy="677411"/>
            <a:chOff x="4728898" y="567363"/>
            <a:chExt cx="6598441" cy="677411"/>
          </a:xfrm>
        </p:grpSpPr>
        <p:sp>
          <p:nvSpPr>
            <p:cNvPr id="5" name="Oval 4">
              <a:extLst>
                <a:ext uri="{FF2B5EF4-FFF2-40B4-BE49-F238E27FC236}">
                  <a16:creationId xmlns:a16="http://schemas.microsoft.com/office/drawing/2014/main" id="{8426E41E-E130-C490-C257-C671551E5617}"/>
                </a:ext>
                <a:ext uri="{C183D7F6-B498-43B3-948B-1728B52AA6E4}">
                  <adec:decorative xmlns:adec="http://schemas.microsoft.com/office/drawing/2017/decorative" val="1"/>
                </a:ext>
              </a:extLst>
            </p:cNvPr>
            <p:cNvSpPr>
              <a:spLocks/>
            </p:cNvSpPr>
            <p:nvPr/>
          </p:nvSpPr>
          <p:spPr bwMode="auto">
            <a:xfrm>
              <a:off x="4728898" y="567363"/>
              <a:ext cx="524938" cy="524938"/>
            </a:xfrm>
            <a:prstGeom prst="ellipse">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1200" cap="none" spc="0" normalizeH="0" baseline="0" noProof="0">
                <a:ln>
                  <a:noFill/>
                </a:ln>
                <a:solidFill>
                  <a:srgbClr val="FFFFFF"/>
                </a:solidFill>
                <a:effectLst/>
                <a:uLnTx/>
                <a:uFillTx/>
                <a:latin typeface="Segoe UI Semibold"/>
                <a:ea typeface="+mn-ea"/>
                <a:cs typeface="+mn-cs"/>
              </a:endParaRPr>
            </a:p>
          </p:txBody>
        </p:sp>
        <p:cxnSp>
          <p:nvCxnSpPr>
            <p:cNvPr id="13" name="!!line2">
              <a:extLst>
                <a:ext uri="{FF2B5EF4-FFF2-40B4-BE49-F238E27FC236}">
                  <a16:creationId xmlns:a16="http://schemas.microsoft.com/office/drawing/2014/main" id="{0DD7E9D1-8293-4CB9-1006-E8AF37DCA0D6}"/>
                </a:ext>
                <a:ext uri="{C183D7F6-B498-43B3-948B-1728B52AA6E4}">
                  <adec:decorative xmlns:adec="http://schemas.microsoft.com/office/drawing/2017/decorative" val="1"/>
                </a:ext>
              </a:extLst>
            </p:cNvPr>
            <p:cNvCxnSpPr>
              <a:cxnSpLocks/>
            </p:cNvCxnSpPr>
            <p:nvPr/>
          </p:nvCxnSpPr>
          <p:spPr>
            <a:xfrm>
              <a:off x="5758750" y="1244774"/>
              <a:ext cx="5568589" cy="0"/>
            </a:xfrm>
            <a:prstGeom prst="line">
              <a:avLst/>
            </a:prstGeom>
            <a:ln w="6350" cap="rnd">
              <a:solidFill>
                <a:schemeClr val="bg1">
                  <a:lumMod val="7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40" name="Graphic 38" descr="Person inside screen">
              <a:extLst>
                <a:ext uri="{FF2B5EF4-FFF2-40B4-BE49-F238E27FC236}">
                  <a16:creationId xmlns:a16="http://schemas.microsoft.com/office/drawing/2014/main" id="{99426D3C-5BA9-FA35-FF62-356A250A952D}"/>
                </a:ext>
                <a:ext uri="{C183D7F6-B498-43B3-948B-1728B52AA6E4}">
                  <adec:decorative xmlns:adec="http://schemas.microsoft.com/office/drawing/2017/decorative" val="0"/>
                </a:ext>
              </a:extLst>
            </p:cNvPr>
            <p:cNvSpPr/>
            <p:nvPr/>
          </p:nvSpPr>
          <p:spPr>
            <a:xfrm>
              <a:off x="4850928" y="717423"/>
              <a:ext cx="280878" cy="224820"/>
            </a:xfrm>
            <a:custGeom>
              <a:avLst/>
              <a:gdLst>
                <a:gd name="connsiteX0" fmla="*/ 169025 w 190456"/>
                <a:gd name="connsiteY0" fmla="*/ 0 h 152443"/>
                <a:gd name="connsiteX1" fmla="*/ 190456 w 190456"/>
                <a:gd name="connsiteY1" fmla="*/ 21431 h 152443"/>
                <a:gd name="connsiteX2" fmla="*/ 190456 w 190456"/>
                <a:gd name="connsiteY2" fmla="*/ 131013 h 152443"/>
                <a:gd name="connsiteX3" fmla="*/ 169025 w 190456"/>
                <a:gd name="connsiteY3" fmla="*/ 152444 h 152443"/>
                <a:gd name="connsiteX4" fmla="*/ 21431 w 190456"/>
                <a:gd name="connsiteY4" fmla="*/ 152444 h 152443"/>
                <a:gd name="connsiteX5" fmla="*/ 0 w 190456"/>
                <a:gd name="connsiteY5" fmla="*/ 131013 h 152443"/>
                <a:gd name="connsiteX6" fmla="*/ 0 w 190456"/>
                <a:gd name="connsiteY6" fmla="*/ 21431 h 152443"/>
                <a:gd name="connsiteX7" fmla="*/ 21431 w 190456"/>
                <a:gd name="connsiteY7" fmla="*/ 0 h 152443"/>
                <a:gd name="connsiteX8" fmla="*/ 169025 w 190456"/>
                <a:gd name="connsiteY8" fmla="*/ 0 h 152443"/>
                <a:gd name="connsiteX9" fmla="*/ 169025 w 190456"/>
                <a:gd name="connsiteY9" fmla="*/ 14288 h 152443"/>
                <a:gd name="connsiteX10" fmla="*/ 21431 w 190456"/>
                <a:gd name="connsiteY10" fmla="*/ 14288 h 152443"/>
                <a:gd name="connsiteX11" fmla="*/ 14288 w 190456"/>
                <a:gd name="connsiteY11" fmla="*/ 21431 h 152443"/>
                <a:gd name="connsiteX12" fmla="*/ 14288 w 190456"/>
                <a:gd name="connsiteY12" fmla="*/ 131013 h 152443"/>
                <a:gd name="connsiteX13" fmla="*/ 21431 w 190456"/>
                <a:gd name="connsiteY13" fmla="*/ 138156 h 152443"/>
                <a:gd name="connsiteX14" fmla="*/ 47615 w 190456"/>
                <a:gd name="connsiteY14" fmla="*/ 138151 h 152443"/>
                <a:gd name="connsiteX15" fmla="*/ 47625 w 190456"/>
                <a:gd name="connsiteY15" fmla="*/ 111919 h 152443"/>
                <a:gd name="connsiteX16" fmla="*/ 62927 w 190456"/>
                <a:gd name="connsiteY16" fmla="*/ 95305 h 152443"/>
                <a:gd name="connsiteX17" fmla="*/ 64294 w 190456"/>
                <a:gd name="connsiteY17" fmla="*/ 95250 h 152443"/>
                <a:gd name="connsiteX18" fmla="*/ 126156 w 190456"/>
                <a:gd name="connsiteY18" fmla="*/ 95250 h 152443"/>
                <a:gd name="connsiteX19" fmla="*/ 142769 w 190456"/>
                <a:gd name="connsiteY19" fmla="*/ 110552 h 152443"/>
                <a:gd name="connsiteX20" fmla="*/ 142825 w 190456"/>
                <a:gd name="connsiteY20" fmla="*/ 111919 h 152443"/>
                <a:gd name="connsiteX21" fmla="*/ 142818 w 190456"/>
                <a:gd name="connsiteY21" fmla="*/ 138151 h 152443"/>
                <a:gd name="connsiteX22" fmla="*/ 169025 w 190456"/>
                <a:gd name="connsiteY22" fmla="*/ 138156 h 152443"/>
                <a:gd name="connsiteX23" fmla="*/ 176169 w 190456"/>
                <a:gd name="connsiteY23" fmla="*/ 131013 h 152443"/>
                <a:gd name="connsiteX24" fmla="*/ 176169 w 190456"/>
                <a:gd name="connsiteY24" fmla="*/ 21431 h 152443"/>
                <a:gd name="connsiteX25" fmla="*/ 169025 w 190456"/>
                <a:gd name="connsiteY25" fmla="*/ 14288 h 152443"/>
                <a:gd name="connsiteX26" fmla="*/ 95250 w 190456"/>
                <a:gd name="connsiteY26" fmla="*/ 28579 h 152443"/>
                <a:gd name="connsiteX27" fmla="*/ 123825 w 190456"/>
                <a:gd name="connsiteY27" fmla="*/ 57155 h 152443"/>
                <a:gd name="connsiteX28" fmla="*/ 95250 w 190456"/>
                <a:gd name="connsiteY28" fmla="*/ 85730 h 152443"/>
                <a:gd name="connsiteX29" fmla="*/ 66675 w 190456"/>
                <a:gd name="connsiteY29" fmla="*/ 57155 h 152443"/>
                <a:gd name="connsiteX30" fmla="*/ 95250 w 190456"/>
                <a:gd name="connsiteY30" fmla="*/ 28579 h 152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0456" h="152443">
                  <a:moveTo>
                    <a:pt x="169025" y="0"/>
                  </a:moveTo>
                  <a:cubicBezTo>
                    <a:pt x="180861" y="0"/>
                    <a:pt x="190456" y="9595"/>
                    <a:pt x="190456" y="21431"/>
                  </a:cubicBezTo>
                  <a:lnTo>
                    <a:pt x="190456" y="131013"/>
                  </a:lnTo>
                  <a:cubicBezTo>
                    <a:pt x="190456" y="142848"/>
                    <a:pt x="180861" y="152444"/>
                    <a:pt x="169025" y="152444"/>
                  </a:cubicBezTo>
                  <a:lnTo>
                    <a:pt x="21431" y="152444"/>
                  </a:lnTo>
                  <a:cubicBezTo>
                    <a:pt x="9595" y="152444"/>
                    <a:pt x="0" y="142848"/>
                    <a:pt x="0" y="131013"/>
                  </a:cubicBezTo>
                  <a:lnTo>
                    <a:pt x="0" y="21431"/>
                  </a:lnTo>
                  <a:cubicBezTo>
                    <a:pt x="0" y="9595"/>
                    <a:pt x="9595" y="0"/>
                    <a:pt x="21431" y="0"/>
                  </a:cubicBezTo>
                  <a:lnTo>
                    <a:pt x="169025" y="0"/>
                  </a:lnTo>
                  <a:close/>
                  <a:moveTo>
                    <a:pt x="169025" y="14288"/>
                  </a:moveTo>
                  <a:lnTo>
                    <a:pt x="21431" y="14288"/>
                  </a:lnTo>
                  <a:cubicBezTo>
                    <a:pt x="17486" y="14288"/>
                    <a:pt x="14288" y="17486"/>
                    <a:pt x="14288" y="21431"/>
                  </a:cubicBezTo>
                  <a:lnTo>
                    <a:pt x="14288" y="131013"/>
                  </a:lnTo>
                  <a:cubicBezTo>
                    <a:pt x="14288" y="134958"/>
                    <a:pt x="17486" y="138156"/>
                    <a:pt x="21431" y="138156"/>
                  </a:cubicBezTo>
                  <a:lnTo>
                    <a:pt x="47615" y="138151"/>
                  </a:lnTo>
                  <a:lnTo>
                    <a:pt x="47625" y="111919"/>
                  </a:lnTo>
                  <a:cubicBezTo>
                    <a:pt x="47625" y="103173"/>
                    <a:pt x="54360" y="96001"/>
                    <a:pt x="62927" y="95305"/>
                  </a:cubicBezTo>
                  <a:lnTo>
                    <a:pt x="64294" y="95250"/>
                  </a:lnTo>
                  <a:lnTo>
                    <a:pt x="126156" y="95250"/>
                  </a:lnTo>
                  <a:cubicBezTo>
                    <a:pt x="134902" y="95250"/>
                    <a:pt x="142074" y="101985"/>
                    <a:pt x="142769" y="110552"/>
                  </a:cubicBezTo>
                  <a:lnTo>
                    <a:pt x="142825" y="111919"/>
                  </a:lnTo>
                  <a:lnTo>
                    <a:pt x="142818" y="138151"/>
                  </a:lnTo>
                  <a:lnTo>
                    <a:pt x="169025" y="138156"/>
                  </a:lnTo>
                  <a:cubicBezTo>
                    <a:pt x="172970" y="138156"/>
                    <a:pt x="176169" y="134958"/>
                    <a:pt x="176169" y="131013"/>
                  </a:cubicBezTo>
                  <a:lnTo>
                    <a:pt x="176169" y="21431"/>
                  </a:lnTo>
                  <a:cubicBezTo>
                    <a:pt x="176169" y="17486"/>
                    <a:pt x="172970" y="14288"/>
                    <a:pt x="169025" y="14288"/>
                  </a:cubicBezTo>
                  <a:close/>
                  <a:moveTo>
                    <a:pt x="95250" y="28579"/>
                  </a:moveTo>
                  <a:cubicBezTo>
                    <a:pt x="111032" y="28579"/>
                    <a:pt x="123825" y="41373"/>
                    <a:pt x="123825" y="57155"/>
                  </a:cubicBezTo>
                  <a:cubicBezTo>
                    <a:pt x="123825" y="72936"/>
                    <a:pt x="111032" y="85730"/>
                    <a:pt x="95250" y="85730"/>
                  </a:cubicBezTo>
                  <a:cubicBezTo>
                    <a:pt x="79468" y="85730"/>
                    <a:pt x="66675" y="72936"/>
                    <a:pt x="66675" y="57155"/>
                  </a:cubicBezTo>
                  <a:cubicBezTo>
                    <a:pt x="66675" y="41373"/>
                    <a:pt x="79468" y="28579"/>
                    <a:pt x="95250" y="28579"/>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7" name="Text Placeholder 6">
              <a:extLst>
                <a:ext uri="{FF2B5EF4-FFF2-40B4-BE49-F238E27FC236}">
                  <a16:creationId xmlns:a16="http://schemas.microsoft.com/office/drawing/2014/main" id="{6C59A02D-FC94-6FAF-3A84-D47EC24D6DE4}"/>
                </a:ext>
              </a:extLst>
            </p:cNvPr>
            <p:cNvSpPr txBox="1">
              <a:spLocks/>
            </p:cNvSpPr>
            <p:nvPr/>
          </p:nvSpPr>
          <p:spPr>
            <a:xfrm>
              <a:off x="5758750" y="675943"/>
              <a:ext cx="5568589" cy="307777"/>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ntroductions</a:t>
              </a:r>
            </a:p>
          </p:txBody>
        </p:sp>
      </p:grpSp>
      <p:grpSp>
        <p:nvGrpSpPr>
          <p:cNvPr id="26" name="Group 25">
            <a:extLst>
              <a:ext uri="{FF2B5EF4-FFF2-40B4-BE49-F238E27FC236}">
                <a16:creationId xmlns:a16="http://schemas.microsoft.com/office/drawing/2014/main" id="{47F602F9-6B67-9B2D-7805-4FCCF96F7B73}"/>
              </a:ext>
            </a:extLst>
          </p:cNvPr>
          <p:cNvGrpSpPr/>
          <p:nvPr/>
        </p:nvGrpSpPr>
        <p:grpSpPr>
          <a:xfrm>
            <a:off x="4728898" y="1407249"/>
            <a:ext cx="6598441" cy="677411"/>
            <a:chOff x="4728898" y="1397247"/>
            <a:chExt cx="6598441" cy="677411"/>
          </a:xfrm>
        </p:grpSpPr>
        <p:cxnSp>
          <p:nvCxnSpPr>
            <p:cNvPr id="14" name="!!line2">
              <a:extLst>
                <a:ext uri="{FF2B5EF4-FFF2-40B4-BE49-F238E27FC236}">
                  <a16:creationId xmlns:a16="http://schemas.microsoft.com/office/drawing/2014/main" id="{D55F3267-48E5-2474-774A-0E1184F4D4E2}"/>
                </a:ext>
                <a:ext uri="{C183D7F6-B498-43B3-948B-1728B52AA6E4}">
                  <adec:decorative xmlns:adec="http://schemas.microsoft.com/office/drawing/2017/decorative" val="1"/>
                </a:ext>
              </a:extLst>
            </p:cNvPr>
            <p:cNvCxnSpPr>
              <a:cxnSpLocks/>
            </p:cNvCxnSpPr>
            <p:nvPr/>
          </p:nvCxnSpPr>
          <p:spPr>
            <a:xfrm>
              <a:off x="5758750" y="2074658"/>
              <a:ext cx="5568589" cy="0"/>
            </a:xfrm>
            <a:prstGeom prst="line">
              <a:avLst/>
            </a:prstGeom>
            <a:ln w="6350" cap="rnd">
              <a:solidFill>
                <a:schemeClr val="bg1">
                  <a:lumMod val="7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B525402B-7F39-B145-3C38-377FE23DD40F}"/>
                </a:ext>
                <a:ext uri="{C183D7F6-B498-43B3-948B-1728B52AA6E4}">
                  <adec:decorative xmlns:adec="http://schemas.microsoft.com/office/drawing/2017/decorative" val="1"/>
                </a:ext>
              </a:extLst>
            </p:cNvPr>
            <p:cNvSpPr>
              <a:spLocks/>
            </p:cNvSpPr>
            <p:nvPr/>
          </p:nvSpPr>
          <p:spPr bwMode="auto">
            <a:xfrm>
              <a:off x="4728898" y="1397247"/>
              <a:ext cx="524938" cy="524938"/>
            </a:xfrm>
            <a:prstGeom prst="ellipse">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43" name="Graphic 41" descr="Monitor">
              <a:extLst>
                <a:ext uri="{FF2B5EF4-FFF2-40B4-BE49-F238E27FC236}">
                  <a16:creationId xmlns:a16="http://schemas.microsoft.com/office/drawing/2014/main" id="{D6003AD7-E026-54B2-DD9C-5C08B93D640D}"/>
                </a:ext>
                <a:ext uri="{C183D7F6-B498-43B3-948B-1728B52AA6E4}">
                  <adec:decorative xmlns:adec="http://schemas.microsoft.com/office/drawing/2017/decorative" val="0"/>
                </a:ext>
              </a:extLst>
            </p:cNvPr>
            <p:cNvSpPr/>
            <p:nvPr/>
          </p:nvSpPr>
          <p:spPr>
            <a:xfrm>
              <a:off x="4869153" y="1543603"/>
              <a:ext cx="244428" cy="232226"/>
            </a:xfrm>
            <a:custGeom>
              <a:avLst/>
              <a:gdLst>
                <a:gd name="connsiteX0" fmla="*/ 169057 w 190488"/>
                <a:gd name="connsiteY0" fmla="*/ 0 h 180978"/>
                <a:gd name="connsiteX1" fmla="*/ 190439 w 190488"/>
                <a:gd name="connsiteY1" fmla="*/ 19964 h 180978"/>
                <a:gd name="connsiteX2" fmla="*/ 190489 w 190488"/>
                <a:gd name="connsiteY2" fmla="*/ 21431 h 180978"/>
                <a:gd name="connsiteX3" fmla="*/ 190489 w 190488"/>
                <a:gd name="connsiteY3" fmla="*/ 121466 h 180978"/>
                <a:gd name="connsiteX4" fmla="*/ 170525 w 190488"/>
                <a:gd name="connsiteY4" fmla="*/ 142847 h 180978"/>
                <a:gd name="connsiteX5" fmla="*/ 169057 w 190488"/>
                <a:gd name="connsiteY5" fmla="*/ 142897 h 180978"/>
                <a:gd name="connsiteX6" fmla="*/ 128578 w 190488"/>
                <a:gd name="connsiteY6" fmla="*/ 142894 h 180978"/>
                <a:gd name="connsiteX7" fmla="*/ 128578 w 190488"/>
                <a:gd name="connsiteY7" fmla="*/ 166688 h 180978"/>
                <a:gd name="connsiteX8" fmla="*/ 145256 w 190488"/>
                <a:gd name="connsiteY8" fmla="*/ 166691 h 180978"/>
                <a:gd name="connsiteX9" fmla="*/ 152400 w 190488"/>
                <a:gd name="connsiteY9" fmla="*/ 173835 h 180978"/>
                <a:gd name="connsiteX10" fmla="*/ 146226 w 190488"/>
                <a:gd name="connsiteY10" fmla="*/ 180914 h 180978"/>
                <a:gd name="connsiteX11" fmla="*/ 145256 w 190488"/>
                <a:gd name="connsiteY11" fmla="*/ 180979 h 180978"/>
                <a:gd name="connsiteX12" fmla="*/ 45244 w 190488"/>
                <a:gd name="connsiteY12" fmla="*/ 180979 h 180978"/>
                <a:gd name="connsiteX13" fmla="*/ 38100 w 190488"/>
                <a:gd name="connsiteY13" fmla="*/ 173835 h 180978"/>
                <a:gd name="connsiteX14" fmla="*/ 44274 w 190488"/>
                <a:gd name="connsiteY14" fmla="*/ 166757 h 180978"/>
                <a:gd name="connsiteX15" fmla="*/ 45244 w 190488"/>
                <a:gd name="connsiteY15" fmla="*/ 166691 h 180978"/>
                <a:gd name="connsiteX16" fmla="*/ 61903 w 190488"/>
                <a:gd name="connsiteY16" fmla="*/ 166688 h 180978"/>
                <a:gd name="connsiteX17" fmla="*/ 61903 w 190488"/>
                <a:gd name="connsiteY17" fmla="*/ 142894 h 180978"/>
                <a:gd name="connsiteX18" fmla="*/ 21431 w 190488"/>
                <a:gd name="connsiteY18" fmla="*/ 142897 h 180978"/>
                <a:gd name="connsiteX19" fmla="*/ 49 w 190488"/>
                <a:gd name="connsiteY19" fmla="*/ 122933 h 180978"/>
                <a:gd name="connsiteX20" fmla="*/ 0 w 190488"/>
                <a:gd name="connsiteY20" fmla="*/ 121466 h 180978"/>
                <a:gd name="connsiteX21" fmla="*/ 0 w 190488"/>
                <a:gd name="connsiteY21" fmla="*/ 21431 h 180978"/>
                <a:gd name="connsiteX22" fmla="*/ 19964 w 190488"/>
                <a:gd name="connsiteY22" fmla="*/ 49 h 180978"/>
                <a:gd name="connsiteX23" fmla="*/ 21431 w 190488"/>
                <a:gd name="connsiteY23" fmla="*/ 0 h 180978"/>
                <a:gd name="connsiteX24" fmla="*/ 169057 w 190488"/>
                <a:gd name="connsiteY24" fmla="*/ 0 h 180978"/>
                <a:gd name="connsiteX25" fmla="*/ 114281 w 190488"/>
                <a:gd name="connsiteY25" fmla="*/ 142894 h 180978"/>
                <a:gd name="connsiteX26" fmla="*/ 76181 w 190488"/>
                <a:gd name="connsiteY26" fmla="*/ 142894 h 180978"/>
                <a:gd name="connsiteX27" fmla="*/ 76190 w 190488"/>
                <a:gd name="connsiteY27" fmla="*/ 166691 h 180978"/>
                <a:gd name="connsiteX28" fmla="*/ 114290 w 190488"/>
                <a:gd name="connsiteY28" fmla="*/ 166691 h 180978"/>
                <a:gd name="connsiteX29" fmla="*/ 114281 w 190488"/>
                <a:gd name="connsiteY29" fmla="*/ 142894 h 180978"/>
                <a:gd name="connsiteX30" fmla="*/ 157203 w 190488"/>
                <a:gd name="connsiteY30" fmla="*/ 28575 h 180978"/>
                <a:gd name="connsiteX31" fmla="*/ 71438 w 190488"/>
                <a:gd name="connsiteY31" fmla="*/ 28575 h 180978"/>
                <a:gd name="connsiteX32" fmla="*/ 66675 w 190488"/>
                <a:gd name="connsiteY32" fmla="*/ 33338 h 180978"/>
                <a:gd name="connsiteX33" fmla="*/ 66675 w 190488"/>
                <a:gd name="connsiteY33" fmla="*/ 109560 h 180978"/>
                <a:gd name="connsiteX34" fmla="*/ 71438 w 190488"/>
                <a:gd name="connsiteY34" fmla="*/ 114323 h 180978"/>
                <a:gd name="connsiteX35" fmla="*/ 157203 w 190488"/>
                <a:gd name="connsiteY35" fmla="*/ 114323 h 180978"/>
                <a:gd name="connsiteX36" fmla="*/ 161966 w 190488"/>
                <a:gd name="connsiteY36" fmla="*/ 109560 h 180978"/>
                <a:gd name="connsiteX37" fmla="*/ 161966 w 190488"/>
                <a:gd name="connsiteY37" fmla="*/ 33338 h 180978"/>
                <a:gd name="connsiteX38" fmla="*/ 157203 w 190488"/>
                <a:gd name="connsiteY38" fmla="*/ 28575 h 180978"/>
                <a:gd name="connsiteX39" fmla="*/ 52381 w 190488"/>
                <a:gd name="connsiteY39" fmla="*/ 28575 h 180978"/>
                <a:gd name="connsiteX40" fmla="*/ 33332 w 190488"/>
                <a:gd name="connsiteY40" fmla="*/ 28575 h 180978"/>
                <a:gd name="connsiteX41" fmla="*/ 28569 w 190488"/>
                <a:gd name="connsiteY41" fmla="*/ 33338 h 180978"/>
                <a:gd name="connsiteX42" fmla="*/ 28569 w 190488"/>
                <a:gd name="connsiteY42" fmla="*/ 109560 h 180978"/>
                <a:gd name="connsiteX43" fmla="*/ 33332 w 190488"/>
                <a:gd name="connsiteY43" fmla="*/ 114323 h 180978"/>
                <a:gd name="connsiteX44" fmla="*/ 52381 w 190488"/>
                <a:gd name="connsiteY44" fmla="*/ 114323 h 180978"/>
                <a:gd name="connsiteX45" fmla="*/ 57144 w 190488"/>
                <a:gd name="connsiteY45" fmla="*/ 109560 h 180978"/>
                <a:gd name="connsiteX46" fmla="*/ 57144 w 190488"/>
                <a:gd name="connsiteY46" fmla="*/ 33338 h 180978"/>
                <a:gd name="connsiteX47" fmla="*/ 52381 w 190488"/>
                <a:gd name="connsiteY47" fmla="*/ 28575 h 18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90488" h="180978">
                  <a:moveTo>
                    <a:pt x="169057" y="0"/>
                  </a:moveTo>
                  <a:cubicBezTo>
                    <a:pt x="180401" y="0"/>
                    <a:pt x="189686" y="8812"/>
                    <a:pt x="190439" y="19964"/>
                  </a:cubicBezTo>
                  <a:lnTo>
                    <a:pt x="190489" y="21431"/>
                  </a:lnTo>
                  <a:lnTo>
                    <a:pt x="190489" y="121466"/>
                  </a:lnTo>
                  <a:cubicBezTo>
                    <a:pt x="190489" y="132808"/>
                    <a:pt x="181677" y="142093"/>
                    <a:pt x="170525" y="142847"/>
                  </a:cubicBezTo>
                  <a:lnTo>
                    <a:pt x="169057" y="142897"/>
                  </a:lnTo>
                  <a:lnTo>
                    <a:pt x="128578" y="142894"/>
                  </a:lnTo>
                  <a:lnTo>
                    <a:pt x="128578" y="166688"/>
                  </a:lnTo>
                  <a:lnTo>
                    <a:pt x="145256" y="166691"/>
                  </a:lnTo>
                  <a:cubicBezTo>
                    <a:pt x="149202" y="166691"/>
                    <a:pt x="152400" y="169890"/>
                    <a:pt x="152400" y="173835"/>
                  </a:cubicBezTo>
                  <a:cubicBezTo>
                    <a:pt x="152400" y="177452"/>
                    <a:pt x="149712" y="180441"/>
                    <a:pt x="146226" y="180914"/>
                  </a:cubicBezTo>
                  <a:lnTo>
                    <a:pt x="145256" y="180979"/>
                  </a:lnTo>
                  <a:lnTo>
                    <a:pt x="45244" y="180979"/>
                  </a:lnTo>
                  <a:cubicBezTo>
                    <a:pt x="41298" y="180979"/>
                    <a:pt x="38100" y="177781"/>
                    <a:pt x="38100" y="173835"/>
                  </a:cubicBezTo>
                  <a:cubicBezTo>
                    <a:pt x="38100" y="170218"/>
                    <a:pt x="40787" y="167229"/>
                    <a:pt x="44274" y="166757"/>
                  </a:cubicBezTo>
                  <a:lnTo>
                    <a:pt x="45244" y="166691"/>
                  </a:lnTo>
                  <a:lnTo>
                    <a:pt x="61903" y="166688"/>
                  </a:lnTo>
                  <a:lnTo>
                    <a:pt x="61903" y="142894"/>
                  </a:lnTo>
                  <a:lnTo>
                    <a:pt x="21431" y="142897"/>
                  </a:lnTo>
                  <a:cubicBezTo>
                    <a:pt x="10088" y="142897"/>
                    <a:pt x="804" y="134084"/>
                    <a:pt x="49" y="122933"/>
                  </a:cubicBezTo>
                  <a:lnTo>
                    <a:pt x="0" y="121466"/>
                  </a:lnTo>
                  <a:lnTo>
                    <a:pt x="0" y="21431"/>
                  </a:lnTo>
                  <a:cubicBezTo>
                    <a:pt x="0" y="10088"/>
                    <a:pt x="8812" y="804"/>
                    <a:pt x="19964" y="49"/>
                  </a:cubicBezTo>
                  <a:lnTo>
                    <a:pt x="21431" y="0"/>
                  </a:lnTo>
                  <a:lnTo>
                    <a:pt x="169057" y="0"/>
                  </a:lnTo>
                  <a:close/>
                  <a:moveTo>
                    <a:pt x="114281" y="142894"/>
                  </a:moveTo>
                  <a:lnTo>
                    <a:pt x="76181" y="142894"/>
                  </a:lnTo>
                  <a:lnTo>
                    <a:pt x="76190" y="166691"/>
                  </a:lnTo>
                  <a:lnTo>
                    <a:pt x="114290" y="166691"/>
                  </a:lnTo>
                  <a:lnTo>
                    <a:pt x="114281" y="142894"/>
                  </a:lnTo>
                  <a:close/>
                  <a:moveTo>
                    <a:pt x="157203" y="28575"/>
                  </a:moveTo>
                  <a:lnTo>
                    <a:pt x="71438" y="28575"/>
                  </a:lnTo>
                  <a:cubicBezTo>
                    <a:pt x="68807" y="28575"/>
                    <a:pt x="66675" y="30707"/>
                    <a:pt x="66675" y="33338"/>
                  </a:cubicBezTo>
                  <a:lnTo>
                    <a:pt x="66675" y="109560"/>
                  </a:lnTo>
                  <a:cubicBezTo>
                    <a:pt x="66675" y="112191"/>
                    <a:pt x="68807" y="114323"/>
                    <a:pt x="71438" y="114323"/>
                  </a:cubicBezTo>
                  <a:lnTo>
                    <a:pt x="157203" y="114323"/>
                  </a:lnTo>
                  <a:cubicBezTo>
                    <a:pt x="159833" y="114323"/>
                    <a:pt x="161966" y="112191"/>
                    <a:pt x="161966" y="109560"/>
                  </a:cubicBezTo>
                  <a:lnTo>
                    <a:pt x="161966" y="33338"/>
                  </a:lnTo>
                  <a:cubicBezTo>
                    <a:pt x="161966" y="30707"/>
                    <a:pt x="159833" y="28575"/>
                    <a:pt x="157203" y="28575"/>
                  </a:cubicBezTo>
                  <a:close/>
                  <a:moveTo>
                    <a:pt x="52381" y="28575"/>
                  </a:moveTo>
                  <a:lnTo>
                    <a:pt x="33332" y="28575"/>
                  </a:lnTo>
                  <a:cubicBezTo>
                    <a:pt x="30702" y="28575"/>
                    <a:pt x="28569" y="30707"/>
                    <a:pt x="28569" y="33338"/>
                  </a:cubicBezTo>
                  <a:lnTo>
                    <a:pt x="28569" y="109560"/>
                  </a:lnTo>
                  <a:cubicBezTo>
                    <a:pt x="28569" y="112191"/>
                    <a:pt x="30702" y="114323"/>
                    <a:pt x="33332" y="114323"/>
                  </a:cubicBezTo>
                  <a:lnTo>
                    <a:pt x="52381" y="114323"/>
                  </a:lnTo>
                  <a:cubicBezTo>
                    <a:pt x="55012" y="114323"/>
                    <a:pt x="57144" y="112191"/>
                    <a:pt x="57144" y="109560"/>
                  </a:cubicBezTo>
                  <a:lnTo>
                    <a:pt x="57144" y="33338"/>
                  </a:lnTo>
                  <a:cubicBezTo>
                    <a:pt x="57144" y="30707"/>
                    <a:pt x="55012" y="28575"/>
                    <a:pt x="52381" y="2857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8" name="Text Placeholder 6">
              <a:extLst>
                <a:ext uri="{FF2B5EF4-FFF2-40B4-BE49-F238E27FC236}">
                  <a16:creationId xmlns:a16="http://schemas.microsoft.com/office/drawing/2014/main" id="{DA40489B-A418-37D9-9074-EFEB71A310F3}"/>
                </a:ext>
              </a:extLst>
            </p:cNvPr>
            <p:cNvSpPr txBox="1">
              <a:spLocks/>
            </p:cNvSpPr>
            <p:nvPr/>
          </p:nvSpPr>
          <p:spPr>
            <a:xfrm>
              <a:off x="5758750" y="1505827"/>
              <a:ext cx="5568589" cy="307777"/>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hat is Microsoft Purview?</a:t>
              </a:r>
            </a:p>
          </p:txBody>
        </p:sp>
      </p:grpSp>
      <p:grpSp>
        <p:nvGrpSpPr>
          <p:cNvPr id="33" name="Group 32">
            <a:extLst>
              <a:ext uri="{FF2B5EF4-FFF2-40B4-BE49-F238E27FC236}">
                <a16:creationId xmlns:a16="http://schemas.microsoft.com/office/drawing/2014/main" id="{BC273E2F-43A2-4A69-6E2A-75C13C162960}"/>
              </a:ext>
            </a:extLst>
          </p:cNvPr>
          <p:cNvGrpSpPr/>
          <p:nvPr/>
        </p:nvGrpSpPr>
        <p:grpSpPr>
          <a:xfrm>
            <a:off x="4728898" y="3926907"/>
            <a:ext cx="6598441" cy="677411"/>
            <a:chOff x="4728898" y="3886899"/>
            <a:chExt cx="6598441" cy="677411"/>
          </a:xfrm>
        </p:grpSpPr>
        <p:sp>
          <p:nvSpPr>
            <p:cNvPr id="9" name="Oval 8">
              <a:extLst>
                <a:ext uri="{FF2B5EF4-FFF2-40B4-BE49-F238E27FC236}">
                  <a16:creationId xmlns:a16="http://schemas.microsoft.com/office/drawing/2014/main" id="{E4DCCBE3-7292-4E20-3E9D-DB7D3ACB5C58}"/>
                </a:ext>
                <a:ext uri="{C183D7F6-B498-43B3-948B-1728B52AA6E4}">
                  <adec:decorative xmlns:adec="http://schemas.microsoft.com/office/drawing/2017/decorative" val="1"/>
                </a:ext>
              </a:extLst>
            </p:cNvPr>
            <p:cNvSpPr>
              <a:spLocks/>
            </p:cNvSpPr>
            <p:nvPr/>
          </p:nvSpPr>
          <p:spPr bwMode="auto">
            <a:xfrm>
              <a:off x="4728898" y="3886899"/>
              <a:ext cx="524938" cy="524938"/>
            </a:xfrm>
            <a:prstGeom prst="ellipse">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1200" cap="none" spc="0" normalizeH="0" baseline="0" noProof="0">
                <a:ln>
                  <a:noFill/>
                </a:ln>
                <a:solidFill>
                  <a:srgbClr val="FFFFFF"/>
                </a:solidFill>
                <a:effectLst/>
                <a:uLnTx/>
                <a:uFillTx/>
                <a:latin typeface="Segoe UI Semibold"/>
                <a:ea typeface="+mn-ea"/>
                <a:cs typeface="+mn-cs"/>
              </a:endParaRPr>
            </a:p>
          </p:txBody>
        </p:sp>
        <p:cxnSp>
          <p:nvCxnSpPr>
            <p:cNvPr id="25" name="!!line2">
              <a:extLst>
                <a:ext uri="{FF2B5EF4-FFF2-40B4-BE49-F238E27FC236}">
                  <a16:creationId xmlns:a16="http://schemas.microsoft.com/office/drawing/2014/main" id="{A56A402E-E869-BE00-95C6-E2B2E0A1A7D1}"/>
                </a:ext>
                <a:ext uri="{C183D7F6-B498-43B3-948B-1728B52AA6E4}">
                  <adec:decorative xmlns:adec="http://schemas.microsoft.com/office/drawing/2017/decorative" val="1"/>
                </a:ext>
              </a:extLst>
            </p:cNvPr>
            <p:cNvCxnSpPr>
              <a:cxnSpLocks/>
            </p:cNvCxnSpPr>
            <p:nvPr/>
          </p:nvCxnSpPr>
          <p:spPr>
            <a:xfrm>
              <a:off x="5758750" y="4564310"/>
              <a:ext cx="5568589" cy="0"/>
            </a:xfrm>
            <a:prstGeom prst="line">
              <a:avLst/>
            </a:prstGeom>
            <a:ln w="6350" cap="rnd">
              <a:solidFill>
                <a:schemeClr val="bg1">
                  <a:lumMod val="7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55" name="Graphic 53" descr="Finger ">
              <a:extLst>
                <a:ext uri="{FF2B5EF4-FFF2-40B4-BE49-F238E27FC236}">
                  <a16:creationId xmlns:a16="http://schemas.microsoft.com/office/drawing/2014/main" id="{489034FE-5253-816A-B43A-984572DBDC4B}"/>
                </a:ext>
                <a:ext uri="{C183D7F6-B498-43B3-948B-1728B52AA6E4}">
                  <adec:decorative xmlns:adec="http://schemas.microsoft.com/office/drawing/2017/decorative" val="0"/>
                </a:ext>
              </a:extLst>
            </p:cNvPr>
            <p:cNvSpPr/>
            <p:nvPr/>
          </p:nvSpPr>
          <p:spPr>
            <a:xfrm>
              <a:off x="4869152" y="4020723"/>
              <a:ext cx="244430" cy="257290"/>
            </a:xfrm>
            <a:custGeom>
              <a:avLst/>
              <a:gdLst>
                <a:gd name="connsiteX0" fmla="*/ 90514 w 180971"/>
                <a:gd name="connsiteY0" fmla="*/ 0 h 190494"/>
                <a:gd name="connsiteX1" fmla="*/ 66702 w 180971"/>
                <a:gd name="connsiteY1" fmla="*/ 23813 h 190494"/>
                <a:gd name="connsiteX2" fmla="*/ 66702 w 180971"/>
                <a:gd name="connsiteY2" fmla="*/ 84870 h 190494"/>
                <a:gd name="connsiteX3" fmla="*/ 52467 w 180971"/>
                <a:gd name="connsiteY3" fmla="*/ 79397 h 190494"/>
                <a:gd name="connsiteX4" fmla="*/ 1195 w 180971"/>
                <a:gd name="connsiteY4" fmla="*/ 98409 h 190494"/>
                <a:gd name="connsiteX5" fmla="*/ 6076 w 180971"/>
                <a:gd name="connsiteY5" fmla="*/ 112350 h 190494"/>
                <a:gd name="connsiteX6" fmla="*/ 84080 w 180971"/>
                <a:gd name="connsiteY6" fmla="*/ 172257 h 190494"/>
                <a:gd name="connsiteX7" fmla="*/ 114297 w 180971"/>
                <a:gd name="connsiteY7" fmla="*/ 190185 h 190494"/>
                <a:gd name="connsiteX8" fmla="*/ 147211 w 180971"/>
                <a:gd name="connsiteY8" fmla="*/ 185112 h 190494"/>
                <a:gd name="connsiteX9" fmla="*/ 168640 w 180971"/>
                <a:gd name="connsiteY9" fmla="*/ 165547 h 190494"/>
                <a:gd name="connsiteX10" fmla="*/ 179619 w 180971"/>
                <a:gd name="connsiteY10" fmla="*/ 121417 h 190494"/>
                <a:gd name="connsiteX11" fmla="*/ 142740 w 180971"/>
                <a:gd name="connsiteY11" fmla="*/ 65799 h 190494"/>
                <a:gd name="connsiteX12" fmla="*/ 114327 w 180971"/>
                <a:gd name="connsiteY12" fmla="*/ 61333 h 190494"/>
                <a:gd name="connsiteX13" fmla="*/ 114327 w 180971"/>
                <a:gd name="connsiteY13" fmla="*/ 23813 h 190494"/>
                <a:gd name="connsiteX14" fmla="*/ 90514 w 180971"/>
                <a:gd name="connsiteY14" fmla="*/ 0 h 19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0971" h="190494">
                  <a:moveTo>
                    <a:pt x="90514" y="0"/>
                  </a:moveTo>
                  <a:cubicBezTo>
                    <a:pt x="77363" y="0"/>
                    <a:pt x="66702" y="10661"/>
                    <a:pt x="66702" y="23813"/>
                  </a:cubicBezTo>
                  <a:lnTo>
                    <a:pt x="66702" y="84870"/>
                  </a:lnTo>
                  <a:lnTo>
                    <a:pt x="52467" y="79397"/>
                  </a:lnTo>
                  <a:cubicBezTo>
                    <a:pt x="33027" y="71923"/>
                    <a:pt x="11063" y="80068"/>
                    <a:pt x="1195" y="98409"/>
                  </a:cubicBezTo>
                  <a:cubicBezTo>
                    <a:pt x="-1667" y="103730"/>
                    <a:pt x="868" y="110092"/>
                    <a:pt x="6076" y="112350"/>
                  </a:cubicBezTo>
                  <a:cubicBezTo>
                    <a:pt x="60002" y="135745"/>
                    <a:pt x="77078" y="156858"/>
                    <a:pt x="84080" y="172257"/>
                  </a:cubicBezTo>
                  <a:cubicBezTo>
                    <a:pt x="89091" y="183275"/>
                    <a:pt x="100560" y="192301"/>
                    <a:pt x="114297" y="190185"/>
                  </a:cubicBezTo>
                  <a:lnTo>
                    <a:pt x="147211" y="185112"/>
                  </a:lnTo>
                  <a:cubicBezTo>
                    <a:pt x="157644" y="183504"/>
                    <a:pt x="166092" y="175791"/>
                    <a:pt x="168640" y="165547"/>
                  </a:cubicBezTo>
                  <a:lnTo>
                    <a:pt x="179619" y="121417"/>
                  </a:lnTo>
                  <a:cubicBezTo>
                    <a:pt x="186030" y="95647"/>
                    <a:pt x="168973" y="69923"/>
                    <a:pt x="142740" y="65799"/>
                  </a:cubicBezTo>
                  <a:lnTo>
                    <a:pt x="114327" y="61333"/>
                  </a:lnTo>
                  <a:lnTo>
                    <a:pt x="114327" y="23813"/>
                  </a:lnTo>
                  <a:cubicBezTo>
                    <a:pt x="114327" y="10661"/>
                    <a:pt x="103666" y="0"/>
                    <a:pt x="9051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21" name="Text Placeholder 6">
              <a:extLst>
                <a:ext uri="{FF2B5EF4-FFF2-40B4-BE49-F238E27FC236}">
                  <a16:creationId xmlns:a16="http://schemas.microsoft.com/office/drawing/2014/main" id="{66263ECB-B773-85CF-5F5D-E0BE4C21794D}"/>
                </a:ext>
              </a:extLst>
            </p:cNvPr>
            <p:cNvSpPr txBox="1">
              <a:spLocks/>
            </p:cNvSpPr>
            <p:nvPr/>
          </p:nvSpPr>
          <p:spPr>
            <a:xfrm>
              <a:off x="5758750" y="3995479"/>
              <a:ext cx="5568589" cy="307777"/>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lang="en-US" sz="2000">
                  <a:solidFill>
                    <a:srgbClr val="000000"/>
                  </a:solidFill>
                  <a:latin typeface="Segoe UI"/>
                </a:rPr>
                <a:t>Extending Microsoft Purview for all AI</a:t>
              </a:r>
            </a:p>
          </p:txBody>
        </p:sp>
      </p:grpSp>
      <p:grpSp>
        <p:nvGrpSpPr>
          <p:cNvPr id="35" name="Group 34">
            <a:extLst>
              <a:ext uri="{FF2B5EF4-FFF2-40B4-BE49-F238E27FC236}">
                <a16:creationId xmlns:a16="http://schemas.microsoft.com/office/drawing/2014/main" id="{FBCB878B-6270-2F17-F897-23E75A94813B}"/>
              </a:ext>
            </a:extLst>
          </p:cNvPr>
          <p:cNvGrpSpPr/>
          <p:nvPr/>
        </p:nvGrpSpPr>
        <p:grpSpPr>
          <a:xfrm>
            <a:off x="4728898" y="5595830"/>
            <a:ext cx="6598440" cy="524938"/>
            <a:chOff x="4728898" y="5522195"/>
            <a:chExt cx="6598440" cy="524938"/>
          </a:xfrm>
        </p:grpSpPr>
        <p:sp>
          <p:nvSpPr>
            <p:cNvPr id="32" name="Oval 31">
              <a:extLst>
                <a:ext uri="{FF2B5EF4-FFF2-40B4-BE49-F238E27FC236}">
                  <a16:creationId xmlns:a16="http://schemas.microsoft.com/office/drawing/2014/main" id="{E61B2B70-D2EF-62DF-6143-1F5580D60257}"/>
                </a:ext>
                <a:ext uri="{C183D7F6-B498-43B3-948B-1728B52AA6E4}">
                  <adec:decorative xmlns:adec="http://schemas.microsoft.com/office/drawing/2017/decorative" val="1"/>
                </a:ext>
              </a:extLst>
            </p:cNvPr>
            <p:cNvSpPr>
              <a:spLocks/>
            </p:cNvSpPr>
            <p:nvPr/>
          </p:nvSpPr>
          <p:spPr bwMode="auto">
            <a:xfrm>
              <a:off x="4728898" y="5522195"/>
              <a:ext cx="524938" cy="524938"/>
            </a:xfrm>
            <a:prstGeom prst="ellipse">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67" name="Graphic 65" descr="Wrap">
              <a:extLst>
                <a:ext uri="{FF2B5EF4-FFF2-40B4-BE49-F238E27FC236}">
                  <a16:creationId xmlns:a16="http://schemas.microsoft.com/office/drawing/2014/main" id="{D519F04E-9365-B27C-2869-E6CF3927C722}"/>
                </a:ext>
                <a:ext uri="{C183D7F6-B498-43B3-948B-1728B52AA6E4}">
                  <adec:decorative xmlns:adec="http://schemas.microsoft.com/office/drawing/2017/decorative" val="0"/>
                </a:ext>
              </a:extLst>
            </p:cNvPr>
            <p:cNvSpPr/>
            <p:nvPr/>
          </p:nvSpPr>
          <p:spPr>
            <a:xfrm>
              <a:off x="4857911" y="5682984"/>
              <a:ext cx="266912" cy="203360"/>
            </a:xfrm>
            <a:custGeom>
              <a:avLst/>
              <a:gdLst>
                <a:gd name="connsiteX0" fmla="*/ 0 w 200025"/>
                <a:gd name="connsiteY0" fmla="*/ 9525 h 152399"/>
                <a:gd name="connsiteX1" fmla="*/ 9525 w 200025"/>
                <a:gd name="connsiteY1" fmla="*/ 0 h 152399"/>
                <a:gd name="connsiteX2" fmla="*/ 180975 w 200025"/>
                <a:gd name="connsiteY2" fmla="*/ 0 h 152399"/>
                <a:gd name="connsiteX3" fmla="*/ 190500 w 200025"/>
                <a:gd name="connsiteY3" fmla="*/ 9525 h 152399"/>
                <a:gd name="connsiteX4" fmla="*/ 180975 w 200025"/>
                <a:gd name="connsiteY4" fmla="*/ 19050 h 152399"/>
                <a:gd name="connsiteX5" fmla="*/ 9525 w 200025"/>
                <a:gd name="connsiteY5" fmla="*/ 19050 h 152399"/>
                <a:gd name="connsiteX6" fmla="*/ 0 w 200025"/>
                <a:gd name="connsiteY6" fmla="*/ 9525 h 152399"/>
                <a:gd name="connsiteX7" fmla="*/ 9525 w 200025"/>
                <a:gd name="connsiteY7" fmla="*/ 114300 h 152399"/>
                <a:gd name="connsiteX8" fmla="*/ 0 w 200025"/>
                <a:gd name="connsiteY8" fmla="*/ 123825 h 152399"/>
                <a:gd name="connsiteX9" fmla="*/ 9525 w 200025"/>
                <a:gd name="connsiteY9" fmla="*/ 133350 h 152399"/>
                <a:gd name="connsiteX10" fmla="*/ 66675 w 200025"/>
                <a:gd name="connsiteY10" fmla="*/ 133350 h 152399"/>
                <a:gd name="connsiteX11" fmla="*/ 76200 w 200025"/>
                <a:gd name="connsiteY11" fmla="*/ 123825 h 152399"/>
                <a:gd name="connsiteX12" fmla="*/ 66675 w 200025"/>
                <a:gd name="connsiteY12" fmla="*/ 114300 h 152399"/>
                <a:gd name="connsiteX13" fmla="*/ 9525 w 200025"/>
                <a:gd name="connsiteY13" fmla="*/ 114300 h 152399"/>
                <a:gd name="connsiteX14" fmla="*/ 127770 w 200025"/>
                <a:gd name="connsiteY14" fmla="*/ 114300 h 152399"/>
                <a:gd name="connsiteX15" fmla="*/ 161925 w 200025"/>
                <a:gd name="connsiteY15" fmla="*/ 114300 h 152399"/>
                <a:gd name="connsiteX16" fmla="*/ 180975 w 200025"/>
                <a:gd name="connsiteY16" fmla="*/ 95250 h 152399"/>
                <a:gd name="connsiteX17" fmla="*/ 161925 w 200025"/>
                <a:gd name="connsiteY17" fmla="*/ 76200 h 152399"/>
                <a:gd name="connsiteX18" fmla="*/ 9525 w 200025"/>
                <a:gd name="connsiteY18" fmla="*/ 76200 h 152399"/>
                <a:gd name="connsiteX19" fmla="*/ 0 w 200025"/>
                <a:gd name="connsiteY19" fmla="*/ 66675 h 152399"/>
                <a:gd name="connsiteX20" fmla="*/ 9525 w 200025"/>
                <a:gd name="connsiteY20" fmla="*/ 57150 h 152399"/>
                <a:gd name="connsiteX21" fmla="*/ 161925 w 200025"/>
                <a:gd name="connsiteY21" fmla="*/ 57150 h 152399"/>
                <a:gd name="connsiteX22" fmla="*/ 200025 w 200025"/>
                <a:gd name="connsiteY22" fmla="*/ 95250 h 152399"/>
                <a:gd name="connsiteX23" fmla="*/ 161925 w 200025"/>
                <a:gd name="connsiteY23" fmla="*/ 133350 h 152399"/>
                <a:gd name="connsiteX24" fmla="*/ 127770 w 200025"/>
                <a:gd name="connsiteY24" fmla="*/ 133350 h 152399"/>
                <a:gd name="connsiteX25" fmla="*/ 130560 w 200025"/>
                <a:gd name="connsiteY25" fmla="*/ 136140 h 152399"/>
                <a:gd name="connsiteX26" fmla="*/ 130560 w 200025"/>
                <a:gd name="connsiteY26" fmla="*/ 149610 h 152399"/>
                <a:gd name="connsiteX27" fmla="*/ 117090 w 200025"/>
                <a:gd name="connsiteY27" fmla="*/ 149610 h 152399"/>
                <a:gd name="connsiteX28" fmla="*/ 98040 w 200025"/>
                <a:gd name="connsiteY28" fmla="*/ 130560 h 152399"/>
                <a:gd name="connsiteX29" fmla="*/ 98040 w 200025"/>
                <a:gd name="connsiteY29" fmla="*/ 117090 h 152399"/>
                <a:gd name="connsiteX30" fmla="*/ 117090 w 200025"/>
                <a:gd name="connsiteY30" fmla="*/ 98040 h 152399"/>
                <a:gd name="connsiteX31" fmla="*/ 130560 w 200025"/>
                <a:gd name="connsiteY31" fmla="*/ 98040 h 152399"/>
                <a:gd name="connsiteX32" fmla="*/ 130560 w 200025"/>
                <a:gd name="connsiteY32" fmla="*/ 111510 h 152399"/>
                <a:gd name="connsiteX33" fmla="*/ 127770 w 200025"/>
                <a:gd name="connsiteY33" fmla="*/ 114300 h 152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152399">
                  <a:moveTo>
                    <a:pt x="0" y="9525"/>
                  </a:moveTo>
                  <a:cubicBezTo>
                    <a:pt x="0" y="4265"/>
                    <a:pt x="4265" y="0"/>
                    <a:pt x="9525" y="0"/>
                  </a:cubicBezTo>
                  <a:lnTo>
                    <a:pt x="180975" y="0"/>
                  </a:lnTo>
                  <a:cubicBezTo>
                    <a:pt x="186236" y="0"/>
                    <a:pt x="190500" y="4265"/>
                    <a:pt x="190500" y="9525"/>
                  </a:cubicBezTo>
                  <a:cubicBezTo>
                    <a:pt x="190500" y="14785"/>
                    <a:pt x="186236" y="19050"/>
                    <a:pt x="180975" y="19050"/>
                  </a:cubicBezTo>
                  <a:lnTo>
                    <a:pt x="9525" y="19050"/>
                  </a:lnTo>
                  <a:cubicBezTo>
                    <a:pt x="4265" y="19050"/>
                    <a:pt x="0" y="14785"/>
                    <a:pt x="0" y="9525"/>
                  </a:cubicBezTo>
                  <a:close/>
                  <a:moveTo>
                    <a:pt x="9525" y="114300"/>
                  </a:moveTo>
                  <a:cubicBezTo>
                    <a:pt x="4265" y="114300"/>
                    <a:pt x="0" y="118564"/>
                    <a:pt x="0" y="123825"/>
                  </a:cubicBezTo>
                  <a:cubicBezTo>
                    <a:pt x="0" y="129086"/>
                    <a:pt x="4265" y="133350"/>
                    <a:pt x="9525" y="133350"/>
                  </a:cubicBezTo>
                  <a:lnTo>
                    <a:pt x="66675" y="133350"/>
                  </a:lnTo>
                  <a:cubicBezTo>
                    <a:pt x="71935" y="133350"/>
                    <a:pt x="76200" y="129086"/>
                    <a:pt x="76200" y="123825"/>
                  </a:cubicBezTo>
                  <a:cubicBezTo>
                    <a:pt x="76200" y="118564"/>
                    <a:pt x="71935" y="114300"/>
                    <a:pt x="66675" y="114300"/>
                  </a:cubicBezTo>
                  <a:lnTo>
                    <a:pt x="9525" y="114300"/>
                  </a:lnTo>
                  <a:close/>
                  <a:moveTo>
                    <a:pt x="127770" y="114300"/>
                  </a:moveTo>
                  <a:lnTo>
                    <a:pt x="161925" y="114300"/>
                  </a:lnTo>
                  <a:cubicBezTo>
                    <a:pt x="172446" y="114300"/>
                    <a:pt x="180975" y="105771"/>
                    <a:pt x="180975" y="95250"/>
                  </a:cubicBezTo>
                  <a:cubicBezTo>
                    <a:pt x="180975" y="84729"/>
                    <a:pt x="172446" y="76200"/>
                    <a:pt x="161925" y="76200"/>
                  </a:cubicBezTo>
                  <a:lnTo>
                    <a:pt x="9525" y="76200"/>
                  </a:lnTo>
                  <a:cubicBezTo>
                    <a:pt x="4265" y="76200"/>
                    <a:pt x="0" y="71936"/>
                    <a:pt x="0" y="66675"/>
                  </a:cubicBezTo>
                  <a:cubicBezTo>
                    <a:pt x="0" y="61414"/>
                    <a:pt x="4265" y="57150"/>
                    <a:pt x="9525" y="57150"/>
                  </a:cubicBezTo>
                  <a:lnTo>
                    <a:pt x="161925" y="57150"/>
                  </a:lnTo>
                  <a:cubicBezTo>
                    <a:pt x="182967" y="57150"/>
                    <a:pt x="200025" y="74208"/>
                    <a:pt x="200025" y="95250"/>
                  </a:cubicBezTo>
                  <a:cubicBezTo>
                    <a:pt x="200025" y="116292"/>
                    <a:pt x="182967" y="133350"/>
                    <a:pt x="161925" y="133350"/>
                  </a:cubicBezTo>
                  <a:lnTo>
                    <a:pt x="127770" y="133350"/>
                  </a:lnTo>
                  <a:lnTo>
                    <a:pt x="130560" y="136140"/>
                  </a:lnTo>
                  <a:cubicBezTo>
                    <a:pt x="134280" y="139859"/>
                    <a:pt x="134280" y="145891"/>
                    <a:pt x="130560" y="149610"/>
                  </a:cubicBezTo>
                  <a:cubicBezTo>
                    <a:pt x="126841" y="153330"/>
                    <a:pt x="120809" y="153330"/>
                    <a:pt x="117090" y="149610"/>
                  </a:cubicBezTo>
                  <a:lnTo>
                    <a:pt x="98040" y="130560"/>
                  </a:lnTo>
                  <a:cubicBezTo>
                    <a:pt x="94320" y="126841"/>
                    <a:pt x="94320" y="120809"/>
                    <a:pt x="98040" y="117090"/>
                  </a:cubicBezTo>
                  <a:lnTo>
                    <a:pt x="117090" y="98040"/>
                  </a:lnTo>
                  <a:cubicBezTo>
                    <a:pt x="120809" y="94320"/>
                    <a:pt x="126841" y="94320"/>
                    <a:pt x="130560" y="98040"/>
                  </a:cubicBezTo>
                  <a:cubicBezTo>
                    <a:pt x="134280" y="101759"/>
                    <a:pt x="134280" y="107791"/>
                    <a:pt x="130560" y="111510"/>
                  </a:cubicBezTo>
                  <a:lnTo>
                    <a:pt x="127770" y="11430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23" name="Text Placeholder 6">
              <a:extLst>
                <a:ext uri="{FF2B5EF4-FFF2-40B4-BE49-F238E27FC236}">
                  <a16:creationId xmlns:a16="http://schemas.microsoft.com/office/drawing/2014/main" id="{614CBEDC-A67B-F43B-E12E-1858F90EF0EA}"/>
                </a:ext>
              </a:extLst>
            </p:cNvPr>
            <p:cNvSpPr txBox="1">
              <a:spLocks/>
            </p:cNvSpPr>
            <p:nvPr/>
          </p:nvSpPr>
          <p:spPr>
            <a:xfrm>
              <a:off x="5758749" y="5624895"/>
              <a:ext cx="5568589" cy="307777"/>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Partner Showcase &amp; Closing </a:t>
              </a:r>
            </a:p>
          </p:txBody>
        </p:sp>
      </p:grpSp>
      <p:grpSp>
        <p:nvGrpSpPr>
          <p:cNvPr id="34" name="Group 33">
            <a:extLst>
              <a:ext uri="{FF2B5EF4-FFF2-40B4-BE49-F238E27FC236}">
                <a16:creationId xmlns:a16="http://schemas.microsoft.com/office/drawing/2014/main" id="{8CF16D2F-36E5-B98C-A127-BFD2DC452CC4}"/>
              </a:ext>
            </a:extLst>
          </p:cNvPr>
          <p:cNvGrpSpPr/>
          <p:nvPr/>
        </p:nvGrpSpPr>
        <p:grpSpPr>
          <a:xfrm>
            <a:off x="4728898" y="4766793"/>
            <a:ext cx="6598441" cy="666561"/>
            <a:chOff x="4728898" y="4716785"/>
            <a:chExt cx="6598441" cy="666561"/>
          </a:xfrm>
        </p:grpSpPr>
        <p:cxnSp>
          <p:nvCxnSpPr>
            <p:cNvPr id="2" name="!!line2">
              <a:extLst>
                <a:ext uri="{FF2B5EF4-FFF2-40B4-BE49-F238E27FC236}">
                  <a16:creationId xmlns:a16="http://schemas.microsoft.com/office/drawing/2014/main" id="{8F709BB6-BA2D-74EB-8E75-A1E9E36AFC03}"/>
                </a:ext>
                <a:ext uri="{C183D7F6-B498-43B3-948B-1728B52AA6E4}">
                  <adec:decorative xmlns:adec="http://schemas.microsoft.com/office/drawing/2017/decorative" val="1"/>
                </a:ext>
              </a:extLst>
            </p:cNvPr>
            <p:cNvCxnSpPr>
              <a:cxnSpLocks/>
            </p:cNvCxnSpPr>
            <p:nvPr/>
          </p:nvCxnSpPr>
          <p:spPr>
            <a:xfrm>
              <a:off x="5758750" y="5383346"/>
              <a:ext cx="5568589" cy="0"/>
            </a:xfrm>
            <a:prstGeom prst="line">
              <a:avLst/>
            </a:prstGeom>
            <a:ln w="6350" cap="rnd">
              <a:solidFill>
                <a:schemeClr val="bg1">
                  <a:lumMod val="7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DD42B64A-BE0C-1ED1-3287-B4B6C64F3616}"/>
                </a:ext>
                <a:ext uri="{C183D7F6-B498-43B3-948B-1728B52AA6E4}">
                  <adec:decorative xmlns:adec="http://schemas.microsoft.com/office/drawing/2017/decorative" val="1"/>
                </a:ext>
              </a:extLst>
            </p:cNvPr>
            <p:cNvSpPr>
              <a:spLocks/>
            </p:cNvSpPr>
            <p:nvPr/>
          </p:nvSpPr>
          <p:spPr bwMode="auto">
            <a:xfrm>
              <a:off x="4728898" y="4716785"/>
              <a:ext cx="524938" cy="524938"/>
            </a:xfrm>
            <a:prstGeom prst="ellipse">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0" name="Graphic 53" descr="Finger ">
              <a:extLst>
                <a:ext uri="{FF2B5EF4-FFF2-40B4-BE49-F238E27FC236}">
                  <a16:creationId xmlns:a16="http://schemas.microsoft.com/office/drawing/2014/main" id="{8CD279B6-4F4E-9ED9-66F0-B5BE53B919B2}"/>
                </a:ext>
                <a:ext uri="{C183D7F6-B498-43B3-948B-1728B52AA6E4}">
                  <adec:decorative xmlns:adec="http://schemas.microsoft.com/office/drawing/2017/decorative" val="0"/>
                </a:ext>
              </a:extLst>
            </p:cNvPr>
            <p:cNvSpPr/>
            <p:nvPr/>
          </p:nvSpPr>
          <p:spPr>
            <a:xfrm>
              <a:off x="4869152" y="4850609"/>
              <a:ext cx="244430" cy="257290"/>
            </a:xfrm>
            <a:custGeom>
              <a:avLst/>
              <a:gdLst>
                <a:gd name="connsiteX0" fmla="*/ 90514 w 180971"/>
                <a:gd name="connsiteY0" fmla="*/ 0 h 190494"/>
                <a:gd name="connsiteX1" fmla="*/ 66702 w 180971"/>
                <a:gd name="connsiteY1" fmla="*/ 23813 h 190494"/>
                <a:gd name="connsiteX2" fmla="*/ 66702 w 180971"/>
                <a:gd name="connsiteY2" fmla="*/ 84870 h 190494"/>
                <a:gd name="connsiteX3" fmla="*/ 52467 w 180971"/>
                <a:gd name="connsiteY3" fmla="*/ 79397 h 190494"/>
                <a:gd name="connsiteX4" fmla="*/ 1195 w 180971"/>
                <a:gd name="connsiteY4" fmla="*/ 98409 h 190494"/>
                <a:gd name="connsiteX5" fmla="*/ 6076 w 180971"/>
                <a:gd name="connsiteY5" fmla="*/ 112350 h 190494"/>
                <a:gd name="connsiteX6" fmla="*/ 84080 w 180971"/>
                <a:gd name="connsiteY6" fmla="*/ 172257 h 190494"/>
                <a:gd name="connsiteX7" fmla="*/ 114297 w 180971"/>
                <a:gd name="connsiteY7" fmla="*/ 190185 h 190494"/>
                <a:gd name="connsiteX8" fmla="*/ 147211 w 180971"/>
                <a:gd name="connsiteY8" fmla="*/ 185112 h 190494"/>
                <a:gd name="connsiteX9" fmla="*/ 168640 w 180971"/>
                <a:gd name="connsiteY9" fmla="*/ 165547 h 190494"/>
                <a:gd name="connsiteX10" fmla="*/ 179619 w 180971"/>
                <a:gd name="connsiteY10" fmla="*/ 121417 h 190494"/>
                <a:gd name="connsiteX11" fmla="*/ 142740 w 180971"/>
                <a:gd name="connsiteY11" fmla="*/ 65799 h 190494"/>
                <a:gd name="connsiteX12" fmla="*/ 114327 w 180971"/>
                <a:gd name="connsiteY12" fmla="*/ 61333 h 190494"/>
                <a:gd name="connsiteX13" fmla="*/ 114327 w 180971"/>
                <a:gd name="connsiteY13" fmla="*/ 23813 h 190494"/>
                <a:gd name="connsiteX14" fmla="*/ 90514 w 180971"/>
                <a:gd name="connsiteY14" fmla="*/ 0 h 19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0971" h="190494">
                  <a:moveTo>
                    <a:pt x="90514" y="0"/>
                  </a:moveTo>
                  <a:cubicBezTo>
                    <a:pt x="77363" y="0"/>
                    <a:pt x="66702" y="10661"/>
                    <a:pt x="66702" y="23813"/>
                  </a:cubicBezTo>
                  <a:lnTo>
                    <a:pt x="66702" y="84870"/>
                  </a:lnTo>
                  <a:lnTo>
                    <a:pt x="52467" y="79397"/>
                  </a:lnTo>
                  <a:cubicBezTo>
                    <a:pt x="33027" y="71923"/>
                    <a:pt x="11063" y="80068"/>
                    <a:pt x="1195" y="98409"/>
                  </a:cubicBezTo>
                  <a:cubicBezTo>
                    <a:pt x="-1667" y="103730"/>
                    <a:pt x="868" y="110092"/>
                    <a:pt x="6076" y="112350"/>
                  </a:cubicBezTo>
                  <a:cubicBezTo>
                    <a:pt x="60002" y="135745"/>
                    <a:pt x="77078" y="156858"/>
                    <a:pt x="84080" y="172257"/>
                  </a:cubicBezTo>
                  <a:cubicBezTo>
                    <a:pt x="89091" y="183275"/>
                    <a:pt x="100560" y="192301"/>
                    <a:pt x="114297" y="190185"/>
                  </a:cubicBezTo>
                  <a:lnTo>
                    <a:pt x="147211" y="185112"/>
                  </a:lnTo>
                  <a:cubicBezTo>
                    <a:pt x="157644" y="183504"/>
                    <a:pt x="166092" y="175791"/>
                    <a:pt x="168640" y="165547"/>
                  </a:cubicBezTo>
                  <a:lnTo>
                    <a:pt x="179619" y="121417"/>
                  </a:lnTo>
                  <a:cubicBezTo>
                    <a:pt x="186030" y="95647"/>
                    <a:pt x="168973" y="69923"/>
                    <a:pt x="142740" y="65799"/>
                  </a:cubicBezTo>
                  <a:lnTo>
                    <a:pt x="114327" y="61333"/>
                  </a:lnTo>
                  <a:lnTo>
                    <a:pt x="114327" y="23813"/>
                  </a:lnTo>
                  <a:cubicBezTo>
                    <a:pt x="114327" y="10661"/>
                    <a:pt x="103666" y="0"/>
                    <a:pt x="9051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1" name="Text Placeholder 6">
              <a:extLst>
                <a:ext uri="{FF2B5EF4-FFF2-40B4-BE49-F238E27FC236}">
                  <a16:creationId xmlns:a16="http://schemas.microsoft.com/office/drawing/2014/main" id="{FC2994F1-8D9D-C82A-300E-20CF5D55C568}"/>
                </a:ext>
              </a:extLst>
            </p:cNvPr>
            <p:cNvSpPr txBox="1">
              <a:spLocks/>
            </p:cNvSpPr>
            <p:nvPr/>
          </p:nvSpPr>
          <p:spPr>
            <a:xfrm>
              <a:off x="5758750" y="4825365"/>
              <a:ext cx="5568589" cy="307777"/>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lang="en-US" sz="2000">
                  <a:solidFill>
                    <a:srgbClr val="000000"/>
                  </a:solidFill>
                  <a:latin typeface="Segoe UI"/>
                </a:rPr>
                <a:t>Guest speaker:  Microsoft’s own tenant approach</a:t>
              </a:r>
            </a:p>
          </p:txBody>
        </p:sp>
      </p:grpSp>
      <p:grpSp>
        <p:nvGrpSpPr>
          <p:cNvPr id="27" name="Group 26">
            <a:extLst>
              <a:ext uri="{FF2B5EF4-FFF2-40B4-BE49-F238E27FC236}">
                <a16:creationId xmlns:a16="http://schemas.microsoft.com/office/drawing/2014/main" id="{C6603B46-6D13-591F-D703-A4E4A5AEB867}"/>
              </a:ext>
            </a:extLst>
          </p:cNvPr>
          <p:cNvGrpSpPr/>
          <p:nvPr/>
        </p:nvGrpSpPr>
        <p:grpSpPr>
          <a:xfrm>
            <a:off x="4728898" y="2247135"/>
            <a:ext cx="6598441" cy="677411"/>
            <a:chOff x="4728898" y="2227131"/>
            <a:chExt cx="6598441" cy="677411"/>
          </a:xfrm>
        </p:grpSpPr>
        <p:sp>
          <p:nvSpPr>
            <p:cNvPr id="8" name="Oval 7">
              <a:extLst>
                <a:ext uri="{FF2B5EF4-FFF2-40B4-BE49-F238E27FC236}">
                  <a16:creationId xmlns:a16="http://schemas.microsoft.com/office/drawing/2014/main" id="{FB45DCAE-3F65-14D7-6061-D3EE11CDEF00}"/>
                </a:ext>
                <a:ext uri="{C183D7F6-B498-43B3-948B-1728B52AA6E4}">
                  <adec:decorative xmlns:adec="http://schemas.microsoft.com/office/drawing/2017/decorative" val="1"/>
                </a:ext>
              </a:extLst>
            </p:cNvPr>
            <p:cNvSpPr>
              <a:spLocks/>
            </p:cNvSpPr>
            <p:nvPr/>
          </p:nvSpPr>
          <p:spPr bwMode="auto">
            <a:xfrm>
              <a:off x="4728898" y="2227131"/>
              <a:ext cx="524938" cy="524938"/>
            </a:xfrm>
            <a:prstGeom prst="ellipse">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1200" cap="none" spc="0" normalizeH="0" baseline="0" noProof="0">
                <a:ln>
                  <a:noFill/>
                </a:ln>
                <a:solidFill>
                  <a:srgbClr val="FFFFFF"/>
                </a:solidFill>
                <a:effectLst/>
                <a:uLnTx/>
                <a:uFillTx/>
                <a:latin typeface="Segoe UI Semibold"/>
                <a:ea typeface="+mn-ea"/>
                <a:cs typeface="+mn-cs"/>
              </a:endParaRPr>
            </a:p>
          </p:txBody>
        </p:sp>
        <p:cxnSp>
          <p:nvCxnSpPr>
            <p:cNvPr id="29" name="!!line2">
              <a:extLst>
                <a:ext uri="{FF2B5EF4-FFF2-40B4-BE49-F238E27FC236}">
                  <a16:creationId xmlns:a16="http://schemas.microsoft.com/office/drawing/2014/main" id="{32428C47-872B-9D39-CE0F-916C0CD4874D}"/>
                </a:ext>
                <a:ext uri="{C183D7F6-B498-43B3-948B-1728B52AA6E4}">
                  <adec:decorative xmlns:adec="http://schemas.microsoft.com/office/drawing/2017/decorative" val="1"/>
                </a:ext>
              </a:extLst>
            </p:cNvPr>
            <p:cNvCxnSpPr>
              <a:cxnSpLocks/>
            </p:cNvCxnSpPr>
            <p:nvPr/>
          </p:nvCxnSpPr>
          <p:spPr>
            <a:xfrm>
              <a:off x="5758750" y="2904542"/>
              <a:ext cx="5568589" cy="0"/>
            </a:xfrm>
            <a:prstGeom prst="line">
              <a:avLst/>
            </a:prstGeom>
            <a:ln w="6350" cap="rnd">
              <a:solidFill>
                <a:schemeClr val="bg1">
                  <a:lumMod val="7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19" name="Text Placeholder 6">
              <a:extLst>
                <a:ext uri="{FF2B5EF4-FFF2-40B4-BE49-F238E27FC236}">
                  <a16:creationId xmlns:a16="http://schemas.microsoft.com/office/drawing/2014/main" id="{12F9B729-F6FB-A76E-39AA-9817CF6B7362}"/>
                </a:ext>
              </a:extLst>
            </p:cNvPr>
            <p:cNvSpPr txBox="1">
              <a:spLocks/>
            </p:cNvSpPr>
            <p:nvPr/>
          </p:nvSpPr>
          <p:spPr>
            <a:xfrm>
              <a:off x="5758750" y="2335711"/>
              <a:ext cx="5568589" cy="307777"/>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lang="en-US" sz="2000">
                  <a:solidFill>
                    <a:srgbClr val="000000"/>
                  </a:solidFill>
                  <a:latin typeface="Segoe UI"/>
                </a:rPr>
                <a:t>Microsoft 365 Copilot + Microsoft Purview</a:t>
              </a:r>
            </a:p>
          </p:txBody>
        </p:sp>
        <p:sp>
          <p:nvSpPr>
            <p:cNvPr id="12" name="Graphic 53" descr="Finger ">
              <a:extLst>
                <a:ext uri="{FF2B5EF4-FFF2-40B4-BE49-F238E27FC236}">
                  <a16:creationId xmlns:a16="http://schemas.microsoft.com/office/drawing/2014/main" id="{57AF7AAC-EF76-4098-63BD-C88D3720AA3B}"/>
                </a:ext>
                <a:ext uri="{C183D7F6-B498-43B3-948B-1728B52AA6E4}">
                  <adec:decorative xmlns:adec="http://schemas.microsoft.com/office/drawing/2017/decorative" val="0"/>
                </a:ext>
              </a:extLst>
            </p:cNvPr>
            <p:cNvSpPr/>
            <p:nvPr/>
          </p:nvSpPr>
          <p:spPr>
            <a:xfrm>
              <a:off x="4848528" y="2360954"/>
              <a:ext cx="244430" cy="257290"/>
            </a:xfrm>
            <a:custGeom>
              <a:avLst/>
              <a:gdLst>
                <a:gd name="connsiteX0" fmla="*/ 90514 w 180971"/>
                <a:gd name="connsiteY0" fmla="*/ 0 h 190494"/>
                <a:gd name="connsiteX1" fmla="*/ 66702 w 180971"/>
                <a:gd name="connsiteY1" fmla="*/ 23813 h 190494"/>
                <a:gd name="connsiteX2" fmla="*/ 66702 w 180971"/>
                <a:gd name="connsiteY2" fmla="*/ 84870 h 190494"/>
                <a:gd name="connsiteX3" fmla="*/ 52467 w 180971"/>
                <a:gd name="connsiteY3" fmla="*/ 79397 h 190494"/>
                <a:gd name="connsiteX4" fmla="*/ 1195 w 180971"/>
                <a:gd name="connsiteY4" fmla="*/ 98409 h 190494"/>
                <a:gd name="connsiteX5" fmla="*/ 6076 w 180971"/>
                <a:gd name="connsiteY5" fmla="*/ 112350 h 190494"/>
                <a:gd name="connsiteX6" fmla="*/ 84080 w 180971"/>
                <a:gd name="connsiteY6" fmla="*/ 172257 h 190494"/>
                <a:gd name="connsiteX7" fmla="*/ 114297 w 180971"/>
                <a:gd name="connsiteY7" fmla="*/ 190185 h 190494"/>
                <a:gd name="connsiteX8" fmla="*/ 147211 w 180971"/>
                <a:gd name="connsiteY8" fmla="*/ 185112 h 190494"/>
                <a:gd name="connsiteX9" fmla="*/ 168640 w 180971"/>
                <a:gd name="connsiteY9" fmla="*/ 165547 h 190494"/>
                <a:gd name="connsiteX10" fmla="*/ 179619 w 180971"/>
                <a:gd name="connsiteY10" fmla="*/ 121417 h 190494"/>
                <a:gd name="connsiteX11" fmla="*/ 142740 w 180971"/>
                <a:gd name="connsiteY11" fmla="*/ 65799 h 190494"/>
                <a:gd name="connsiteX12" fmla="*/ 114327 w 180971"/>
                <a:gd name="connsiteY12" fmla="*/ 61333 h 190494"/>
                <a:gd name="connsiteX13" fmla="*/ 114327 w 180971"/>
                <a:gd name="connsiteY13" fmla="*/ 23813 h 190494"/>
                <a:gd name="connsiteX14" fmla="*/ 90514 w 180971"/>
                <a:gd name="connsiteY14" fmla="*/ 0 h 19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0971" h="190494">
                  <a:moveTo>
                    <a:pt x="90514" y="0"/>
                  </a:moveTo>
                  <a:cubicBezTo>
                    <a:pt x="77363" y="0"/>
                    <a:pt x="66702" y="10661"/>
                    <a:pt x="66702" y="23813"/>
                  </a:cubicBezTo>
                  <a:lnTo>
                    <a:pt x="66702" y="84870"/>
                  </a:lnTo>
                  <a:lnTo>
                    <a:pt x="52467" y="79397"/>
                  </a:lnTo>
                  <a:cubicBezTo>
                    <a:pt x="33027" y="71923"/>
                    <a:pt x="11063" y="80068"/>
                    <a:pt x="1195" y="98409"/>
                  </a:cubicBezTo>
                  <a:cubicBezTo>
                    <a:pt x="-1667" y="103730"/>
                    <a:pt x="868" y="110092"/>
                    <a:pt x="6076" y="112350"/>
                  </a:cubicBezTo>
                  <a:cubicBezTo>
                    <a:pt x="60002" y="135745"/>
                    <a:pt x="77078" y="156858"/>
                    <a:pt x="84080" y="172257"/>
                  </a:cubicBezTo>
                  <a:cubicBezTo>
                    <a:pt x="89091" y="183275"/>
                    <a:pt x="100560" y="192301"/>
                    <a:pt x="114297" y="190185"/>
                  </a:cubicBezTo>
                  <a:lnTo>
                    <a:pt x="147211" y="185112"/>
                  </a:lnTo>
                  <a:cubicBezTo>
                    <a:pt x="157644" y="183504"/>
                    <a:pt x="166092" y="175791"/>
                    <a:pt x="168640" y="165547"/>
                  </a:cubicBezTo>
                  <a:lnTo>
                    <a:pt x="179619" y="121417"/>
                  </a:lnTo>
                  <a:cubicBezTo>
                    <a:pt x="186030" y="95647"/>
                    <a:pt x="168973" y="69923"/>
                    <a:pt x="142740" y="65799"/>
                  </a:cubicBezTo>
                  <a:lnTo>
                    <a:pt x="114327" y="61333"/>
                  </a:lnTo>
                  <a:lnTo>
                    <a:pt x="114327" y="23813"/>
                  </a:lnTo>
                  <a:cubicBezTo>
                    <a:pt x="114327" y="10661"/>
                    <a:pt x="103666" y="0"/>
                    <a:pt x="9051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28" name="Group 27">
            <a:extLst>
              <a:ext uri="{FF2B5EF4-FFF2-40B4-BE49-F238E27FC236}">
                <a16:creationId xmlns:a16="http://schemas.microsoft.com/office/drawing/2014/main" id="{20FE9F3F-B95F-152F-6095-3D5891C65943}"/>
              </a:ext>
            </a:extLst>
          </p:cNvPr>
          <p:cNvGrpSpPr/>
          <p:nvPr/>
        </p:nvGrpSpPr>
        <p:grpSpPr>
          <a:xfrm>
            <a:off x="4728898" y="3087021"/>
            <a:ext cx="6598441" cy="677411"/>
            <a:chOff x="4728898" y="3057015"/>
            <a:chExt cx="6598441" cy="677411"/>
          </a:xfrm>
        </p:grpSpPr>
        <p:cxnSp>
          <p:nvCxnSpPr>
            <p:cNvPr id="24" name="!!line2">
              <a:extLst>
                <a:ext uri="{FF2B5EF4-FFF2-40B4-BE49-F238E27FC236}">
                  <a16:creationId xmlns:a16="http://schemas.microsoft.com/office/drawing/2014/main" id="{0A2C5746-F2E3-FBA0-6E38-B454090AA2C3}"/>
                </a:ext>
                <a:ext uri="{C183D7F6-B498-43B3-948B-1728B52AA6E4}">
                  <adec:decorative xmlns:adec="http://schemas.microsoft.com/office/drawing/2017/decorative" val="1"/>
                </a:ext>
              </a:extLst>
            </p:cNvPr>
            <p:cNvCxnSpPr>
              <a:cxnSpLocks/>
            </p:cNvCxnSpPr>
            <p:nvPr/>
          </p:nvCxnSpPr>
          <p:spPr>
            <a:xfrm>
              <a:off x="5758750" y="3734426"/>
              <a:ext cx="5568589" cy="0"/>
            </a:xfrm>
            <a:prstGeom prst="line">
              <a:avLst/>
            </a:prstGeom>
            <a:ln w="6350" cap="rnd">
              <a:solidFill>
                <a:schemeClr val="bg1">
                  <a:lumMod val="7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A70C8B38-2E67-A6FF-0F47-6415B256A266}"/>
                </a:ext>
                <a:ext uri="{C183D7F6-B498-43B3-948B-1728B52AA6E4}">
                  <adec:decorative xmlns:adec="http://schemas.microsoft.com/office/drawing/2017/decorative" val="1"/>
                </a:ext>
              </a:extLst>
            </p:cNvPr>
            <p:cNvSpPr>
              <a:spLocks/>
            </p:cNvSpPr>
            <p:nvPr/>
          </p:nvSpPr>
          <p:spPr bwMode="auto">
            <a:xfrm>
              <a:off x="4728898" y="3057015"/>
              <a:ext cx="524938" cy="524938"/>
            </a:xfrm>
            <a:prstGeom prst="ellipse">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 name="Graphic 53" descr="Finger ">
              <a:extLst>
                <a:ext uri="{FF2B5EF4-FFF2-40B4-BE49-F238E27FC236}">
                  <a16:creationId xmlns:a16="http://schemas.microsoft.com/office/drawing/2014/main" id="{404EEE76-100F-EE85-48FC-C289BEC16EBD}"/>
                </a:ext>
                <a:ext uri="{C183D7F6-B498-43B3-948B-1728B52AA6E4}">
                  <adec:decorative xmlns:adec="http://schemas.microsoft.com/office/drawing/2017/decorative" val="0"/>
                </a:ext>
              </a:extLst>
            </p:cNvPr>
            <p:cNvSpPr/>
            <p:nvPr/>
          </p:nvSpPr>
          <p:spPr>
            <a:xfrm>
              <a:off x="4869151" y="3173731"/>
              <a:ext cx="244430" cy="257290"/>
            </a:xfrm>
            <a:custGeom>
              <a:avLst/>
              <a:gdLst>
                <a:gd name="connsiteX0" fmla="*/ 90514 w 180971"/>
                <a:gd name="connsiteY0" fmla="*/ 0 h 190494"/>
                <a:gd name="connsiteX1" fmla="*/ 66702 w 180971"/>
                <a:gd name="connsiteY1" fmla="*/ 23813 h 190494"/>
                <a:gd name="connsiteX2" fmla="*/ 66702 w 180971"/>
                <a:gd name="connsiteY2" fmla="*/ 84870 h 190494"/>
                <a:gd name="connsiteX3" fmla="*/ 52467 w 180971"/>
                <a:gd name="connsiteY3" fmla="*/ 79397 h 190494"/>
                <a:gd name="connsiteX4" fmla="*/ 1195 w 180971"/>
                <a:gd name="connsiteY4" fmla="*/ 98409 h 190494"/>
                <a:gd name="connsiteX5" fmla="*/ 6076 w 180971"/>
                <a:gd name="connsiteY5" fmla="*/ 112350 h 190494"/>
                <a:gd name="connsiteX6" fmla="*/ 84080 w 180971"/>
                <a:gd name="connsiteY6" fmla="*/ 172257 h 190494"/>
                <a:gd name="connsiteX7" fmla="*/ 114297 w 180971"/>
                <a:gd name="connsiteY7" fmla="*/ 190185 h 190494"/>
                <a:gd name="connsiteX8" fmla="*/ 147211 w 180971"/>
                <a:gd name="connsiteY8" fmla="*/ 185112 h 190494"/>
                <a:gd name="connsiteX9" fmla="*/ 168640 w 180971"/>
                <a:gd name="connsiteY9" fmla="*/ 165547 h 190494"/>
                <a:gd name="connsiteX10" fmla="*/ 179619 w 180971"/>
                <a:gd name="connsiteY10" fmla="*/ 121417 h 190494"/>
                <a:gd name="connsiteX11" fmla="*/ 142740 w 180971"/>
                <a:gd name="connsiteY11" fmla="*/ 65799 h 190494"/>
                <a:gd name="connsiteX12" fmla="*/ 114327 w 180971"/>
                <a:gd name="connsiteY12" fmla="*/ 61333 h 190494"/>
                <a:gd name="connsiteX13" fmla="*/ 114327 w 180971"/>
                <a:gd name="connsiteY13" fmla="*/ 23813 h 190494"/>
                <a:gd name="connsiteX14" fmla="*/ 90514 w 180971"/>
                <a:gd name="connsiteY14" fmla="*/ 0 h 19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0971" h="190494">
                  <a:moveTo>
                    <a:pt x="90514" y="0"/>
                  </a:moveTo>
                  <a:cubicBezTo>
                    <a:pt x="77363" y="0"/>
                    <a:pt x="66702" y="10661"/>
                    <a:pt x="66702" y="23813"/>
                  </a:cubicBezTo>
                  <a:lnTo>
                    <a:pt x="66702" y="84870"/>
                  </a:lnTo>
                  <a:lnTo>
                    <a:pt x="52467" y="79397"/>
                  </a:lnTo>
                  <a:cubicBezTo>
                    <a:pt x="33027" y="71923"/>
                    <a:pt x="11063" y="80068"/>
                    <a:pt x="1195" y="98409"/>
                  </a:cubicBezTo>
                  <a:cubicBezTo>
                    <a:pt x="-1667" y="103730"/>
                    <a:pt x="868" y="110092"/>
                    <a:pt x="6076" y="112350"/>
                  </a:cubicBezTo>
                  <a:cubicBezTo>
                    <a:pt x="60002" y="135745"/>
                    <a:pt x="77078" y="156858"/>
                    <a:pt x="84080" y="172257"/>
                  </a:cubicBezTo>
                  <a:cubicBezTo>
                    <a:pt x="89091" y="183275"/>
                    <a:pt x="100560" y="192301"/>
                    <a:pt x="114297" y="190185"/>
                  </a:cubicBezTo>
                  <a:lnTo>
                    <a:pt x="147211" y="185112"/>
                  </a:lnTo>
                  <a:cubicBezTo>
                    <a:pt x="157644" y="183504"/>
                    <a:pt x="166092" y="175791"/>
                    <a:pt x="168640" y="165547"/>
                  </a:cubicBezTo>
                  <a:lnTo>
                    <a:pt x="179619" y="121417"/>
                  </a:lnTo>
                  <a:cubicBezTo>
                    <a:pt x="186030" y="95647"/>
                    <a:pt x="168973" y="69923"/>
                    <a:pt x="142740" y="65799"/>
                  </a:cubicBezTo>
                  <a:lnTo>
                    <a:pt x="114327" y="61333"/>
                  </a:lnTo>
                  <a:lnTo>
                    <a:pt x="114327" y="23813"/>
                  </a:lnTo>
                  <a:cubicBezTo>
                    <a:pt x="114327" y="10661"/>
                    <a:pt x="103666" y="0"/>
                    <a:pt x="9051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6" name="Text Placeholder 6">
              <a:extLst>
                <a:ext uri="{FF2B5EF4-FFF2-40B4-BE49-F238E27FC236}">
                  <a16:creationId xmlns:a16="http://schemas.microsoft.com/office/drawing/2014/main" id="{4A91B676-21B1-14C4-8238-9494D7344CFD}"/>
                </a:ext>
              </a:extLst>
            </p:cNvPr>
            <p:cNvSpPr txBox="1">
              <a:spLocks/>
            </p:cNvSpPr>
            <p:nvPr/>
          </p:nvSpPr>
          <p:spPr>
            <a:xfrm>
              <a:off x="5758749" y="3148487"/>
              <a:ext cx="5568589" cy="307777"/>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lang="en-US" sz="2000">
                  <a:solidFill>
                    <a:srgbClr val="000000"/>
                  </a:solidFill>
                  <a:latin typeface="Segoe UI"/>
                </a:rPr>
                <a:t>Agents + Microsoft Purview</a:t>
              </a:r>
            </a:p>
          </p:txBody>
        </p:sp>
      </p:grpSp>
    </p:spTree>
    <p:extLst>
      <p:ext uri="{BB962C8B-B14F-4D97-AF65-F5344CB8AC3E}">
        <p14:creationId xmlns:p14="http://schemas.microsoft.com/office/powerpoint/2010/main" val="331381720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28300C2-DE2C-8662-E050-3F193F9991D6}"/>
              </a:ext>
            </a:extLst>
          </p:cNvPr>
          <p:cNvPicPr>
            <a:picLocks noChangeAspect="1"/>
          </p:cNvPicPr>
          <p:nvPr/>
        </p:nvPicPr>
        <p:blipFill>
          <a:blip r:embed="rId3"/>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33D1B04E-F356-EC8C-5483-924646BA61FF}"/>
              </a:ext>
            </a:extLst>
          </p:cNvPr>
          <p:cNvPicPr>
            <a:picLocks noChangeAspect="1"/>
          </p:cNvPicPr>
          <p:nvPr/>
        </p:nvPicPr>
        <p:blipFill>
          <a:blip r:embed="rId4"/>
          <a:stretch>
            <a:fillRect/>
          </a:stretch>
        </p:blipFill>
        <p:spPr>
          <a:xfrm>
            <a:off x="0" y="489358"/>
            <a:ext cx="12192000" cy="303432"/>
          </a:xfrm>
          <a:prstGeom prst="rect">
            <a:avLst/>
          </a:prstGeom>
        </p:spPr>
      </p:pic>
      <p:sp>
        <p:nvSpPr>
          <p:cNvPr id="3" name="Rectangle: Rounded Corners 2">
            <a:extLst>
              <a:ext uri="{FF2B5EF4-FFF2-40B4-BE49-F238E27FC236}">
                <a16:creationId xmlns:a16="http://schemas.microsoft.com/office/drawing/2014/main" id="{C98AD856-C169-D0BC-CC5D-7B94351B6A6D}"/>
              </a:ext>
            </a:extLst>
          </p:cNvPr>
          <p:cNvSpPr/>
          <p:nvPr/>
        </p:nvSpPr>
        <p:spPr bwMode="auto">
          <a:xfrm>
            <a:off x="8478799" y="3541443"/>
            <a:ext cx="3626610" cy="718830"/>
          </a:xfrm>
          <a:prstGeom prst="roundRect">
            <a:avLst>
              <a:gd name="adj" fmla="val 2909"/>
            </a:avLst>
          </a:prstGeom>
          <a:noFill/>
          <a:ln w="28575">
            <a:gradFill>
              <a:gsLst>
                <a:gs pos="0">
                  <a:srgbClr val="7D7ED5"/>
                </a:gs>
                <a:gs pos="88000">
                  <a:srgbClr val="BF65CD"/>
                </a:gs>
                <a:gs pos="16000">
                  <a:srgbClr val="3B96DD"/>
                </a:gs>
                <a:gs pos="69000">
                  <a:srgbClr val="5671ED"/>
                </a:gs>
                <a:gs pos="100000">
                  <a:srgbClr val="906EBD"/>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pic>
        <p:nvPicPr>
          <p:cNvPr id="2" name="Picture 1">
            <a:extLst>
              <a:ext uri="{FF2B5EF4-FFF2-40B4-BE49-F238E27FC236}">
                <a16:creationId xmlns:a16="http://schemas.microsoft.com/office/drawing/2014/main" id="{2D569D4A-0E26-7A2A-7D34-97148C0A7F80}"/>
              </a:ext>
            </a:extLst>
          </p:cNvPr>
          <p:cNvPicPr>
            <a:picLocks noChangeAspect="1"/>
          </p:cNvPicPr>
          <p:nvPr/>
        </p:nvPicPr>
        <p:blipFill>
          <a:blip r:embed="rId5"/>
          <a:stretch>
            <a:fillRect/>
          </a:stretch>
        </p:blipFill>
        <p:spPr>
          <a:xfrm>
            <a:off x="8478799" y="2840611"/>
            <a:ext cx="1196829" cy="700832"/>
          </a:xfrm>
          <a:prstGeom prst="rect">
            <a:avLst/>
          </a:prstGeom>
        </p:spPr>
      </p:pic>
    </p:spTree>
    <p:extLst>
      <p:ext uri="{BB962C8B-B14F-4D97-AF65-F5344CB8AC3E}">
        <p14:creationId xmlns:p14="http://schemas.microsoft.com/office/powerpoint/2010/main" val="8991593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5" presetClass="entr" presetSubtype="0"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2000"/>
                                        <p:tgtEl>
                                          <p:spTgt spid="2"/>
                                        </p:tgtEl>
                                      </p:cBhvr>
                                    </p:animEffect>
                                    <p:anim calcmode="lin" valueType="num">
                                      <p:cBhvr>
                                        <p:cTn id="14" dur="2000" fill="hold"/>
                                        <p:tgtEl>
                                          <p:spTgt spid="2"/>
                                        </p:tgtEl>
                                        <p:attrNameLst>
                                          <p:attrName>ppt_w</p:attrName>
                                        </p:attrNameLst>
                                      </p:cBhvr>
                                      <p:tavLst>
                                        <p:tav tm="0" fmla="#ppt_w*sin(2.5*pi*$)">
                                          <p:val>
                                            <p:fltVal val="0"/>
                                          </p:val>
                                        </p:tav>
                                        <p:tav tm="100000">
                                          <p:val>
                                            <p:fltVal val="1"/>
                                          </p:val>
                                        </p:tav>
                                      </p:tavLst>
                                    </p:anim>
                                    <p:anim calcmode="lin" valueType="num">
                                      <p:cBhvr>
                                        <p:cTn id="15" dur="2000" fill="hold"/>
                                        <p:tgtEl>
                                          <p:spTgt spid="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BFBDAC-FC9A-6630-3B2C-0803CF82AD6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7B71ECF-B5F2-EFAD-7AF6-B71C4EB44697}"/>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3C610B3A-5494-10DD-C09F-34217DD3887F}"/>
              </a:ext>
            </a:extLst>
          </p:cNvPr>
          <p:cNvPicPr>
            <a:picLocks noChangeAspect="1"/>
          </p:cNvPicPr>
          <p:nvPr/>
        </p:nvPicPr>
        <p:blipFill>
          <a:blip r:embed="rId3"/>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2CA549EB-3125-7365-5160-97F39A6ABE0D}"/>
              </a:ext>
            </a:extLst>
          </p:cNvPr>
          <p:cNvPicPr>
            <a:picLocks noChangeAspect="1"/>
          </p:cNvPicPr>
          <p:nvPr/>
        </p:nvPicPr>
        <p:blipFill>
          <a:blip r:embed="rId4"/>
          <a:stretch>
            <a:fillRect/>
          </a:stretch>
        </p:blipFill>
        <p:spPr>
          <a:xfrm>
            <a:off x="0" y="489358"/>
            <a:ext cx="12192000" cy="303432"/>
          </a:xfrm>
          <a:prstGeom prst="rect">
            <a:avLst/>
          </a:prstGeom>
        </p:spPr>
      </p:pic>
      <p:pic>
        <p:nvPicPr>
          <p:cNvPr id="5" name="Graphic 4" descr="Checkmark with solid fill">
            <a:extLst>
              <a:ext uri="{FF2B5EF4-FFF2-40B4-BE49-F238E27FC236}">
                <a16:creationId xmlns:a16="http://schemas.microsoft.com/office/drawing/2014/main" id="{4379888B-32D9-3D77-62A1-CC151948C4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2219" y="4790770"/>
            <a:ext cx="51617" cy="51617"/>
          </a:xfrm>
          <a:prstGeom prst="rect">
            <a:avLst/>
          </a:prstGeom>
        </p:spPr>
      </p:pic>
      <p:sp>
        <p:nvSpPr>
          <p:cNvPr id="3" name="Rectangle: Rounded Corners 2">
            <a:extLst>
              <a:ext uri="{FF2B5EF4-FFF2-40B4-BE49-F238E27FC236}">
                <a16:creationId xmlns:a16="http://schemas.microsoft.com/office/drawing/2014/main" id="{80AE886B-61A4-926A-6D00-CBA2C9816C4C}"/>
              </a:ext>
            </a:extLst>
          </p:cNvPr>
          <p:cNvSpPr/>
          <p:nvPr/>
        </p:nvSpPr>
        <p:spPr bwMode="auto">
          <a:xfrm>
            <a:off x="8478799" y="4674918"/>
            <a:ext cx="2884526" cy="303432"/>
          </a:xfrm>
          <a:prstGeom prst="roundRect">
            <a:avLst>
              <a:gd name="adj" fmla="val 2909"/>
            </a:avLst>
          </a:prstGeom>
          <a:noFill/>
          <a:ln w="28575">
            <a:gradFill>
              <a:gsLst>
                <a:gs pos="0">
                  <a:srgbClr val="7D7ED5"/>
                </a:gs>
                <a:gs pos="88000">
                  <a:srgbClr val="BF65CD"/>
                </a:gs>
                <a:gs pos="16000">
                  <a:srgbClr val="3B96DD"/>
                </a:gs>
                <a:gs pos="69000">
                  <a:srgbClr val="5671ED"/>
                </a:gs>
                <a:gs pos="100000">
                  <a:srgbClr val="906EBD"/>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8FB4281A-2EED-2E42-A24C-B0614159ED90}"/>
              </a:ext>
            </a:extLst>
          </p:cNvPr>
          <p:cNvPicPr>
            <a:picLocks noChangeAspect="1"/>
          </p:cNvPicPr>
          <p:nvPr/>
        </p:nvPicPr>
        <p:blipFill>
          <a:blip r:embed="rId7"/>
          <a:stretch>
            <a:fillRect/>
          </a:stretch>
        </p:blipFill>
        <p:spPr>
          <a:xfrm>
            <a:off x="8521995" y="6443329"/>
            <a:ext cx="467833" cy="303433"/>
          </a:xfrm>
          <a:prstGeom prst="rect">
            <a:avLst/>
          </a:prstGeom>
        </p:spPr>
      </p:pic>
    </p:spTree>
    <p:extLst>
      <p:ext uri="{BB962C8B-B14F-4D97-AF65-F5344CB8AC3E}">
        <p14:creationId xmlns:p14="http://schemas.microsoft.com/office/powerpoint/2010/main" val="45770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31"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p:cTn id="12" dur="1000" fill="hold"/>
                                        <p:tgtEl>
                                          <p:spTgt spid="7"/>
                                        </p:tgtEl>
                                        <p:attrNameLst>
                                          <p:attrName>ppt_w</p:attrName>
                                        </p:attrNameLst>
                                      </p:cBhvr>
                                      <p:tavLst>
                                        <p:tav tm="0">
                                          <p:val>
                                            <p:fltVal val="0"/>
                                          </p:val>
                                        </p:tav>
                                        <p:tav tm="100000">
                                          <p:val>
                                            <p:strVal val="#ppt_w"/>
                                          </p:val>
                                        </p:tav>
                                      </p:tavLst>
                                    </p:anim>
                                    <p:anim calcmode="lin" valueType="num">
                                      <p:cBhvr>
                                        <p:cTn id="13" dur="1000" fill="hold"/>
                                        <p:tgtEl>
                                          <p:spTgt spid="7"/>
                                        </p:tgtEl>
                                        <p:attrNameLst>
                                          <p:attrName>ppt_h</p:attrName>
                                        </p:attrNameLst>
                                      </p:cBhvr>
                                      <p:tavLst>
                                        <p:tav tm="0">
                                          <p:val>
                                            <p:fltVal val="0"/>
                                          </p:val>
                                        </p:tav>
                                        <p:tav tm="100000">
                                          <p:val>
                                            <p:strVal val="#ppt_h"/>
                                          </p:val>
                                        </p:tav>
                                      </p:tavLst>
                                    </p:anim>
                                    <p:anim calcmode="lin" valueType="num">
                                      <p:cBhvr>
                                        <p:cTn id="14" dur="1000" fill="hold"/>
                                        <p:tgtEl>
                                          <p:spTgt spid="7"/>
                                        </p:tgtEl>
                                        <p:attrNameLst>
                                          <p:attrName>style.rotation</p:attrName>
                                        </p:attrNameLst>
                                      </p:cBhvr>
                                      <p:tavLst>
                                        <p:tav tm="0">
                                          <p:val>
                                            <p:fltVal val="90"/>
                                          </p:val>
                                        </p:tav>
                                        <p:tav tm="100000">
                                          <p:val>
                                            <p:fltVal val="0"/>
                                          </p:val>
                                        </p:tav>
                                      </p:tavLst>
                                    </p:anim>
                                    <p:animEffect transition="in" filter="fade">
                                      <p:cBhvr>
                                        <p:cTn id="15"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5D643-BF15-B833-D059-E6D6054C93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1EDC301-861F-2A89-E572-BAA2EC9A41F3}"/>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F9FB0E8A-15B3-593D-1CA4-5CC174C3C14D}"/>
              </a:ext>
            </a:extLst>
          </p:cNvPr>
          <p:cNvPicPr>
            <a:picLocks noChangeAspect="1"/>
          </p:cNvPicPr>
          <p:nvPr/>
        </p:nvPicPr>
        <p:blipFill>
          <a:blip r:embed="rId3"/>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70264E8A-5DC3-BB6D-D532-94BE771C45EC}"/>
              </a:ext>
            </a:extLst>
          </p:cNvPr>
          <p:cNvPicPr>
            <a:picLocks noChangeAspect="1"/>
          </p:cNvPicPr>
          <p:nvPr/>
        </p:nvPicPr>
        <p:blipFill>
          <a:blip r:embed="rId4"/>
          <a:stretch>
            <a:fillRect/>
          </a:stretch>
        </p:blipFill>
        <p:spPr>
          <a:xfrm>
            <a:off x="0" y="489358"/>
            <a:ext cx="12192000" cy="303432"/>
          </a:xfrm>
          <a:prstGeom prst="rect">
            <a:avLst/>
          </a:prstGeom>
        </p:spPr>
      </p:pic>
    </p:spTree>
    <p:extLst>
      <p:ext uri="{BB962C8B-B14F-4D97-AF65-F5344CB8AC3E}">
        <p14:creationId xmlns:p14="http://schemas.microsoft.com/office/powerpoint/2010/main" val="158022378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70D46C-592E-9295-58F3-AAFFCD8DE675}"/>
              </a:ext>
            </a:extLst>
          </p:cNvPr>
          <p:cNvSpPr>
            <a:spLocks noGrp="1"/>
          </p:cNvSpPr>
          <p:nvPr>
            <p:ph type="title"/>
          </p:nvPr>
        </p:nvSpPr>
        <p:spPr/>
        <p:txBody>
          <a:bodyPr/>
          <a:lstStyle/>
          <a:p>
            <a:endParaRPr lang="en-US"/>
          </a:p>
        </p:txBody>
      </p:sp>
      <p:pic>
        <p:nvPicPr>
          <p:cNvPr id="9" name="Picture 8">
            <a:extLst>
              <a:ext uri="{FF2B5EF4-FFF2-40B4-BE49-F238E27FC236}">
                <a16:creationId xmlns:a16="http://schemas.microsoft.com/office/drawing/2014/main" id="{78D0785E-FC73-B797-1C5F-81D35BE2EFDB}"/>
              </a:ext>
            </a:extLst>
          </p:cNvPr>
          <p:cNvPicPr>
            <a:picLocks noChangeAspect="1"/>
          </p:cNvPicPr>
          <p:nvPr/>
        </p:nvPicPr>
        <p:blipFill>
          <a:blip r:embed="rId3"/>
          <a:stretch>
            <a:fillRect/>
          </a:stretch>
        </p:blipFill>
        <p:spPr>
          <a:xfrm>
            <a:off x="-1" y="0"/>
            <a:ext cx="12192000" cy="6855220"/>
          </a:xfrm>
          <a:prstGeom prst="rect">
            <a:avLst/>
          </a:prstGeom>
        </p:spPr>
      </p:pic>
      <p:pic>
        <p:nvPicPr>
          <p:cNvPr id="11" name="Picture 10">
            <a:extLst>
              <a:ext uri="{FF2B5EF4-FFF2-40B4-BE49-F238E27FC236}">
                <a16:creationId xmlns:a16="http://schemas.microsoft.com/office/drawing/2014/main" id="{EA8E324F-DC6F-9CD9-1A1D-9B40AF6991A2}"/>
              </a:ext>
            </a:extLst>
          </p:cNvPr>
          <p:cNvPicPr>
            <a:picLocks noChangeAspect="1"/>
          </p:cNvPicPr>
          <p:nvPr/>
        </p:nvPicPr>
        <p:blipFill>
          <a:blip r:embed="rId4"/>
          <a:stretch>
            <a:fillRect/>
          </a:stretch>
        </p:blipFill>
        <p:spPr>
          <a:xfrm>
            <a:off x="3439073" y="381001"/>
            <a:ext cx="5275836" cy="3323461"/>
          </a:xfrm>
          <a:prstGeom prst="rect">
            <a:avLst/>
          </a:prstGeom>
        </p:spPr>
      </p:pic>
      <p:sp>
        <p:nvSpPr>
          <p:cNvPr id="12" name="Rectangle 11">
            <a:extLst>
              <a:ext uri="{FF2B5EF4-FFF2-40B4-BE49-F238E27FC236}">
                <a16:creationId xmlns:a16="http://schemas.microsoft.com/office/drawing/2014/main" id="{7A0DF419-10FB-D705-F715-1498D53C09CB}"/>
              </a:ext>
            </a:extLst>
          </p:cNvPr>
          <p:cNvSpPr/>
          <p:nvPr/>
        </p:nvSpPr>
        <p:spPr>
          <a:xfrm>
            <a:off x="4219575" y="5743575"/>
            <a:ext cx="4410075" cy="361950"/>
          </a:xfrm>
          <a:prstGeom prst="rect">
            <a:avLst/>
          </a:prstGeom>
          <a:solidFill>
            <a:srgbClr val="FAFA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1E751BFE-0E6D-02A4-A416-29D65FD219D3}"/>
              </a:ext>
            </a:extLst>
          </p:cNvPr>
          <p:cNvPicPr>
            <a:picLocks noChangeAspect="1"/>
          </p:cNvPicPr>
          <p:nvPr/>
        </p:nvPicPr>
        <p:blipFill>
          <a:blip r:embed="rId5"/>
          <a:stretch>
            <a:fillRect/>
          </a:stretch>
        </p:blipFill>
        <p:spPr>
          <a:xfrm>
            <a:off x="3439073" y="1016993"/>
            <a:ext cx="1347612" cy="251889"/>
          </a:xfrm>
          <a:prstGeom prst="rect">
            <a:avLst/>
          </a:prstGeom>
        </p:spPr>
      </p:pic>
      <p:pic>
        <p:nvPicPr>
          <p:cNvPr id="16" name="Picture 15">
            <a:extLst>
              <a:ext uri="{FF2B5EF4-FFF2-40B4-BE49-F238E27FC236}">
                <a16:creationId xmlns:a16="http://schemas.microsoft.com/office/drawing/2014/main" id="{B1BC786A-540C-5637-B0B4-6152BAC61823}"/>
              </a:ext>
            </a:extLst>
          </p:cNvPr>
          <p:cNvPicPr>
            <a:picLocks noChangeAspect="1"/>
          </p:cNvPicPr>
          <p:nvPr/>
        </p:nvPicPr>
        <p:blipFill>
          <a:blip r:embed="rId6"/>
          <a:stretch>
            <a:fillRect/>
          </a:stretch>
        </p:blipFill>
        <p:spPr>
          <a:xfrm>
            <a:off x="377194" y="74449"/>
            <a:ext cx="232406" cy="232406"/>
          </a:xfrm>
          <a:prstGeom prst="rect">
            <a:avLst/>
          </a:prstGeom>
        </p:spPr>
      </p:pic>
      <p:sp>
        <p:nvSpPr>
          <p:cNvPr id="8" name="Rectangle 7">
            <a:extLst>
              <a:ext uri="{FF2B5EF4-FFF2-40B4-BE49-F238E27FC236}">
                <a16:creationId xmlns:a16="http://schemas.microsoft.com/office/drawing/2014/main" id="{9C471F5D-C269-F4C4-3B57-203FD8C7A5DE}"/>
              </a:ext>
            </a:extLst>
          </p:cNvPr>
          <p:cNvSpPr/>
          <p:nvPr/>
        </p:nvSpPr>
        <p:spPr>
          <a:xfrm>
            <a:off x="3439073" y="1081377"/>
            <a:ext cx="1506638" cy="187505"/>
          </a:xfrm>
          <a:prstGeom prst="rect">
            <a:avLst/>
          </a:prstGeom>
          <a:solidFill>
            <a:srgbClr val="FAFA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2BE1740F-1B33-5211-F03C-BA2BB28CF0CD}"/>
              </a:ext>
            </a:extLst>
          </p:cNvPr>
          <p:cNvPicPr>
            <a:picLocks noChangeAspect="1"/>
          </p:cNvPicPr>
          <p:nvPr/>
        </p:nvPicPr>
        <p:blipFill>
          <a:blip r:embed="rId7"/>
          <a:stretch>
            <a:fillRect/>
          </a:stretch>
        </p:blipFill>
        <p:spPr>
          <a:xfrm>
            <a:off x="3602044" y="1081377"/>
            <a:ext cx="1541417" cy="236554"/>
          </a:xfrm>
          <a:prstGeom prst="rect">
            <a:avLst/>
          </a:prstGeom>
        </p:spPr>
      </p:pic>
      <p:pic>
        <p:nvPicPr>
          <p:cNvPr id="4" name="Picture 3">
            <a:extLst>
              <a:ext uri="{FF2B5EF4-FFF2-40B4-BE49-F238E27FC236}">
                <a16:creationId xmlns:a16="http://schemas.microsoft.com/office/drawing/2014/main" id="{9F3995B6-AED7-40EA-9AE2-B0B3AD26C496}"/>
              </a:ext>
            </a:extLst>
          </p:cNvPr>
          <p:cNvPicPr>
            <a:picLocks noChangeAspect="1"/>
          </p:cNvPicPr>
          <p:nvPr/>
        </p:nvPicPr>
        <p:blipFill>
          <a:blip r:embed="rId4"/>
          <a:srcRect l="1712" t="19947" r="2555" b="40846"/>
          <a:stretch>
            <a:fillRect/>
          </a:stretch>
        </p:blipFill>
        <p:spPr>
          <a:xfrm>
            <a:off x="1029598" y="780001"/>
            <a:ext cx="9789123" cy="2525459"/>
          </a:xfrm>
          <a:prstGeom prst="rect">
            <a:avLst/>
          </a:prstGeom>
          <a:noFill/>
          <a:ln w="28575">
            <a:gradFill>
              <a:gsLst>
                <a:gs pos="0">
                  <a:srgbClr val="7D7ED5"/>
                </a:gs>
                <a:gs pos="88000">
                  <a:srgbClr val="BF65CD"/>
                </a:gs>
                <a:gs pos="16000">
                  <a:srgbClr val="3B96DD"/>
                </a:gs>
                <a:gs pos="69000">
                  <a:srgbClr val="5671ED"/>
                </a:gs>
                <a:gs pos="100000">
                  <a:srgbClr val="906EBD"/>
                </a:gs>
              </a:gsLst>
              <a:lin ang="5400000" scaled="1"/>
            </a:gradFill>
            <a:prstDash val="solid"/>
            <a:headEnd type="none" w="med" len="med"/>
            <a:tailEnd type="none" w="med" len="med"/>
          </a:ln>
          <a:effectLst/>
        </p:spPr>
      </p:pic>
      <p:cxnSp>
        <p:nvCxnSpPr>
          <p:cNvPr id="7" name="Straight Connector 6">
            <a:extLst>
              <a:ext uri="{FF2B5EF4-FFF2-40B4-BE49-F238E27FC236}">
                <a16:creationId xmlns:a16="http://schemas.microsoft.com/office/drawing/2014/main" id="{89E8A18F-BB34-0713-9408-F94D5F181A84}"/>
              </a:ext>
            </a:extLst>
          </p:cNvPr>
          <p:cNvCxnSpPr/>
          <p:nvPr/>
        </p:nvCxnSpPr>
        <p:spPr>
          <a:xfrm>
            <a:off x="1323959" y="2041055"/>
            <a:ext cx="7223760" cy="0"/>
          </a:xfrm>
          <a:prstGeom prst="line">
            <a:avLst/>
          </a:prstGeom>
          <a:ln w="28575" cap="rnd">
            <a:gradFill flip="none" rotWithShape="1">
              <a:gsLst>
                <a:gs pos="0">
                  <a:srgbClr val="C03BC4"/>
                </a:gs>
                <a:gs pos="80000">
                  <a:srgbClr val="0078D4"/>
                </a:gs>
              </a:gsLst>
              <a:path path="circle">
                <a:fillToRect l="100000" t="100000"/>
              </a:path>
              <a:tileRect r="-100000" b="-100000"/>
            </a:gradFill>
            <a:prstDash val="sysDash"/>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68082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90F0E6-7DB2-F50E-9E50-290FE2CD32F8}"/>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CF6CC5DD-1F15-5612-4E93-77EFC857E212}"/>
              </a:ext>
            </a:extLst>
          </p:cNvPr>
          <p:cNvSpPr txBox="1"/>
          <p:nvPr/>
        </p:nvSpPr>
        <p:spPr>
          <a:xfrm>
            <a:off x="2868995" y="2705725"/>
            <a:ext cx="6454011" cy="1446550"/>
          </a:xfrm>
          <a:prstGeom prst="rect">
            <a:avLst/>
          </a:prstGeom>
          <a:noFill/>
        </p:spPr>
        <p:txBody>
          <a:bodyPr wrap="none" rtlCol="0">
            <a:spAutoFit/>
          </a:bodyPr>
          <a:lstStyle/>
          <a:p>
            <a:r>
              <a:rPr lang="en-US" sz="8800" b="1"/>
              <a:t>Compliance</a:t>
            </a:r>
          </a:p>
        </p:txBody>
      </p:sp>
    </p:spTree>
    <p:extLst>
      <p:ext uri="{BB962C8B-B14F-4D97-AF65-F5344CB8AC3E}">
        <p14:creationId xmlns:p14="http://schemas.microsoft.com/office/powerpoint/2010/main" val="2224874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A600F2C-65EF-735A-A46E-6316107B395F}"/>
              </a:ext>
            </a:extLst>
          </p:cNvPr>
          <p:cNvPicPr>
            <a:picLocks noChangeAspect="1"/>
          </p:cNvPicPr>
          <p:nvPr/>
        </p:nvPicPr>
        <p:blipFill>
          <a:blip r:embed="rId3"/>
          <a:stretch>
            <a:fillRect/>
          </a:stretch>
        </p:blipFill>
        <p:spPr>
          <a:xfrm>
            <a:off x="0" y="577"/>
            <a:ext cx="12192000" cy="6856845"/>
          </a:xfrm>
          <a:prstGeom prst="rect">
            <a:avLst/>
          </a:prstGeom>
        </p:spPr>
      </p:pic>
      <p:sp>
        <p:nvSpPr>
          <p:cNvPr id="2" name="Rectangle 1">
            <a:extLst>
              <a:ext uri="{FF2B5EF4-FFF2-40B4-BE49-F238E27FC236}">
                <a16:creationId xmlns:a16="http://schemas.microsoft.com/office/drawing/2014/main" id="{AFDC6DAB-EB1F-5C14-A461-0213317CCE33}"/>
              </a:ext>
            </a:extLst>
          </p:cNvPr>
          <p:cNvSpPr/>
          <p:nvPr/>
        </p:nvSpPr>
        <p:spPr bwMode="auto">
          <a:xfrm>
            <a:off x="0" y="6253890"/>
            <a:ext cx="12192000" cy="525318"/>
          </a:xfrm>
          <a:prstGeom prst="rect">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algn="ctr" defTabSz="914367" fontAlgn="base">
              <a:spcBef>
                <a:spcPct val="0"/>
              </a:spcBef>
              <a:spcAft>
                <a:spcPts val="1200"/>
              </a:spcAft>
              <a:buSzPct val="90000"/>
            </a:pPr>
            <a:r>
              <a:rPr lang="en-US">
                <a:solidFill>
                  <a:srgbClr val="FFFFFF"/>
                </a:solidFill>
                <a:latin typeface="Segoe UI Semibold"/>
              </a:rPr>
              <a:t>Copilot interactions are recorded in Audit logs to help conduct investigations whenever needed</a:t>
            </a:r>
          </a:p>
        </p:txBody>
      </p:sp>
      <p:sp>
        <p:nvSpPr>
          <p:cNvPr id="3" name="Title 2">
            <a:extLst>
              <a:ext uri="{FF2B5EF4-FFF2-40B4-BE49-F238E27FC236}">
                <a16:creationId xmlns:a16="http://schemas.microsoft.com/office/drawing/2014/main" id="{69453DA9-953F-8128-A451-B6A4378F461A}"/>
              </a:ext>
            </a:extLst>
          </p:cNvPr>
          <p:cNvSpPr>
            <a:spLocks noGrp="1"/>
          </p:cNvSpPr>
          <p:nvPr>
            <p:ph type="title"/>
          </p:nvPr>
        </p:nvSpPr>
        <p:spPr/>
        <p:txBody>
          <a:bodyPr/>
          <a:lstStyle/>
          <a:p>
            <a:endParaRPr lang="en-US"/>
          </a:p>
        </p:txBody>
      </p:sp>
      <p:pic>
        <p:nvPicPr>
          <p:cNvPr id="12" name="Picture 11">
            <a:extLst>
              <a:ext uri="{FF2B5EF4-FFF2-40B4-BE49-F238E27FC236}">
                <a16:creationId xmlns:a16="http://schemas.microsoft.com/office/drawing/2014/main" id="{9CDB8BFD-5C54-5495-E233-A745133C6092}"/>
              </a:ext>
            </a:extLst>
          </p:cNvPr>
          <p:cNvPicPr>
            <a:picLocks noChangeAspect="1"/>
          </p:cNvPicPr>
          <p:nvPr/>
        </p:nvPicPr>
        <p:blipFill>
          <a:blip r:embed="rId4"/>
          <a:stretch>
            <a:fillRect/>
          </a:stretch>
        </p:blipFill>
        <p:spPr>
          <a:xfrm>
            <a:off x="0" y="0"/>
            <a:ext cx="12192000" cy="303432"/>
          </a:xfrm>
          <a:prstGeom prst="rect">
            <a:avLst/>
          </a:prstGeom>
        </p:spPr>
      </p:pic>
      <p:sp>
        <p:nvSpPr>
          <p:cNvPr id="5" name="Rectangle: Rounded Corners 4">
            <a:extLst>
              <a:ext uri="{FF2B5EF4-FFF2-40B4-BE49-F238E27FC236}">
                <a16:creationId xmlns:a16="http://schemas.microsoft.com/office/drawing/2014/main" id="{905C2617-F295-A3B2-9DBF-6D7A93DEE4FC}"/>
              </a:ext>
            </a:extLst>
          </p:cNvPr>
          <p:cNvSpPr/>
          <p:nvPr/>
        </p:nvSpPr>
        <p:spPr bwMode="auto">
          <a:xfrm>
            <a:off x="8535949" y="874443"/>
            <a:ext cx="2532101" cy="1097232"/>
          </a:xfrm>
          <a:prstGeom prst="roundRect">
            <a:avLst>
              <a:gd name="adj" fmla="val 2909"/>
            </a:avLst>
          </a:prstGeom>
          <a:noFill/>
          <a:ln w="28575">
            <a:gradFill>
              <a:gsLst>
                <a:gs pos="0">
                  <a:srgbClr val="7D7ED5"/>
                </a:gs>
                <a:gs pos="88000">
                  <a:srgbClr val="BF65CD"/>
                </a:gs>
                <a:gs pos="16000">
                  <a:srgbClr val="3B96DD"/>
                </a:gs>
                <a:gs pos="69000">
                  <a:srgbClr val="5671ED"/>
                </a:gs>
                <a:gs pos="100000">
                  <a:srgbClr val="906EBD"/>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124720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9DF6F9-DF33-D49E-E1DB-8C82289E0D09}"/>
              </a:ext>
            </a:extLst>
          </p:cNvPr>
          <p:cNvSpPr/>
          <p:nvPr/>
        </p:nvSpPr>
        <p:spPr>
          <a:xfrm>
            <a:off x="-76200" y="5952744"/>
            <a:ext cx="12458700" cy="3813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5DF6647-3F6D-26BC-CA14-D91864792400}"/>
              </a:ext>
            </a:extLst>
          </p:cNvPr>
          <p:cNvSpPr/>
          <p:nvPr/>
        </p:nvSpPr>
        <p:spPr bwMode="auto">
          <a:xfrm>
            <a:off x="0" y="6147358"/>
            <a:ext cx="12192000" cy="525318"/>
          </a:xfrm>
          <a:prstGeom prst="rect">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algn="ctr" defTabSz="914367" fontAlgn="base">
              <a:spcBef>
                <a:spcPct val="0"/>
              </a:spcBef>
              <a:spcAft>
                <a:spcPts val="1200"/>
              </a:spcAft>
              <a:buSzPct val="90000"/>
            </a:pPr>
            <a:r>
              <a:rPr lang="en-US">
                <a:solidFill>
                  <a:srgbClr val="FFFFFF"/>
                </a:solidFill>
                <a:latin typeface="Segoe UI Semibold"/>
              </a:rPr>
              <a:t>Copilot interactions can be collected and reviewed in eDiscovery to help conduct investigations and respond to litigations</a:t>
            </a:r>
          </a:p>
        </p:txBody>
      </p:sp>
      <p:sp>
        <p:nvSpPr>
          <p:cNvPr id="3" name="Title 2">
            <a:extLst>
              <a:ext uri="{FF2B5EF4-FFF2-40B4-BE49-F238E27FC236}">
                <a16:creationId xmlns:a16="http://schemas.microsoft.com/office/drawing/2014/main" id="{430D5F6A-8C6A-C600-8436-212B47F1579D}"/>
              </a:ext>
            </a:extLst>
          </p:cNvPr>
          <p:cNvSpPr>
            <a:spLocks noGrp="1"/>
          </p:cNvSpPr>
          <p:nvPr>
            <p:ph type="title"/>
          </p:nvPr>
        </p:nvSpPr>
        <p:spPr/>
        <p:txBody>
          <a:bodyPr/>
          <a:lstStyle/>
          <a:p>
            <a:endParaRPr lang="en-US"/>
          </a:p>
        </p:txBody>
      </p:sp>
      <p:pic>
        <p:nvPicPr>
          <p:cNvPr id="6" name="Picture 5">
            <a:extLst>
              <a:ext uri="{FF2B5EF4-FFF2-40B4-BE49-F238E27FC236}">
                <a16:creationId xmlns:a16="http://schemas.microsoft.com/office/drawing/2014/main" id="{62F8B2D1-5167-BF5E-1859-F6C3529D073B}"/>
              </a:ext>
            </a:extLst>
          </p:cNvPr>
          <p:cNvPicPr>
            <a:picLocks noChangeAspect="1"/>
          </p:cNvPicPr>
          <p:nvPr/>
        </p:nvPicPr>
        <p:blipFill>
          <a:blip r:embed="rId3"/>
          <a:stretch>
            <a:fillRect/>
          </a:stretch>
        </p:blipFill>
        <p:spPr>
          <a:xfrm>
            <a:off x="0" y="0"/>
            <a:ext cx="12273320" cy="5952744"/>
          </a:xfrm>
          <a:prstGeom prst="rect">
            <a:avLst/>
          </a:prstGeom>
        </p:spPr>
      </p:pic>
      <p:pic>
        <p:nvPicPr>
          <p:cNvPr id="8" name="Picture 7">
            <a:extLst>
              <a:ext uri="{FF2B5EF4-FFF2-40B4-BE49-F238E27FC236}">
                <a16:creationId xmlns:a16="http://schemas.microsoft.com/office/drawing/2014/main" id="{C8BEDFAA-8A7C-AC8A-2421-446EBC2D8465}"/>
              </a:ext>
            </a:extLst>
          </p:cNvPr>
          <p:cNvPicPr>
            <a:picLocks noChangeAspect="1"/>
          </p:cNvPicPr>
          <p:nvPr/>
        </p:nvPicPr>
        <p:blipFill>
          <a:blip r:embed="rId4"/>
          <a:stretch>
            <a:fillRect/>
          </a:stretch>
        </p:blipFill>
        <p:spPr>
          <a:xfrm>
            <a:off x="0" y="0"/>
            <a:ext cx="12235070" cy="303432"/>
          </a:xfrm>
          <a:prstGeom prst="rect">
            <a:avLst/>
          </a:prstGeom>
        </p:spPr>
      </p:pic>
      <p:sp>
        <p:nvSpPr>
          <p:cNvPr id="4" name="Rectangle: Rounded Corners 3">
            <a:extLst>
              <a:ext uri="{FF2B5EF4-FFF2-40B4-BE49-F238E27FC236}">
                <a16:creationId xmlns:a16="http://schemas.microsoft.com/office/drawing/2014/main" id="{50F73045-5536-ACEF-95B0-905E7997941C}"/>
              </a:ext>
            </a:extLst>
          </p:cNvPr>
          <p:cNvSpPr/>
          <p:nvPr/>
        </p:nvSpPr>
        <p:spPr bwMode="auto">
          <a:xfrm>
            <a:off x="6278523" y="1703118"/>
            <a:ext cx="5751551" cy="4249626"/>
          </a:xfrm>
          <a:prstGeom prst="roundRect">
            <a:avLst>
              <a:gd name="adj" fmla="val 2909"/>
            </a:avLst>
          </a:prstGeom>
          <a:noFill/>
          <a:ln w="28575">
            <a:gradFill>
              <a:gsLst>
                <a:gs pos="0">
                  <a:srgbClr val="7D7ED5"/>
                </a:gs>
                <a:gs pos="88000">
                  <a:srgbClr val="BF65CD"/>
                </a:gs>
                <a:gs pos="16000">
                  <a:srgbClr val="3B96DD"/>
                </a:gs>
                <a:gs pos="69000">
                  <a:srgbClr val="5671ED"/>
                </a:gs>
                <a:gs pos="100000">
                  <a:srgbClr val="906EBD"/>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7993282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E86C29-5D2C-1753-8445-F72BEEC29B68}"/>
            </a:ext>
          </a:extLst>
        </p:cNvPr>
        <p:cNvGrpSpPr/>
        <p:nvPr/>
      </p:nvGrpSpPr>
      <p:grpSpPr>
        <a:xfrm>
          <a:off x="0" y="0"/>
          <a:ext cx="0" cy="0"/>
          <a:chOff x="0" y="0"/>
          <a:chExt cx="0" cy="0"/>
        </a:xfrm>
      </p:grpSpPr>
      <p:sp>
        <p:nvSpPr>
          <p:cNvPr id="29" name="Title 1">
            <a:extLst>
              <a:ext uri="{FF2B5EF4-FFF2-40B4-BE49-F238E27FC236}">
                <a16:creationId xmlns:a16="http://schemas.microsoft.com/office/drawing/2014/main" id="{AC661B62-D3B0-9C75-1A4D-3FF98F7538CE}"/>
              </a:ext>
            </a:extLst>
          </p:cNvPr>
          <p:cNvSpPr>
            <a:spLocks noGrp="1"/>
          </p:cNvSpPr>
          <p:nvPr>
            <p:ph type="title"/>
          </p:nvPr>
        </p:nvSpPr>
        <p:spPr>
          <a:xfrm>
            <a:off x="588963" y="457200"/>
            <a:ext cx="10767076" cy="1107996"/>
          </a:xfrm>
        </p:spPr>
        <p:txBody>
          <a:bodyPr>
            <a:noAutofit/>
          </a:bodyPr>
          <a:lstStyle/>
          <a:p>
            <a:pPr algn="ctr"/>
            <a:r>
              <a:rPr lang="en-US" sz="3600"/>
              <a:t>Microsoft Purview: </a:t>
            </a:r>
            <a:br>
              <a:rPr lang="en-US" sz="3600"/>
            </a:br>
            <a:r>
              <a:rPr lang="en-US" sz="3200"/>
              <a:t>your trusted partner to secure &amp; govern AI agents</a:t>
            </a:r>
            <a:endParaRPr lang="en-US" sz="3600"/>
          </a:p>
        </p:txBody>
      </p:sp>
      <p:sp>
        <p:nvSpPr>
          <p:cNvPr id="30" name="Rectangle 29" descr="&quot;Microsoft Purview’s solutions&quot; highlighted in blue color font from the title">
            <a:extLst>
              <a:ext uri="{FF2B5EF4-FFF2-40B4-BE49-F238E27FC236}">
                <a16:creationId xmlns:a16="http://schemas.microsoft.com/office/drawing/2014/main" id="{6F2C2D4C-51AB-AA3A-745C-73A5A8A52BF0}"/>
              </a:ext>
            </a:extLst>
          </p:cNvPr>
          <p:cNvSpPr/>
          <p:nvPr/>
        </p:nvSpPr>
        <p:spPr bwMode="auto">
          <a:xfrm>
            <a:off x="9222377" y="1240971"/>
            <a:ext cx="52252" cy="1343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aphicFrame>
        <p:nvGraphicFramePr>
          <p:cNvPr id="28" name="Table 27">
            <a:extLst>
              <a:ext uri="{FF2B5EF4-FFF2-40B4-BE49-F238E27FC236}">
                <a16:creationId xmlns:a16="http://schemas.microsoft.com/office/drawing/2014/main" id="{B6598E90-A87C-DBD1-7AF3-513455C1DB6B}"/>
              </a:ext>
            </a:extLst>
          </p:cNvPr>
          <p:cNvGraphicFramePr>
            <a:graphicFrameLocks noGrp="1"/>
          </p:cNvGraphicFramePr>
          <p:nvPr>
            <p:extLst>
              <p:ext uri="{D42A27DB-BD31-4B8C-83A1-F6EECF244321}">
                <p14:modId xmlns:p14="http://schemas.microsoft.com/office/powerpoint/2010/main" val="2704631160"/>
              </p:ext>
            </p:extLst>
          </p:nvPr>
        </p:nvGraphicFramePr>
        <p:xfrm>
          <a:off x="928293" y="1746069"/>
          <a:ext cx="5561720" cy="3627120"/>
        </p:xfrm>
        <a:graphic>
          <a:graphicData uri="http://schemas.openxmlformats.org/drawingml/2006/table">
            <a:tbl>
              <a:tblPr bandRow="1">
                <a:tableStyleId>{5C22544A-7EE6-4342-B048-85BDC9FD1C3A}</a:tableStyleId>
              </a:tblPr>
              <a:tblGrid>
                <a:gridCol w="4023190">
                  <a:extLst>
                    <a:ext uri="{9D8B030D-6E8A-4147-A177-3AD203B41FA5}">
                      <a16:colId xmlns:a16="http://schemas.microsoft.com/office/drawing/2014/main" val="2795189067"/>
                    </a:ext>
                  </a:extLst>
                </a:gridCol>
                <a:gridCol w="1538530">
                  <a:extLst>
                    <a:ext uri="{9D8B030D-6E8A-4147-A177-3AD203B41FA5}">
                      <a16:colId xmlns:a16="http://schemas.microsoft.com/office/drawing/2014/main" val="2873385886"/>
                    </a:ext>
                  </a:extLst>
                </a:gridCol>
              </a:tblGrid>
              <a:tr h="0">
                <a:tc>
                  <a:txBody>
                    <a:bodyPr/>
                    <a:lstStyle/>
                    <a:p>
                      <a:r>
                        <a:rPr lang="en-US" sz="1400">
                          <a:solidFill>
                            <a:sysClr val="windowText" lastClr="000000"/>
                          </a:solidFill>
                        </a:rPr>
                        <a:t>Audit log</a:t>
                      </a: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ysClr val="windowText" lastClr="000000"/>
                          </a:solidFill>
                        </a:rPr>
                        <a:t>✅</a:t>
                      </a: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0278486"/>
                  </a:ext>
                </a:extLst>
              </a:tr>
              <a:tr h="0">
                <a:tc>
                  <a:txBody>
                    <a:bodyPr/>
                    <a:lstStyle/>
                    <a:p>
                      <a:r>
                        <a:rPr lang="en-US" sz="1400">
                          <a:solidFill>
                            <a:sysClr val="windowText" lastClr="000000"/>
                          </a:solidFill>
                        </a:rPr>
                        <a:t>Legal holds and searches</a:t>
                      </a: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ysClr val="windowText" lastClr="000000"/>
                          </a:solidFill>
                        </a:rPr>
                        <a:t>✅</a:t>
                      </a: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6859229"/>
                  </a:ext>
                </a:extLst>
              </a:tr>
              <a:tr h="0">
                <a:tc>
                  <a:txBody>
                    <a:bodyPr/>
                    <a:lstStyle/>
                    <a:p>
                      <a:r>
                        <a:rPr lang="en-US" sz="1400">
                          <a:solidFill>
                            <a:sysClr val="windowText" lastClr="000000"/>
                          </a:solidFill>
                        </a:rPr>
                        <a:t>Retain or delete interactions</a:t>
                      </a: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400" b="0" i="0" u="none" strike="noStrike" kern="1200" cap="none" spc="0" normalizeH="0" baseline="0" noProof="0">
                          <a:ln>
                            <a:noFill/>
                          </a:ln>
                          <a:solidFill>
                            <a:sysClr val="windowText" lastClr="000000"/>
                          </a:solidFill>
                          <a:effectLst/>
                          <a:uLnTx/>
                          <a:uFillTx/>
                          <a:latin typeface="Segoe Sans Display"/>
                          <a:ea typeface="+mn-ea"/>
                          <a:cs typeface="+mn-cs"/>
                        </a:rPr>
                        <a:t>✅</a:t>
                      </a:r>
                      <a:endParaRPr lang="en-US" sz="1400">
                        <a:solidFill>
                          <a:sysClr val="windowText" lastClr="000000"/>
                        </a:solidFill>
                      </a:endParaRP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9068340"/>
                  </a:ext>
                </a:extLst>
              </a:tr>
              <a:tr h="0">
                <a:tc>
                  <a:txBody>
                    <a:bodyPr/>
                    <a:lstStyle/>
                    <a:p>
                      <a:r>
                        <a:rPr lang="en-US" sz="1400">
                          <a:solidFill>
                            <a:sysClr val="windowText" lastClr="000000"/>
                          </a:solidFill>
                        </a:rPr>
                        <a:t>Monitor for misuse</a:t>
                      </a: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400" b="0" i="0" u="none" strike="noStrike" kern="1200" cap="none" spc="0" normalizeH="0" baseline="0" noProof="0">
                          <a:ln>
                            <a:noFill/>
                          </a:ln>
                          <a:solidFill>
                            <a:sysClr val="windowText" lastClr="000000"/>
                          </a:solidFill>
                          <a:effectLst/>
                          <a:uLnTx/>
                          <a:uFillTx/>
                          <a:latin typeface="Segoe Sans Display"/>
                          <a:ea typeface="+mn-ea"/>
                          <a:cs typeface="+mn-cs"/>
                        </a:rPr>
                        <a:t>✅</a:t>
                      </a:r>
                      <a:endParaRPr lang="en-US" sz="1400">
                        <a:solidFill>
                          <a:sysClr val="windowText" lastClr="000000"/>
                        </a:solidFill>
                      </a:endParaRP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7529356"/>
                  </a:ext>
                </a:extLst>
              </a:tr>
              <a:tr h="0">
                <a:tc>
                  <a:txBody>
                    <a:bodyPr/>
                    <a:lstStyle/>
                    <a:p>
                      <a:r>
                        <a:rPr lang="en-US" sz="1400">
                          <a:solidFill>
                            <a:sysClr val="windowText" lastClr="000000"/>
                          </a:solidFill>
                        </a:rPr>
                        <a:t>Respect existing data protections</a:t>
                      </a: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400" b="0" i="0" u="none" strike="noStrike" kern="1200" cap="none" spc="0" normalizeH="0" baseline="0" noProof="0">
                          <a:ln>
                            <a:noFill/>
                          </a:ln>
                          <a:solidFill>
                            <a:sysClr val="windowText" lastClr="000000"/>
                          </a:solidFill>
                          <a:effectLst/>
                          <a:uLnTx/>
                          <a:uFillTx/>
                          <a:latin typeface="Segoe Sans Display"/>
                          <a:ea typeface="+mn-ea"/>
                          <a:cs typeface="+mn-cs"/>
                        </a:rPr>
                        <a:t>✅</a:t>
                      </a:r>
                      <a:endParaRPr lang="en-US" sz="1400">
                        <a:solidFill>
                          <a:sysClr val="windowText" lastClr="000000"/>
                        </a:solidFill>
                      </a:endParaRP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9422776"/>
                  </a:ext>
                </a:extLst>
              </a:tr>
              <a:tr h="0">
                <a:tc>
                  <a:txBody>
                    <a:bodyPr/>
                    <a:lstStyle/>
                    <a:p>
                      <a:r>
                        <a:rPr lang="en-US" sz="1400">
                          <a:solidFill>
                            <a:sysClr val="windowText" lastClr="000000"/>
                          </a:solidFill>
                        </a:rPr>
                        <a:t>Understand usage in the context of security &amp; compliance</a:t>
                      </a: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400" b="0" i="0" u="none" strike="noStrike" kern="1200" cap="none" spc="0" normalizeH="0" baseline="0" noProof="0">
                          <a:ln>
                            <a:noFill/>
                          </a:ln>
                          <a:solidFill>
                            <a:sysClr val="windowText" lastClr="000000"/>
                          </a:solidFill>
                          <a:effectLst/>
                          <a:uLnTx/>
                          <a:uFillTx/>
                          <a:latin typeface="Segoe Sans Display"/>
                          <a:ea typeface="+mn-ea"/>
                          <a:cs typeface="+mn-cs"/>
                        </a:rPr>
                        <a:t>✅</a:t>
                      </a:r>
                      <a:endParaRPr lang="en-US" sz="1400">
                        <a:solidFill>
                          <a:sysClr val="windowText" lastClr="000000"/>
                        </a:solidFill>
                      </a:endParaRP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1602970"/>
                  </a:ext>
                </a:extLst>
              </a:tr>
              <a:tr h="0">
                <a:tc>
                  <a:txBody>
                    <a:bodyPr/>
                    <a:lstStyle/>
                    <a:p>
                      <a:r>
                        <a:rPr lang="en-US" sz="1400">
                          <a:solidFill>
                            <a:sysClr val="windowText" lastClr="000000"/>
                          </a:solidFill>
                        </a:rPr>
                        <a:t>Know how to mitigate risks</a:t>
                      </a: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400" b="0" i="0" u="none" strike="noStrike" kern="1200" cap="none" spc="0" normalizeH="0" baseline="0" noProof="0">
                          <a:ln>
                            <a:noFill/>
                          </a:ln>
                          <a:solidFill>
                            <a:sysClr val="windowText" lastClr="000000"/>
                          </a:solidFill>
                          <a:effectLst/>
                          <a:uLnTx/>
                          <a:uFillTx/>
                          <a:latin typeface="Segoe Sans Display"/>
                          <a:ea typeface="+mn-ea"/>
                          <a:cs typeface="+mn-cs"/>
                        </a:rPr>
                        <a:t>✅</a:t>
                      </a:r>
                      <a:endParaRPr lang="en-US" sz="1400">
                        <a:solidFill>
                          <a:sysClr val="windowText" lastClr="000000"/>
                        </a:solidFill>
                      </a:endParaRP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7546828"/>
                  </a:ext>
                </a:extLst>
              </a:tr>
            </a:tbl>
          </a:graphicData>
        </a:graphic>
      </p:graphicFrame>
      <p:graphicFrame>
        <p:nvGraphicFramePr>
          <p:cNvPr id="12" name="Table 11">
            <a:extLst>
              <a:ext uri="{FF2B5EF4-FFF2-40B4-BE49-F238E27FC236}">
                <a16:creationId xmlns:a16="http://schemas.microsoft.com/office/drawing/2014/main" id="{A6A885C0-66D5-BFC7-48BB-2AE57F2BFE5E}"/>
              </a:ext>
            </a:extLst>
          </p:cNvPr>
          <p:cNvGraphicFramePr>
            <a:graphicFrameLocks noGrp="1"/>
          </p:cNvGraphicFramePr>
          <p:nvPr>
            <p:extLst>
              <p:ext uri="{D42A27DB-BD31-4B8C-83A1-F6EECF244321}">
                <p14:modId xmlns:p14="http://schemas.microsoft.com/office/powerpoint/2010/main" val="3228955465"/>
              </p:ext>
            </p:extLst>
          </p:nvPr>
        </p:nvGraphicFramePr>
        <p:xfrm>
          <a:off x="6301970" y="1746069"/>
          <a:ext cx="5263619" cy="3139440"/>
        </p:xfrm>
        <a:graphic>
          <a:graphicData uri="http://schemas.openxmlformats.org/drawingml/2006/table">
            <a:tbl>
              <a:tblPr bandRow="1">
                <a:tableStyleId>{5C22544A-7EE6-4342-B048-85BDC9FD1C3A}</a:tableStyleId>
              </a:tblPr>
              <a:tblGrid>
                <a:gridCol w="4330122">
                  <a:extLst>
                    <a:ext uri="{9D8B030D-6E8A-4147-A177-3AD203B41FA5}">
                      <a16:colId xmlns:a16="http://schemas.microsoft.com/office/drawing/2014/main" val="2795189067"/>
                    </a:ext>
                  </a:extLst>
                </a:gridCol>
                <a:gridCol w="933497">
                  <a:extLst>
                    <a:ext uri="{9D8B030D-6E8A-4147-A177-3AD203B41FA5}">
                      <a16:colId xmlns:a16="http://schemas.microsoft.com/office/drawing/2014/main" val="2873385886"/>
                    </a:ext>
                  </a:extLst>
                </a:gridCol>
              </a:tblGrid>
              <a:tr h="396788">
                <a:tc>
                  <a:txBody>
                    <a:bodyPr/>
                    <a:lstStyle/>
                    <a:p>
                      <a:r>
                        <a:rPr lang="en-US" sz="1400">
                          <a:solidFill>
                            <a:sysClr val="windowText" lastClr="000000"/>
                          </a:solidFill>
                        </a:rPr>
                        <a:t>View prompt and response text</a:t>
                      </a: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400" b="0" i="0" u="none" strike="noStrike" kern="1200" cap="none" spc="0" normalizeH="0" baseline="0" noProof="0">
                          <a:ln>
                            <a:noFill/>
                          </a:ln>
                          <a:solidFill>
                            <a:sysClr val="windowText" lastClr="000000"/>
                          </a:solidFill>
                          <a:effectLst/>
                          <a:uLnTx/>
                          <a:uFillTx/>
                          <a:latin typeface="Segoe Sans Display"/>
                          <a:ea typeface="+mn-ea"/>
                          <a:cs typeface="+mn-cs"/>
                        </a:rPr>
                        <a:t>✅</a:t>
                      </a:r>
                      <a:endParaRPr lang="en-US" sz="1400">
                        <a:solidFill>
                          <a:sysClr val="windowText" lastClr="000000"/>
                        </a:solidFill>
                      </a:endParaRP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0278486"/>
                  </a:ext>
                </a:extLst>
              </a:tr>
              <a:tr h="396788">
                <a:tc>
                  <a:txBody>
                    <a:bodyPr/>
                    <a:lstStyle/>
                    <a:p>
                      <a:r>
                        <a:rPr lang="en-US" sz="1400">
                          <a:solidFill>
                            <a:sysClr val="windowText" lastClr="000000"/>
                          </a:solidFill>
                        </a:rPr>
                        <a:t>Guidance to comply with regulations</a:t>
                      </a: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400" b="0" i="0" u="none" strike="noStrike" kern="1200" cap="none" spc="0" normalizeH="0" baseline="0" noProof="0">
                          <a:ln>
                            <a:noFill/>
                          </a:ln>
                          <a:solidFill>
                            <a:sysClr val="windowText" lastClr="000000"/>
                          </a:solidFill>
                          <a:effectLst/>
                          <a:uLnTx/>
                          <a:uFillTx/>
                          <a:latin typeface="Segoe Sans Display"/>
                          <a:ea typeface="+mn-ea"/>
                          <a:cs typeface="+mn-cs"/>
                        </a:rPr>
                        <a:t>✅</a:t>
                      </a:r>
                      <a:endParaRPr lang="en-US" sz="1400">
                        <a:solidFill>
                          <a:sysClr val="windowText" lastClr="000000"/>
                        </a:solidFill>
                      </a:endParaRP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6859229"/>
                  </a:ext>
                </a:extLst>
              </a:tr>
              <a:tr h="396788">
                <a:tc>
                  <a:txBody>
                    <a:bodyPr/>
                    <a:lstStyle/>
                    <a:p>
                      <a:r>
                        <a:rPr lang="en-US" sz="1400">
                          <a:solidFill>
                            <a:sysClr val="windowText" lastClr="000000"/>
                          </a:solidFill>
                        </a:rPr>
                        <a:t>Understand oversharing risk posture</a:t>
                      </a: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400" b="0" i="0" u="none" strike="noStrike" kern="1200" cap="none" spc="0" normalizeH="0" baseline="0" noProof="0">
                          <a:ln>
                            <a:noFill/>
                          </a:ln>
                          <a:solidFill>
                            <a:sysClr val="windowText" lastClr="000000"/>
                          </a:solidFill>
                          <a:effectLst/>
                          <a:uLnTx/>
                          <a:uFillTx/>
                          <a:latin typeface="Segoe Sans Display"/>
                          <a:ea typeface="+mn-ea"/>
                          <a:cs typeface="+mn-cs"/>
                        </a:rPr>
                        <a:t>✅</a:t>
                      </a:r>
                      <a:endParaRPr lang="en-US" sz="1400">
                        <a:solidFill>
                          <a:sysClr val="windowText" lastClr="000000"/>
                        </a:solidFill>
                      </a:endParaRP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9068340"/>
                  </a:ext>
                </a:extLst>
              </a:tr>
              <a:tr h="396788">
                <a:tc>
                  <a:txBody>
                    <a:bodyPr/>
                    <a:lstStyle/>
                    <a:p>
                      <a:r>
                        <a:rPr lang="en-US" sz="1400">
                          <a:solidFill>
                            <a:sysClr val="windowText" lastClr="000000"/>
                          </a:solidFill>
                        </a:rPr>
                        <a:t>Block data from processing</a:t>
                      </a: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400" b="0" i="0" u="none" strike="noStrike" kern="1200" cap="none" spc="0" normalizeH="0" baseline="0" noProof="0">
                          <a:ln>
                            <a:noFill/>
                          </a:ln>
                          <a:solidFill>
                            <a:sysClr val="windowText" lastClr="000000"/>
                          </a:solidFill>
                          <a:effectLst/>
                          <a:uLnTx/>
                          <a:uFillTx/>
                          <a:latin typeface="Segoe Sans Display"/>
                          <a:ea typeface="+mn-ea"/>
                          <a:cs typeface="+mn-cs"/>
                        </a:rPr>
                        <a:t>✅</a:t>
                      </a:r>
                      <a:endParaRPr lang="en-US" sz="1400">
                        <a:solidFill>
                          <a:sysClr val="windowText" lastClr="000000"/>
                        </a:solidFill>
                      </a:endParaRP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7529356"/>
                  </a:ext>
                </a:extLst>
              </a:tr>
              <a:tr h="365606">
                <a:tc>
                  <a:txBody>
                    <a:bodyPr/>
                    <a:lstStyle/>
                    <a:p>
                      <a:r>
                        <a:rPr lang="en-US" sz="1400">
                          <a:solidFill>
                            <a:sysClr val="windowText" lastClr="000000"/>
                          </a:solidFill>
                        </a:rPr>
                        <a:t>Steps to get ready for agents</a:t>
                      </a: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400" b="0" i="0" u="none" strike="noStrike" kern="1200" cap="none" spc="0" normalizeH="0" baseline="0" noProof="0">
                          <a:ln>
                            <a:noFill/>
                          </a:ln>
                          <a:solidFill>
                            <a:sysClr val="windowText" lastClr="000000"/>
                          </a:solidFill>
                          <a:effectLst/>
                          <a:uLnTx/>
                          <a:uFillTx/>
                          <a:latin typeface="Segoe Sans Display"/>
                          <a:ea typeface="+mn-ea"/>
                          <a:cs typeface="+mn-cs"/>
                        </a:rPr>
                        <a:t>✅</a:t>
                      </a:r>
                      <a:endParaRPr lang="en-US" sz="1400">
                        <a:solidFill>
                          <a:sysClr val="windowText" lastClr="000000"/>
                        </a:solidFill>
                      </a:endParaRP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9422776"/>
                  </a:ext>
                </a:extLst>
              </a:tr>
              <a:tr h="685362">
                <a:tc>
                  <a:txBody>
                    <a:bodyPr/>
                    <a:lstStyle/>
                    <a:p>
                      <a:r>
                        <a:rPr lang="en-US" sz="1400">
                          <a:solidFill>
                            <a:sysClr val="windowText" lastClr="000000"/>
                          </a:solidFill>
                        </a:rPr>
                        <a:t>Detect anomaly and risky usage and mitigate risks dynamically</a:t>
                      </a: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400" b="0" i="0" u="none" strike="noStrike" kern="1200" cap="none" spc="0" normalizeH="0" baseline="0" noProof="0">
                          <a:ln>
                            <a:noFill/>
                          </a:ln>
                          <a:solidFill>
                            <a:sysClr val="windowText" lastClr="000000"/>
                          </a:solidFill>
                          <a:effectLst/>
                          <a:uLnTx/>
                          <a:uFillTx/>
                          <a:latin typeface="Segoe Sans Display"/>
                          <a:ea typeface="+mn-ea"/>
                          <a:cs typeface="+mn-cs"/>
                        </a:rPr>
                        <a:t>✅</a:t>
                      </a:r>
                      <a:endParaRPr lang="en-US" sz="1400">
                        <a:solidFill>
                          <a:sysClr val="windowText" lastClr="000000"/>
                        </a:solidFill>
                      </a:endParaRPr>
                    </a:p>
                  </a:txBody>
                  <a:tcPr marT="182880" marB="9144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1602970"/>
                  </a:ext>
                </a:extLst>
              </a:tr>
            </a:tbl>
          </a:graphicData>
        </a:graphic>
      </p:graphicFrame>
      <p:sp>
        <p:nvSpPr>
          <p:cNvPr id="8" name="Title 8">
            <a:extLst>
              <a:ext uri="{FF2B5EF4-FFF2-40B4-BE49-F238E27FC236}">
                <a16:creationId xmlns:a16="http://schemas.microsoft.com/office/drawing/2014/main" id="{A6D58B9E-6AE8-F8CE-9276-D676EA664673}"/>
              </a:ext>
              <a:ext uri="{C183D7F6-B498-43B3-948B-1728B52AA6E4}">
                <adec:decorative xmlns:adec="http://schemas.microsoft.com/office/drawing/2017/decorative" val="1"/>
              </a:ext>
            </a:extLst>
          </p:cNvPr>
          <p:cNvSpPr>
            <a:spLocks/>
          </p:cNvSpPr>
          <p:nvPr/>
        </p:nvSpPr>
        <p:spPr bwMode="auto">
          <a:xfrm>
            <a:off x="811078" y="5797902"/>
            <a:ext cx="10754511" cy="465892"/>
          </a:xfrm>
          <a:prstGeom prst="round2SameRect">
            <a:avLst>
              <a:gd name="adj1" fmla="val 32711"/>
              <a:gd name="adj2" fmla="val 24534"/>
            </a:avLst>
          </a:prstGeom>
          <a:gradFill flip="none" rotWithShape="1">
            <a:gsLst>
              <a:gs pos="0">
                <a:srgbClr val="C03BC4"/>
              </a:gs>
              <a:gs pos="80000">
                <a:srgbClr val="0078D4"/>
              </a:gs>
            </a:gsLst>
            <a:lin ang="10800000" scaled="1"/>
            <a:tileRect/>
          </a:gradFill>
        </p:spPr>
        <p:txBody>
          <a:bodyPr wrap="square" lIns="91440" tIns="45720" rIns="91440" bIns="45720" anchor="ctr">
            <a:noAutofit/>
          </a:bodyPr>
          <a:lstStyle/>
          <a:p>
            <a:pPr algn="ctr" defTabSz="914367"/>
            <a:r>
              <a:rPr lang="en-US" sz="2000">
                <a:ln w="3175">
                  <a:noFill/>
                </a:ln>
                <a:solidFill>
                  <a:srgbClr val="FFFFFF"/>
                </a:solidFill>
                <a:latin typeface="Segoe UI Semibold"/>
              </a:rPr>
              <a:t>Purview policies &amp; protections for Copilot automatically extend to agents</a:t>
            </a:r>
          </a:p>
        </p:txBody>
      </p:sp>
    </p:spTree>
    <p:extLst>
      <p:ext uri="{BB962C8B-B14F-4D97-AF65-F5344CB8AC3E}">
        <p14:creationId xmlns:p14="http://schemas.microsoft.com/office/powerpoint/2010/main" val="290238588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16FB9F-C0AE-F762-F125-845F7BECC93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DC9D71B-8E90-FD20-463E-3AA3441926D8}"/>
              </a:ext>
            </a:extLst>
          </p:cNvPr>
          <p:cNvSpPr>
            <a:spLocks noGrp="1"/>
          </p:cNvSpPr>
          <p:nvPr>
            <p:ph type="title"/>
          </p:nvPr>
        </p:nvSpPr>
        <p:spPr>
          <a:xfrm>
            <a:off x="758597" y="2548242"/>
            <a:ext cx="10049816" cy="1495794"/>
          </a:xfrm>
        </p:spPr>
        <p:txBody>
          <a:bodyPr anchor="ctr"/>
          <a:lstStyle/>
          <a:p>
            <a:r>
              <a:rPr lang="en-US"/>
              <a:t>Securing AI Apps and Agents with Microsoft Purview</a:t>
            </a:r>
          </a:p>
        </p:txBody>
      </p:sp>
      <p:sp>
        <p:nvSpPr>
          <p:cNvPr id="2" name="Rectangle: Rounded Corners 7">
            <a:extLst>
              <a:ext uri="{FF2B5EF4-FFF2-40B4-BE49-F238E27FC236}">
                <a16:creationId xmlns:a16="http://schemas.microsoft.com/office/drawing/2014/main" id="{D11A956B-5D7F-A7BD-8E7F-35299924C618}"/>
              </a:ext>
              <a:ext uri="{C183D7F6-B498-43B3-948B-1728B52AA6E4}">
                <adec:decorative xmlns:adec="http://schemas.microsoft.com/office/drawing/2017/decorative" val="1"/>
              </a:ext>
            </a:extLst>
          </p:cNvPr>
          <p:cNvSpPr>
            <a:spLocks/>
          </p:cNvSpPr>
          <p:nvPr/>
        </p:nvSpPr>
        <p:spPr bwMode="auto">
          <a:xfrm>
            <a:off x="3603813" y="2570655"/>
            <a:ext cx="6519134" cy="756306"/>
          </a:xfrm>
          <a:prstGeom prst="roundRect">
            <a:avLst>
              <a:gd name="adj" fmla="val 23762"/>
            </a:avLst>
          </a:prstGeom>
          <a:ln w="28575" cap="rnd">
            <a:gradFill flip="none" rotWithShape="1">
              <a:gsLst>
                <a:gs pos="0">
                  <a:srgbClr val="C03BC4"/>
                </a:gs>
                <a:gs pos="80000">
                  <a:srgbClr val="0078D4"/>
                </a:gs>
              </a:gsLst>
              <a:path path="circle">
                <a:fillToRect l="100000" t="100000"/>
              </a:path>
              <a:tileRect r="-100000" b="-100000"/>
            </a:gradFill>
            <a:prstDash val="sysDash"/>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300"/>
              </a:spcAft>
              <a:buClrTx/>
              <a:buSzTx/>
              <a:buFontTx/>
              <a:buNone/>
              <a:tabLst/>
              <a:defRPr/>
            </a:pPr>
            <a:endParaRPr kumimoji="0" lang="en-IN" sz="1200" b="1" i="0" u="none" strike="noStrike" kern="1200" cap="none" spc="0" normalizeH="0" baseline="0" noProof="0">
              <a:ln>
                <a:noFill/>
              </a:ln>
              <a:solidFill>
                <a:srgbClr val="0078D4"/>
              </a:solidFill>
              <a:effectLst/>
              <a:uLnTx/>
              <a:uFillTx/>
              <a:latin typeface="Segoe UI Semibold"/>
              <a:ea typeface="+mn-ea"/>
              <a:cs typeface="Segoe UI"/>
            </a:endParaRPr>
          </a:p>
        </p:txBody>
      </p:sp>
      <p:sp>
        <p:nvSpPr>
          <p:cNvPr id="8" name="TextBox 7">
            <a:extLst>
              <a:ext uri="{FF2B5EF4-FFF2-40B4-BE49-F238E27FC236}">
                <a16:creationId xmlns:a16="http://schemas.microsoft.com/office/drawing/2014/main" id="{82094AE2-164F-DD9D-F909-6A3534EB0726}"/>
              </a:ext>
            </a:extLst>
          </p:cNvPr>
          <p:cNvSpPr txBox="1"/>
          <p:nvPr/>
        </p:nvSpPr>
        <p:spPr>
          <a:xfrm>
            <a:off x="5731498" y="1739412"/>
            <a:ext cx="4842729" cy="430887"/>
          </a:xfrm>
          <a:prstGeom prst="rect">
            <a:avLst/>
          </a:prstGeom>
          <a:noFill/>
        </p:spPr>
        <p:txBody>
          <a:bodyPr wrap="square">
            <a:spAutoFit/>
          </a:bodyPr>
          <a:lstStyle/>
          <a:p>
            <a:r>
              <a:rPr kumimoji="0" lang="en-US" sz="2200" b="1" i="0" u="none" strike="noStrike" kern="1200" cap="none" spc="-50" normalizeH="0" baseline="0" noProof="0">
                <a:ln w="3175">
                  <a:noFill/>
                </a:ln>
                <a:solidFill>
                  <a:schemeClr val="bg1">
                    <a:lumMod val="75000"/>
                  </a:schemeClr>
                </a:solidFill>
                <a:effectLst/>
                <a:uLnTx/>
                <a:uFillTx/>
                <a:latin typeface="Segoe Print" panose="02000600000000000000" pitchFamily="2" charset="0"/>
                <a:cs typeface="Segoe UI" panose="020B0502040204020203" pitchFamily="34" charset="0"/>
              </a:rPr>
              <a:t>Going beyond M365 Copilot</a:t>
            </a:r>
            <a:endParaRPr lang="en-US" sz="2200">
              <a:solidFill>
                <a:schemeClr val="bg1">
                  <a:lumMod val="75000"/>
                </a:schemeClr>
              </a:solidFill>
              <a:latin typeface="Segoe Print" panose="02000600000000000000" pitchFamily="2" charset="0"/>
            </a:endParaRPr>
          </a:p>
        </p:txBody>
      </p:sp>
      <p:sp>
        <p:nvSpPr>
          <p:cNvPr id="12" name="Arc 11">
            <a:extLst>
              <a:ext uri="{FF2B5EF4-FFF2-40B4-BE49-F238E27FC236}">
                <a16:creationId xmlns:a16="http://schemas.microsoft.com/office/drawing/2014/main" id="{40387E53-0436-6FF6-E2DA-CDA511EA8756}"/>
              </a:ext>
            </a:extLst>
          </p:cNvPr>
          <p:cNvSpPr/>
          <p:nvPr/>
        </p:nvSpPr>
        <p:spPr>
          <a:xfrm rot="17921614">
            <a:off x="5336141" y="1926037"/>
            <a:ext cx="660542" cy="600274"/>
          </a:xfrm>
          <a:custGeom>
            <a:avLst/>
            <a:gdLst>
              <a:gd name="connsiteX0" fmla="*/ 4780 w 660542"/>
              <a:gd name="connsiteY0" fmla="*/ 351018 h 600274"/>
              <a:gd name="connsiteX1" fmla="*/ 279308 w 660542"/>
              <a:gd name="connsiteY1" fmla="*/ 3595 h 600274"/>
              <a:gd name="connsiteX2" fmla="*/ 653730 w 660542"/>
              <a:gd name="connsiteY2" fmla="*/ 239498 h 600274"/>
              <a:gd name="connsiteX3" fmla="*/ 330271 w 660542"/>
              <a:gd name="connsiteY3" fmla="*/ 300137 h 600274"/>
              <a:gd name="connsiteX4" fmla="*/ 4780 w 660542"/>
              <a:gd name="connsiteY4" fmla="*/ 351018 h 600274"/>
              <a:gd name="connsiteX0" fmla="*/ 4780 w 660542"/>
              <a:gd name="connsiteY0" fmla="*/ 351018 h 600274"/>
              <a:gd name="connsiteX1" fmla="*/ 279308 w 660542"/>
              <a:gd name="connsiteY1" fmla="*/ 3595 h 600274"/>
              <a:gd name="connsiteX2" fmla="*/ 653730 w 660542"/>
              <a:gd name="connsiteY2" fmla="*/ 239498 h 600274"/>
            </a:gdLst>
            <a:ahLst/>
            <a:cxnLst>
              <a:cxn ang="0">
                <a:pos x="connsiteX0" y="connsiteY0"/>
              </a:cxn>
              <a:cxn ang="0">
                <a:pos x="connsiteX1" y="connsiteY1"/>
              </a:cxn>
              <a:cxn ang="0">
                <a:pos x="connsiteX2" y="connsiteY2"/>
              </a:cxn>
            </a:cxnLst>
            <a:rect l="l" t="t" r="r" b="b"/>
            <a:pathLst>
              <a:path w="660542" h="600274" stroke="0" extrusionOk="0">
                <a:moveTo>
                  <a:pt x="4780" y="351018"/>
                </a:moveTo>
                <a:cubicBezTo>
                  <a:pt x="-59415" y="175835"/>
                  <a:pt x="104645" y="67368"/>
                  <a:pt x="279308" y="3595"/>
                </a:cubicBezTo>
                <a:cubicBezTo>
                  <a:pt x="422171" y="-6215"/>
                  <a:pt x="636523" y="99194"/>
                  <a:pt x="653730" y="239498"/>
                </a:cubicBezTo>
                <a:cubicBezTo>
                  <a:pt x="571127" y="250161"/>
                  <a:pt x="405703" y="290762"/>
                  <a:pt x="330271" y="300137"/>
                </a:cubicBezTo>
                <a:cubicBezTo>
                  <a:pt x="248345" y="304830"/>
                  <a:pt x="127293" y="322050"/>
                  <a:pt x="4780" y="351018"/>
                </a:cubicBezTo>
                <a:close/>
              </a:path>
              <a:path w="660542" h="600274" fill="none" extrusionOk="0">
                <a:moveTo>
                  <a:pt x="4780" y="351018"/>
                </a:moveTo>
                <a:cubicBezTo>
                  <a:pt x="-63419" y="160339"/>
                  <a:pt x="116097" y="41860"/>
                  <a:pt x="279308" y="3595"/>
                </a:cubicBezTo>
                <a:cubicBezTo>
                  <a:pt x="487295" y="-41670"/>
                  <a:pt x="619793" y="86356"/>
                  <a:pt x="653730" y="239498"/>
                </a:cubicBezTo>
              </a:path>
              <a:path w="660542" h="600274" fill="none" stroke="0" extrusionOk="0">
                <a:moveTo>
                  <a:pt x="4780" y="351018"/>
                </a:moveTo>
                <a:cubicBezTo>
                  <a:pt x="-17885" y="163582"/>
                  <a:pt x="95998" y="37860"/>
                  <a:pt x="279308" y="3595"/>
                </a:cubicBezTo>
                <a:cubicBezTo>
                  <a:pt x="462665" y="-18920"/>
                  <a:pt x="617936" y="65929"/>
                  <a:pt x="653730" y="239498"/>
                </a:cubicBezTo>
              </a:path>
            </a:pathLst>
          </a:custGeom>
          <a:ln w="19050">
            <a:solidFill>
              <a:schemeClr val="bg1">
                <a:lumMod val="75000"/>
              </a:schemeClr>
            </a:solidFill>
            <a:headEnd type="none" w="lg" len="med"/>
            <a:tailEnd type="none" w="lg" len="med"/>
            <a:extLst>
              <a:ext uri="{C807C97D-BFC1-408E-A445-0C87EB9F89A2}">
                <ask:lineSketchStyleProps xmlns:ask="http://schemas.microsoft.com/office/drawing/2018/sketchyshapes" sd="1978871457">
                  <a:prstGeom prst="arc">
                    <a:avLst>
                      <a:gd name="adj1" fmla="val 10266924"/>
                      <a:gd name="adj2" fmla="val 20962919"/>
                    </a:avLst>
                  </a:prstGeom>
                  <ask:type>
                    <ask:lineSketchFreehand/>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739644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wipe(down)">
                                      <p:cBhvr>
                                        <p:cTn id="11" dur="500"/>
                                        <p:tgtEl>
                                          <p:spTgt spid="12"/>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p:bldP spid="12"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B104CF-23A2-2211-F921-4E6A5671FF0E}"/>
            </a:ext>
          </a:extLst>
        </p:cNvPr>
        <p:cNvGrpSpPr/>
        <p:nvPr/>
      </p:nvGrpSpPr>
      <p:grpSpPr>
        <a:xfrm>
          <a:off x="0" y="0"/>
          <a:ext cx="0" cy="0"/>
          <a:chOff x="0" y="0"/>
          <a:chExt cx="0" cy="0"/>
        </a:xfrm>
      </p:grpSpPr>
      <p:sp>
        <p:nvSpPr>
          <p:cNvPr id="26" name="Rectangle: Rounded Corners 25">
            <a:extLst>
              <a:ext uri="{FF2B5EF4-FFF2-40B4-BE49-F238E27FC236}">
                <a16:creationId xmlns:a16="http://schemas.microsoft.com/office/drawing/2014/main" id="{752D38D9-2627-124A-66D5-299306E8B51A}"/>
              </a:ext>
              <a:ext uri="{C183D7F6-B498-43B3-948B-1728B52AA6E4}">
                <adec:decorative xmlns:adec="http://schemas.microsoft.com/office/drawing/2017/decorative" val="1"/>
              </a:ext>
            </a:extLst>
          </p:cNvPr>
          <p:cNvSpPr>
            <a:spLocks/>
          </p:cNvSpPr>
          <p:nvPr/>
        </p:nvSpPr>
        <p:spPr bwMode="auto">
          <a:xfrm rot="5400000">
            <a:off x="488465" y="3269566"/>
            <a:ext cx="265176" cy="60326"/>
          </a:xfrm>
          <a:prstGeom prst="roundRect">
            <a:avLst>
              <a:gd name="adj" fmla="val 50000"/>
            </a:avLst>
          </a:prstGeom>
          <a:gradFill>
            <a:gsLst>
              <a:gs pos="0">
                <a:srgbClr val="C03BC4"/>
              </a:gs>
              <a:gs pos="80000">
                <a:srgbClr val="0078D4"/>
              </a:gs>
            </a:gsLst>
            <a:path path="circle">
              <a:fillToRect l="100000" t="100000"/>
            </a:path>
          </a:gradFill>
        </p:spPr>
        <p:txBody>
          <a:bodyPr wrap="square" lIns="91440" tIns="45720" rIns="91440" bIns="45720" anchor="ctr">
            <a:noAutofit/>
          </a:bodyPr>
          <a:lstStyle/>
          <a:p>
            <a:pPr algn="ctr">
              <a:spcAft>
                <a:spcPts val="400"/>
              </a:spcAft>
            </a:pPr>
            <a:endParaRPr kumimoji="0" lang="en-US" sz="1600" b="0" i="1" u="none" strike="noStrike" kern="1200" cap="none" spc="0" normalizeH="0" baseline="0" noProof="0">
              <a:ln>
                <a:noFill/>
              </a:ln>
              <a:solidFill>
                <a:schemeClr val="bg1"/>
              </a:solidFill>
              <a:effectLst/>
              <a:uLnTx/>
              <a:uFillTx/>
              <a:ea typeface="+mn-ea"/>
              <a:cs typeface="+mn-cs"/>
            </a:endParaRPr>
          </a:p>
        </p:txBody>
      </p:sp>
      <p:sp>
        <p:nvSpPr>
          <p:cNvPr id="14" name="Rectangle: Rounded Corners 13">
            <a:extLst>
              <a:ext uri="{FF2B5EF4-FFF2-40B4-BE49-F238E27FC236}">
                <a16:creationId xmlns:a16="http://schemas.microsoft.com/office/drawing/2014/main" id="{B1F62A35-5E75-97C6-9E56-7B40C14EDBCC}"/>
              </a:ext>
              <a:ext uri="{C183D7F6-B498-43B3-948B-1728B52AA6E4}">
                <adec:decorative xmlns:adec="http://schemas.microsoft.com/office/drawing/2017/decorative" val="1"/>
              </a:ext>
            </a:extLst>
          </p:cNvPr>
          <p:cNvSpPr>
            <a:spLocks/>
          </p:cNvSpPr>
          <p:nvPr/>
        </p:nvSpPr>
        <p:spPr bwMode="auto">
          <a:xfrm rot="5400000">
            <a:off x="480356" y="1859988"/>
            <a:ext cx="261666" cy="60326"/>
          </a:xfrm>
          <a:prstGeom prst="roundRect">
            <a:avLst>
              <a:gd name="adj" fmla="val 50000"/>
            </a:avLst>
          </a:prstGeom>
          <a:gradFill>
            <a:gsLst>
              <a:gs pos="0">
                <a:srgbClr val="C03BC4"/>
              </a:gs>
              <a:gs pos="80000">
                <a:srgbClr val="0078D4"/>
              </a:gs>
            </a:gsLst>
            <a:path path="circle">
              <a:fillToRect l="100000" t="100000"/>
            </a:path>
          </a:gradFill>
        </p:spPr>
        <p:txBody>
          <a:bodyPr wrap="square" lIns="91440" tIns="45720" rIns="91440" bIns="45720" anchor="ctr">
            <a:noAutofit/>
          </a:bodyPr>
          <a:lstStyle/>
          <a:p>
            <a:pPr algn="ctr">
              <a:spcAft>
                <a:spcPts val="400"/>
              </a:spcAft>
            </a:pPr>
            <a:endParaRPr kumimoji="0" lang="en-US" sz="1600" b="0" i="1" u="none" strike="noStrike" kern="1200" cap="none" spc="0" normalizeH="0" baseline="0" noProof="0">
              <a:ln>
                <a:noFill/>
              </a:ln>
              <a:solidFill>
                <a:schemeClr val="bg1"/>
              </a:solidFill>
              <a:effectLst/>
              <a:uLnTx/>
              <a:uFillTx/>
              <a:ea typeface="+mn-ea"/>
              <a:cs typeface="+mn-cs"/>
            </a:endParaRPr>
          </a:p>
        </p:txBody>
      </p:sp>
      <p:sp>
        <p:nvSpPr>
          <p:cNvPr id="15" name="Rectangle: Rounded Corners 14">
            <a:extLst>
              <a:ext uri="{FF2B5EF4-FFF2-40B4-BE49-F238E27FC236}">
                <a16:creationId xmlns:a16="http://schemas.microsoft.com/office/drawing/2014/main" id="{5B5CDCAD-ECAC-2E68-779C-6D8AF68AC7DA}"/>
              </a:ext>
              <a:ext uri="{C183D7F6-B498-43B3-948B-1728B52AA6E4}">
                <adec:decorative xmlns:adec="http://schemas.microsoft.com/office/drawing/2017/decorative" val="1"/>
              </a:ext>
            </a:extLst>
          </p:cNvPr>
          <p:cNvSpPr>
            <a:spLocks/>
          </p:cNvSpPr>
          <p:nvPr/>
        </p:nvSpPr>
        <p:spPr bwMode="auto">
          <a:xfrm rot="16200000">
            <a:off x="1261571" y="483472"/>
            <a:ext cx="4086303" cy="5367338"/>
          </a:xfrm>
          <a:prstGeom prst="roundRect">
            <a:avLst>
              <a:gd name="adj" fmla="val 3800"/>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sp>
        <p:nvSpPr>
          <p:cNvPr id="16" name="Rectangle: Rounded Corners 15">
            <a:extLst>
              <a:ext uri="{FF2B5EF4-FFF2-40B4-BE49-F238E27FC236}">
                <a16:creationId xmlns:a16="http://schemas.microsoft.com/office/drawing/2014/main" id="{D3F97A1A-DB89-F7C9-E859-E411989826FE}"/>
              </a:ext>
              <a:ext uri="{C183D7F6-B498-43B3-948B-1728B52AA6E4}">
                <adec:decorative xmlns:adec="http://schemas.microsoft.com/office/drawing/2017/decorative" val="1"/>
              </a:ext>
            </a:extLst>
          </p:cNvPr>
          <p:cNvSpPr>
            <a:spLocks/>
          </p:cNvSpPr>
          <p:nvPr/>
        </p:nvSpPr>
        <p:spPr bwMode="auto">
          <a:xfrm>
            <a:off x="5687560" y="1458719"/>
            <a:ext cx="6208649" cy="4557395"/>
          </a:xfrm>
          <a:prstGeom prst="roundRect">
            <a:avLst>
              <a:gd name="adj" fmla="val 4500"/>
            </a:avLst>
          </a:prstGeom>
          <a:solidFill>
            <a:schemeClr val="bg1"/>
          </a:solidFill>
          <a:ln w="12700" cap="rnd">
            <a:no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sp>
        <p:nvSpPr>
          <p:cNvPr id="21" name="TextBox 20">
            <a:extLst>
              <a:ext uri="{FF2B5EF4-FFF2-40B4-BE49-F238E27FC236}">
                <a16:creationId xmlns:a16="http://schemas.microsoft.com/office/drawing/2014/main" id="{AC381EE3-8430-B284-508E-F69B6F566A16}"/>
              </a:ext>
            </a:extLst>
          </p:cNvPr>
          <p:cNvSpPr txBox="1">
            <a:spLocks/>
          </p:cNvSpPr>
          <p:nvPr/>
        </p:nvSpPr>
        <p:spPr>
          <a:xfrm>
            <a:off x="867414" y="1584262"/>
            <a:ext cx="4810282" cy="2903359"/>
          </a:xfrm>
          <a:prstGeom prst="rect">
            <a:avLst/>
          </a:prstGeom>
          <a:noFill/>
        </p:spPr>
        <p:txBody>
          <a:bodyPr wrap="square" lIns="0" tIns="0" rIns="0" bIns="0">
            <a:spAutoFit/>
          </a:bodyPr>
          <a:lstStyle/>
          <a:p>
            <a:pPr marL="285750" lvl="0" indent="-285750">
              <a:spcAft>
                <a:spcPts val="400"/>
              </a:spcAft>
              <a:buFont typeface="Arial" panose="020B0604020202020204" pitchFamily="34" charset="0"/>
              <a:buChar char="•"/>
              <a:defRPr/>
            </a:pPr>
            <a:r>
              <a:rPr lang="en-US">
                <a:solidFill>
                  <a:schemeClr val="accent1"/>
                </a:solidFill>
                <a:latin typeface="+mj-lt"/>
              </a:rPr>
              <a:t>Purview for Copilot Studio</a:t>
            </a:r>
          </a:p>
          <a:p>
            <a:pPr marL="285750" lvl="0" indent="-285750">
              <a:spcAft>
                <a:spcPts val="400"/>
              </a:spcAft>
              <a:buFont typeface="Arial" panose="020B0604020202020204" pitchFamily="34" charset="0"/>
              <a:buChar char="•"/>
              <a:defRPr/>
            </a:pPr>
            <a:endParaRPr lang="en-US">
              <a:solidFill>
                <a:schemeClr val="accent1"/>
              </a:solidFill>
              <a:latin typeface="+mj-lt"/>
            </a:endParaRPr>
          </a:p>
          <a:p>
            <a:pPr marL="285750" lvl="0" indent="-285750">
              <a:spcAft>
                <a:spcPts val="400"/>
              </a:spcAft>
              <a:buFont typeface="Arial" panose="020B0604020202020204" pitchFamily="34" charset="0"/>
              <a:buChar char="•"/>
              <a:defRPr/>
            </a:pPr>
            <a:r>
              <a:rPr lang="en-US">
                <a:solidFill>
                  <a:schemeClr val="accent1"/>
                </a:solidFill>
                <a:latin typeface="+mj-lt"/>
              </a:rPr>
              <a:t>Purview for ChatGPT Enterprise  </a:t>
            </a:r>
          </a:p>
          <a:p>
            <a:pPr marL="285750" lvl="0" indent="-285750">
              <a:spcAft>
                <a:spcPts val="400"/>
              </a:spcAft>
              <a:buFont typeface="Arial" panose="020B0604020202020204" pitchFamily="34" charset="0"/>
              <a:buChar char="•"/>
              <a:defRPr/>
            </a:pPr>
            <a:endParaRPr lang="en-US">
              <a:solidFill>
                <a:schemeClr val="accent1"/>
              </a:solidFill>
              <a:latin typeface="+mj-lt"/>
            </a:endParaRPr>
          </a:p>
          <a:p>
            <a:pPr marL="285750" lvl="0" indent="-285750">
              <a:spcAft>
                <a:spcPts val="400"/>
              </a:spcAft>
              <a:buFont typeface="Arial" panose="020B0604020202020204" pitchFamily="34" charset="0"/>
              <a:buChar char="•"/>
              <a:defRPr/>
            </a:pPr>
            <a:r>
              <a:rPr lang="en-US">
                <a:solidFill>
                  <a:schemeClr val="accent1"/>
                </a:solidFill>
                <a:latin typeface="+mj-lt"/>
              </a:rPr>
              <a:t>Data Loss Prevention for M365 Copilot </a:t>
            </a:r>
          </a:p>
          <a:p>
            <a:pPr marL="285750" lvl="0" indent="-285750">
              <a:spcAft>
                <a:spcPts val="400"/>
              </a:spcAft>
              <a:buFont typeface="Arial" panose="020B0604020202020204" pitchFamily="34" charset="0"/>
              <a:buChar char="•"/>
              <a:defRPr/>
            </a:pPr>
            <a:endParaRPr lang="en-US">
              <a:solidFill>
                <a:schemeClr val="accent1"/>
              </a:solidFill>
              <a:latin typeface="+mj-lt"/>
            </a:endParaRPr>
          </a:p>
          <a:p>
            <a:pPr marL="285750" lvl="0" indent="-285750">
              <a:spcAft>
                <a:spcPts val="400"/>
              </a:spcAft>
              <a:buFont typeface="Arial" panose="020B0604020202020204" pitchFamily="34" charset="0"/>
              <a:buChar char="•"/>
              <a:defRPr/>
            </a:pPr>
            <a:r>
              <a:rPr lang="en-US">
                <a:solidFill>
                  <a:schemeClr val="accent1"/>
                </a:solidFill>
                <a:latin typeface="+mj-lt"/>
              </a:rPr>
              <a:t>Purview for Security Copilot </a:t>
            </a:r>
          </a:p>
          <a:p>
            <a:pPr marL="285750" lvl="0" indent="-285750">
              <a:spcAft>
                <a:spcPts val="400"/>
              </a:spcAft>
              <a:buFont typeface="Arial" panose="020B0604020202020204" pitchFamily="34" charset="0"/>
              <a:buChar char="•"/>
              <a:defRPr/>
            </a:pPr>
            <a:endParaRPr lang="en-US">
              <a:solidFill>
                <a:schemeClr val="accent1"/>
              </a:solidFill>
              <a:latin typeface="+mj-lt"/>
            </a:endParaRPr>
          </a:p>
          <a:p>
            <a:pPr marL="285750" lvl="0" indent="-285750">
              <a:spcAft>
                <a:spcPts val="400"/>
              </a:spcAft>
              <a:buFont typeface="Arial" panose="020B0604020202020204" pitchFamily="34" charset="0"/>
              <a:buChar char="•"/>
              <a:defRPr/>
            </a:pPr>
            <a:r>
              <a:rPr lang="en-US">
                <a:solidFill>
                  <a:schemeClr val="accent1"/>
                </a:solidFill>
                <a:latin typeface="+mj-lt"/>
              </a:rPr>
              <a:t>Purview for Fabric Copilot </a:t>
            </a:r>
          </a:p>
        </p:txBody>
      </p:sp>
      <p:sp>
        <p:nvSpPr>
          <p:cNvPr id="18" name="Rounded Rectangle 11">
            <a:extLst>
              <a:ext uri="{FF2B5EF4-FFF2-40B4-BE49-F238E27FC236}">
                <a16:creationId xmlns:a16="http://schemas.microsoft.com/office/drawing/2014/main" id="{37E85B50-C22E-376E-4CD4-C4B18915EA4E}"/>
              </a:ext>
              <a:ext uri="{C183D7F6-B498-43B3-948B-1728B52AA6E4}">
                <adec:decorative xmlns:adec="http://schemas.microsoft.com/office/drawing/2017/decorative" val="0"/>
              </a:ext>
            </a:extLst>
          </p:cNvPr>
          <p:cNvSpPr/>
          <p:nvPr/>
        </p:nvSpPr>
        <p:spPr bwMode="auto">
          <a:xfrm>
            <a:off x="611189" y="5519439"/>
            <a:ext cx="4940298" cy="302254"/>
          </a:xfrm>
          <a:prstGeom prst="roundRect">
            <a:avLst>
              <a:gd name="adj" fmla="val 50000"/>
            </a:avLst>
          </a:prstGeom>
          <a:solidFill>
            <a:schemeClr val="accent1">
              <a:lumMod val="60000"/>
              <a:lumOff val="40000"/>
            </a:schemeClr>
          </a:solidFill>
          <a:effectLst>
            <a:outerShdw blurRad="63500" algn="tl" rotWithShape="0">
              <a:srgbClr val="000000">
                <a:alpha val="20000"/>
              </a:srgbClr>
            </a:outerShdw>
          </a:effectLst>
        </p:spPr>
        <p:txBody>
          <a:bodyPr wrap="square" lIns="0" tIns="0" rIns="0" bIns="0" rtlCol="0" anchor="ctr" anchorCtr="0">
            <a:noAutofit/>
          </a:bodyPr>
          <a:lstStyle/>
          <a:p>
            <a:pPr algn="ctr" fontAlgn="base">
              <a:spcBef>
                <a:spcPct val="0"/>
              </a:spcBef>
              <a:spcAft>
                <a:spcPts val="1200"/>
              </a:spcAft>
              <a:buSzPct val="90000"/>
            </a:pPr>
            <a:r>
              <a:rPr kumimoji="0" lang="en-US" sz="1400" i="0" u="none" strike="noStrike" kern="1200" cap="none" spc="0" normalizeH="0" baseline="0" noProof="0">
                <a:ln>
                  <a:noFill/>
                </a:ln>
                <a:solidFill>
                  <a:schemeClr val="bg1"/>
                </a:solidFill>
                <a:effectLst/>
                <a:uLnTx/>
                <a:uFillTx/>
                <a:latin typeface="+mj-lt"/>
                <a:ea typeface="+mn-ea"/>
                <a:cs typeface="Segoe UI"/>
              </a:rPr>
              <a:t>Public Previews</a:t>
            </a:r>
          </a:p>
        </p:txBody>
      </p:sp>
      <p:sp>
        <p:nvSpPr>
          <p:cNvPr id="7" name="Title 6">
            <a:extLst>
              <a:ext uri="{FF2B5EF4-FFF2-40B4-BE49-F238E27FC236}">
                <a16:creationId xmlns:a16="http://schemas.microsoft.com/office/drawing/2014/main" id="{71D5BF97-0244-06F0-B4AD-30FE60CDFE0D}"/>
              </a:ext>
            </a:extLst>
          </p:cNvPr>
          <p:cNvSpPr>
            <a:spLocks noGrp="1"/>
          </p:cNvSpPr>
          <p:nvPr>
            <p:ph type="title"/>
          </p:nvPr>
        </p:nvSpPr>
        <p:spPr>
          <a:xfrm>
            <a:off x="296229" y="249967"/>
            <a:ext cx="11025680" cy="823395"/>
          </a:xfrm>
        </p:spPr>
        <p:txBody>
          <a:bodyPr/>
          <a:lstStyle/>
          <a:p>
            <a:r>
              <a:rPr lang="en-US"/>
              <a:t>Purview for AI Public Previews</a:t>
            </a:r>
          </a:p>
        </p:txBody>
      </p:sp>
      <p:sp>
        <p:nvSpPr>
          <p:cNvPr id="8" name="TextBox 7">
            <a:extLst>
              <a:ext uri="{FF2B5EF4-FFF2-40B4-BE49-F238E27FC236}">
                <a16:creationId xmlns:a16="http://schemas.microsoft.com/office/drawing/2014/main" id="{1C7468DC-EA65-A8F3-5575-6AFCBC5949AE}"/>
              </a:ext>
            </a:extLst>
          </p:cNvPr>
          <p:cNvSpPr txBox="1"/>
          <p:nvPr/>
        </p:nvSpPr>
        <p:spPr>
          <a:xfrm>
            <a:off x="507066" y="6243122"/>
            <a:ext cx="11177868" cy="215444"/>
          </a:xfrm>
          <a:prstGeom prst="rect">
            <a:avLst/>
          </a:prstGeom>
          <a:noFill/>
        </p:spPr>
        <p:txBody>
          <a:bodyPr wrap="square" lIns="0" tIns="0" rIns="0" bIns="0" rtlCol="0">
            <a:spAutoFit/>
          </a:bodyPr>
          <a:lstStyle/>
          <a:p>
            <a:pPr algn="ctr"/>
            <a:r>
              <a:rPr lang="en-US" sz="1400"/>
              <a:t>Join Microsoft Customer Connection Program (CCP) to participate in early previews - </a:t>
            </a:r>
            <a:r>
              <a:rPr lang="en-US" sz="1400">
                <a:hlinkClick r:id="rId3"/>
              </a:rPr>
              <a:t>https://aka.ms/joinccp</a:t>
            </a:r>
            <a:r>
              <a:rPr lang="en-US" sz="1400"/>
              <a:t> </a:t>
            </a:r>
          </a:p>
        </p:txBody>
      </p:sp>
      <p:pic>
        <p:nvPicPr>
          <p:cNvPr id="9" name="Picture 8">
            <a:extLst>
              <a:ext uri="{FF2B5EF4-FFF2-40B4-BE49-F238E27FC236}">
                <a16:creationId xmlns:a16="http://schemas.microsoft.com/office/drawing/2014/main" id="{DF00017E-32D2-825E-E6D7-8F7D6CA1EE8E}"/>
              </a:ext>
            </a:extLst>
          </p:cNvPr>
          <p:cNvPicPr>
            <a:picLocks noChangeAspect="1"/>
          </p:cNvPicPr>
          <p:nvPr/>
        </p:nvPicPr>
        <p:blipFill>
          <a:blip r:embed="rId4"/>
          <a:stretch>
            <a:fillRect/>
          </a:stretch>
        </p:blipFill>
        <p:spPr>
          <a:xfrm>
            <a:off x="5768130" y="2036554"/>
            <a:ext cx="6047508" cy="3401723"/>
          </a:xfrm>
          <a:prstGeom prst="rect">
            <a:avLst/>
          </a:prstGeom>
        </p:spPr>
      </p:pic>
    </p:spTree>
    <p:extLst>
      <p:ext uri="{BB962C8B-B14F-4D97-AF65-F5344CB8AC3E}">
        <p14:creationId xmlns:p14="http://schemas.microsoft.com/office/powerpoint/2010/main" val="13898625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55C21783-13B5-978F-BB37-268728CD2781}"/>
              </a:ext>
            </a:extLst>
          </p:cNvPr>
          <p:cNvGrpSpPr/>
          <p:nvPr/>
        </p:nvGrpSpPr>
        <p:grpSpPr>
          <a:xfrm>
            <a:off x="4805680" y="1550212"/>
            <a:ext cx="2795317" cy="3757575"/>
            <a:chOff x="4963276" y="1030795"/>
            <a:chExt cx="2795317" cy="3757575"/>
          </a:xfrm>
        </p:grpSpPr>
        <p:sp>
          <p:nvSpPr>
            <p:cNvPr id="10" name="TextBox 9">
              <a:extLst>
                <a:ext uri="{FF2B5EF4-FFF2-40B4-BE49-F238E27FC236}">
                  <a16:creationId xmlns:a16="http://schemas.microsoft.com/office/drawing/2014/main" id="{BAD370A4-745B-80A3-7798-722C430169E9}"/>
                </a:ext>
              </a:extLst>
            </p:cNvPr>
            <p:cNvSpPr txBox="1"/>
            <p:nvPr/>
          </p:nvSpPr>
          <p:spPr>
            <a:xfrm>
              <a:off x="4963276" y="3649597"/>
              <a:ext cx="2795317" cy="1138773"/>
            </a:xfrm>
            <a:prstGeom prst="rect">
              <a:avLst/>
            </a:prstGeom>
            <a:noFill/>
          </p:spPr>
          <p:txBody>
            <a:bodyPr wrap="none" rtlCol="0">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sz="2800" b="1" spc="-10">
                  <a:ln w="3175">
                    <a:noFill/>
                  </a:ln>
                  <a:gradFill flip="none" rotWithShape="1">
                    <a:gsLst>
                      <a:gs pos="0">
                        <a:srgbClr val="7B83EB"/>
                      </a:gs>
                      <a:gs pos="50000">
                        <a:srgbClr val="28A8EA"/>
                      </a:gs>
                      <a:gs pos="100000">
                        <a:srgbClr val="37C6D0"/>
                      </a:gs>
                    </a:gsLst>
                    <a:lin ang="2700000" scaled="0"/>
                    <a:tileRect/>
                  </a:gradFill>
                  <a:latin typeface="Segoe UI" panose="020B0502040204020203" pitchFamily="34" charset="0"/>
                  <a:cs typeface="Segoe UI" panose="020B0502040204020203" pitchFamily="34" charset="0"/>
                </a:rPr>
                <a:t>Safeena Begum</a:t>
              </a:r>
              <a:endParaRPr kumimoji="0" lang="en-US" sz="2800" b="1" i="0" u="none" strike="noStrike" kern="1200" cap="none" spc="-1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Principal PM Manage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a:solidFill>
                    <a:schemeClr val="bg1"/>
                  </a:solidFill>
                  <a:latin typeface="Segoe UI" panose="020B0502040204020203" pitchFamily="34" charset="0"/>
                </a:rPr>
                <a:t>Microsoft Purview</a:t>
              </a: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1" name="Group 10">
              <a:extLst>
                <a:ext uri="{FF2B5EF4-FFF2-40B4-BE49-F238E27FC236}">
                  <a16:creationId xmlns:a16="http://schemas.microsoft.com/office/drawing/2014/main" id="{D85CA5B9-2A23-78A8-E65E-650D63C7815F}"/>
                </a:ext>
              </a:extLst>
            </p:cNvPr>
            <p:cNvGrpSpPr/>
            <p:nvPr/>
          </p:nvGrpSpPr>
          <p:grpSpPr>
            <a:xfrm>
              <a:off x="5126495" y="1030795"/>
              <a:ext cx="2468880" cy="2468880"/>
              <a:chOff x="1855007" y="1014566"/>
              <a:chExt cx="3437886" cy="3495127"/>
            </a:xfrm>
          </p:grpSpPr>
          <p:sp>
            <p:nvSpPr>
              <p:cNvPr id="12" name="Oval 11">
                <a:extLst>
                  <a:ext uri="{FF2B5EF4-FFF2-40B4-BE49-F238E27FC236}">
                    <a16:creationId xmlns:a16="http://schemas.microsoft.com/office/drawing/2014/main" id="{C5D87860-11DB-4217-E8A7-607A4EFCA8AF}"/>
                  </a:ext>
                </a:extLst>
              </p:cNvPr>
              <p:cNvSpPr/>
              <p:nvPr/>
            </p:nvSpPr>
            <p:spPr bwMode="auto">
              <a:xfrm flipH="1">
                <a:off x="1855007" y="1014566"/>
                <a:ext cx="3437886" cy="3495127"/>
              </a:xfrm>
              <a:prstGeom prst="ellipse">
                <a:avLst/>
              </a:prstGeom>
              <a:gradFill>
                <a:gsLst>
                  <a:gs pos="2000">
                    <a:srgbClr val="0179D4"/>
                  </a:gs>
                  <a:gs pos="32000">
                    <a:srgbClr val="2CB6FF"/>
                  </a:gs>
                  <a:gs pos="44000">
                    <a:srgbClr val="2DB6FF"/>
                  </a:gs>
                  <a:gs pos="81000">
                    <a:srgbClr val="D962FA"/>
                  </a:gs>
                  <a:gs pos="96000">
                    <a:srgbClr val="F69991"/>
                  </a:gs>
                </a:gsLst>
                <a:lin ang="3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14E7D66A-8DE2-6EF0-3C1A-95DC68F490D6}"/>
                  </a:ext>
                </a:extLst>
              </p:cNvPr>
              <p:cNvPicPr>
                <a:picLocks noChangeAspect="1"/>
              </p:cNvPicPr>
              <p:nvPr/>
            </p:nvPicPr>
            <p:blipFill>
              <a:blip r:embed="rId3">
                <a:extLst>
                  <a:ext uri="{28A0092B-C50C-407E-A947-70E740481C1C}">
                    <a14:useLocalDpi xmlns:a14="http://schemas.microsoft.com/office/drawing/2010/main" val="0"/>
                  </a:ext>
                </a:extLst>
              </a:blip>
              <a:srcRect l="994" r="994"/>
              <a:stretch/>
            </p:blipFill>
            <p:spPr>
              <a:xfrm flipH="1">
                <a:off x="1994623" y="1156506"/>
                <a:ext cx="3158654" cy="3211246"/>
              </a:xfrm>
              <a:prstGeom prst="ellipse">
                <a:avLst/>
              </a:prstGeom>
              <a:noFill/>
              <a:ln>
                <a:noFill/>
              </a:ln>
              <a:effectLst>
                <a:outerShdw blurRad="63500" sx="102000" sy="102000" algn="ctr" rotWithShape="0">
                  <a:prstClr val="black">
                    <a:alpha val="15000"/>
                  </a:prstClr>
                </a:outerShdw>
              </a:effectLst>
            </p:spPr>
          </p:pic>
        </p:grpSp>
      </p:grpSp>
      <p:grpSp>
        <p:nvGrpSpPr>
          <p:cNvPr id="17" name="Group 16">
            <a:extLst>
              <a:ext uri="{FF2B5EF4-FFF2-40B4-BE49-F238E27FC236}">
                <a16:creationId xmlns:a16="http://schemas.microsoft.com/office/drawing/2014/main" id="{54EE491E-7919-1C31-33B5-CF8093D8C850}"/>
              </a:ext>
            </a:extLst>
          </p:cNvPr>
          <p:cNvGrpSpPr/>
          <p:nvPr/>
        </p:nvGrpSpPr>
        <p:grpSpPr>
          <a:xfrm>
            <a:off x="364288" y="1551197"/>
            <a:ext cx="3820597" cy="3755605"/>
            <a:chOff x="148533" y="1030796"/>
            <a:chExt cx="3820597" cy="3755605"/>
          </a:xfrm>
        </p:grpSpPr>
        <p:sp>
          <p:nvSpPr>
            <p:cNvPr id="3" name="TextBox 2">
              <a:extLst>
                <a:ext uri="{FF2B5EF4-FFF2-40B4-BE49-F238E27FC236}">
                  <a16:creationId xmlns:a16="http://schemas.microsoft.com/office/drawing/2014/main" id="{E221ACD2-832B-EC7D-1CB4-79FEFEBBBF2B}"/>
                </a:ext>
              </a:extLst>
            </p:cNvPr>
            <p:cNvSpPr txBox="1"/>
            <p:nvPr/>
          </p:nvSpPr>
          <p:spPr>
            <a:xfrm>
              <a:off x="148533" y="3647628"/>
              <a:ext cx="3820597" cy="1138773"/>
            </a:xfrm>
            <a:prstGeom prst="rect">
              <a:avLst/>
            </a:prstGeom>
            <a:noFill/>
          </p:spPr>
          <p:txBody>
            <a:bodyPr wrap="none" rtlCol="0">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sz="2800" b="1" spc="-10">
                  <a:ln w="3175">
                    <a:noFill/>
                  </a:ln>
                  <a:gradFill flip="none" rotWithShape="1">
                    <a:gsLst>
                      <a:gs pos="0">
                        <a:srgbClr val="7B83EB"/>
                      </a:gs>
                      <a:gs pos="50000">
                        <a:srgbClr val="28A8EA"/>
                      </a:gs>
                      <a:gs pos="100000">
                        <a:srgbClr val="37C6D0"/>
                      </a:gs>
                    </a:gsLst>
                    <a:lin ang="2700000" scaled="0"/>
                    <a:tileRect/>
                  </a:gradFill>
                  <a:latin typeface="Segoe UI" panose="020B0502040204020203" pitchFamily="34" charset="0"/>
                  <a:cs typeface="Segoe UI" panose="020B0502040204020203" pitchFamily="34" charset="0"/>
                </a:rPr>
                <a:t>Nishan DeSilva</a:t>
              </a:r>
              <a:endParaRPr kumimoji="0" lang="en-US" sz="2800" b="1" i="0" u="none" strike="noStrike" kern="1200" cap="none" spc="-1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Partner Group Product Manag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Microsoft Purview</a:t>
              </a:r>
            </a:p>
          </p:txBody>
        </p:sp>
        <p:grpSp>
          <p:nvGrpSpPr>
            <p:cNvPr id="2" name="Group 1">
              <a:extLst>
                <a:ext uri="{FF2B5EF4-FFF2-40B4-BE49-F238E27FC236}">
                  <a16:creationId xmlns:a16="http://schemas.microsoft.com/office/drawing/2014/main" id="{A1150760-C341-06C4-EFE4-AE2295BACAF1}"/>
                </a:ext>
              </a:extLst>
            </p:cNvPr>
            <p:cNvGrpSpPr/>
            <p:nvPr/>
          </p:nvGrpSpPr>
          <p:grpSpPr>
            <a:xfrm>
              <a:off x="824393" y="1030796"/>
              <a:ext cx="2468880" cy="2468880"/>
              <a:chOff x="824393" y="1030795"/>
              <a:chExt cx="3437886" cy="3495127"/>
            </a:xfrm>
          </p:grpSpPr>
          <p:sp>
            <p:nvSpPr>
              <p:cNvPr id="5" name="Oval 4">
                <a:extLst>
                  <a:ext uri="{FF2B5EF4-FFF2-40B4-BE49-F238E27FC236}">
                    <a16:creationId xmlns:a16="http://schemas.microsoft.com/office/drawing/2014/main" id="{B22BFE91-2C21-A66D-2030-1E143B0C27C6}"/>
                  </a:ext>
                </a:extLst>
              </p:cNvPr>
              <p:cNvSpPr/>
              <p:nvPr/>
            </p:nvSpPr>
            <p:spPr bwMode="auto">
              <a:xfrm flipH="1">
                <a:off x="824393" y="1030795"/>
                <a:ext cx="3437886" cy="3495127"/>
              </a:xfrm>
              <a:prstGeom prst="ellipse">
                <a:avLst/>
              </a:prstGeom>
              <a:gradFill>
                <a:gsLst>
                  <a:gs pos="2000">
                    <a:srgbClr val="0179D4"/>
                  </a:gs>
                  <a:gs pos="32000">
                    <a:srgbClr val="2CB6FF"/>
                  </a:gs>
                  <a:gs pos="44000">
                    <a:srgbClr val="2DB6FF"/>
                  </a:gs>
                  <a:gs pos="81000">
                    <a:srgbClr val="D962FA"/>
                  </a:gs>
                  <a:gs pos="96000">
                    <a:srgbClr val="F69991"/>
                  </a:gs>
                </a:gsLst>
                <a:lin ang="3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DC560D86-B528-5243-B737-AE911681015A}"/>
                  </a:ext>
                </a:extLst>
              </p:cNvPr>
              <p:cNvPicPr>
                <a:picLocks noChangeAspect="1"/>
              </p:cNvPicPr>
              <p:nvPr/>
            </p:nvPicPr>
            <p:blipFill>
              <a:blip r:embed="rId4">
                <a:extLst>
                  <a:ext uri="{28A0092B-C50C-407E-A947-70E740481C1C}">
                    <a14:useLocalDpi xmlns:a14="http://schemas.microsoft.com/office/drawing/2010/main" val="0"/>
                  </a:ext>
                </a:extLst>
              </a:blip>
              <a:srcRect l="234" r="234"/>
              <a:stretch/>
            </p:blipFill>
            <p:spPr>
              <a:xfrm>
                <a:off x="924928" y="1152356"/>
                <a:ext cx="3236815" cy="3252003"/>
              </a:xfrm>
              <a:prstGeom prst="ellipse">
                <a:avLst/>
              </a:prstGeom>
              <a:ln w="190500" cap="rnd">
                <a:noFill/>
                <a:prstDash val="solid"/>
              </a:ln>
              <a:effectLst>
                <a:outerShdw blurRad="127000" algn="bl" rotWithShape="0">
                  <a:srgbClr val="000000"/>
                </a:outerShdw>
              </a:effectLst>
            </p:spPr>
          </p:pic>
        </p:grpSp>
      </p:grpSp>
      <p:grpSp>
        <p:nvGrpSpPr>
          <p:cNvPr id="19" name="Group 18">
            <a:extLst>
              <a:ext uri="{FF2B5EF4-FFF2-40B4-BE49-F238E27FC236}">
                <a16:creationId xmlns:a16="http://schemas.microsoft.com/office/drawing/2014/main" id="{6798442F-ACFD-735E-7E16-3B74F61F25AA}"/>
              </a:ext>
            </a:extLst>
          </p:cNvPr>
          <p:cNvGrpSpPr/>
          <p:nvPr/>
        </p:nvGrpSpPr>
        <p:grpSpPr>
          <a:xfrm>
            <a:off x="8682974" y="1550212"/>
            <a:ext cx="2898229" cy="3760794"/>
            <a:chOff x="8611854" y="1027576"/>
            <a:chExt cx="2898229" cy="3760794"/>
          </a:xfrm>
        </p:grpSpPr>
        <p:sp>
          <p:nvSpPr>
            <p:cNvPr id="6" name="TextBox 5">
              <a:extLst>
                <a:ext uri="{FF2B5EF4-FFF2-40B4-BE49-F238E27FC236}">
                  <a16:creationId xmlns:a16="http://schemas.microsoft.com/office/drawing/2014/main" id="{50DD22BA-5D6B-20FF-C81A-F9C777DE20C7}"/>
                </a:ext>
              </a:extLst>
            </p:cNvPr>
            <p:cNvSpPr txBox="1"/>
            <p:nvPr/>
          </p:nvSpPr>
          <p:spPr>
            <a:xfrm>
              <a:off x="8611854" y="3649597"/>
              <a:ext cx="2898229" cy="1138773"/>
            </a:xfrm>
            <a:prstGeom prst="rect">
              <a:avLst/>
            </a:prstGeom>
            <a:noFill/>
          </p:spPr>
          <p:txBody>
            <a:bodyPr wrap="none" rtlCol="0">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sz="2800" b="1" spc="-10">
                  <a:ln w="3175">
                    <a:noFill/>
                  </a:ln>
                  <a:gradFill flip="none" rotWithShape="1">
                    <a:gsLst>
                      <a:gs pos="0">
                        <a:srgbClr val="7B83EB"/>
                      </a:gs>
                      <a:gs pos="50000">
                        <a:srgbClr val="28A8EA"/>
                      </a:gs>
                      <a:gs pos="100000">
                        <a:srgbClr val="37C6D0"/>
                      </a:gs>
                    </a:gsLst>
                    <a:lin ang="2700000" scaled="0"/>
                    <a:tileRect/>
                  </a:gradFill>
                  <a:latin typeface="Segoe UI" panose="020B0502040204020203" pitchFamily="34" charset="0"/>
                  <a:cs typeface="Segoe UI" panose="020B0502040204020203" pitchFamily="34" charset="0"/>
                </a:rPr>
                <a:t>Aashish Ramdas</a:t>
              </a:r>
              <a:endParaRPr kumimoji="0" lang="en-US" sz="2800" b="1" i="0" u="none" strike="noStrike" kern="1200" cap="none" spc="-1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Principal PM Manage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a:solidFill>
                    <a:schemeClr val="bg1"/>
                  </a:solidFill>
                  <a:latin typeface="Segoe UI" panose="020B0502040204020203" pitchFamily="34" charset="0"/>
                </a:rPr>
                <a:t>Microsoft Purview</a:t>
              </a: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E5079112-C868-BFF0-4B37-0E59C781A071}"/>
                </a:ext>
              </a:extLst>
            </p:cNvPr>
            <p:cNvGrpSpPr/>
            <p:nvPr/>
          </p:nvGrpSpPr>
          <p:grpSpPr>
            <a:xfrm>
              <a:off x="8826529" y="1027576"/>
              <a:ext cx="2468880" cy="2468880"/>
              <a:chOff x="1855007" y="1014566"/>
              <a:chExt cx="3437886" cy="3495127"/>
            </a:xfrm>
          </p:grpSpPr>
          <p:sp>
            <p:nvSpPr>
              <p:cNvPr id="15" name="Oval 14">
                <a:extLst>
                  <a:ext uri="{FF2B5EF4-FFF2-40B4-BE49-F238E27FC236}">
                    <a16:creationId xmlns:a16="http://schemas.microsoft.com/office/drawing/2014/main" id="{9969D2A6-125F-CAA0-7FC0-B42F29DF0746}"/>
                  </a:ext>
                </a:extLst>
              </p:cNvPr>
              <p:cNvSpPr/>
              <p:nvPr/>
            </p:nvSpPr>
            <p:spPr bwMode="auto">
              <a:xfrm flipH="1">
                <a:off x="1855007" y="1014566"/>
                <a:ext cx="3437886" cy="3495127"/>
              </a:xfrm>
              <a:prstGeom prst="ellipse">
                <a:avLst/>
              </a:prstGeom>
              <a:gradFill>
                <a:gsLst>
                  <a:gs pos="2000">
                    <a:srgbClr val="0179D4"/>
                  </a:gs>
                  <a:gs pos="32000">
                    <a:srgbClr val="2CB6FF"/>
                  </a:gs>
                  <a:gs pos="44000">
                    <a:srgbClr val="2DB6FF"/>
                  </a:gs>
                  <a:gs pos="81000">
                    <a:srgbClr val="D962FA"/>
                  </a:gs>
                  <a:gs pos="96000">
                    <a:srgbClr val="F69991"/>
                  </a:gs>
                </a:gsLst>
                <a:lin ang="3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 name="Picture 15">
                <a:extLst>
                  <a:ext uri="{FF2B5EF4-FFF2-40B4-BE49-F238E27FC236}">
                    <a16:creationId xmlns:a16="http://schemas.microsoft.com/office/drawing/2014/main" id="{C6CA751B-9CE6-0CFC-8C84-8C7295C72E9A}"/>
                  </a:ext>
                </a:extLst>
              </p:cNvPr>
              <p:cNvPicPr>
                <a:picLocks noChangeAspect="1"/>
              </p:cNvPicPr>
              <p:nvPr/>
            </p:nvPicPr>
            <p:blipFill>
              <a:blip r:embed="rId5">
                <a:extLst>
                  <a:ext uri="{28A0092B-C50C-407E-A947-70E740481C1C}">
                    <a14:useLocalDpi xmlns:a14="http://schemas.microsoft.com/office/drawing/2010/main" val="0"/>
                  </a:ext>
                </a:extLst>
              </a:blip>
              <a:srcRect t="12525" b="12525"/>
              <a:stretch/>
            </p:blipFill>
            <p:spPr>
              <a:xfrm flipH="1">
                <a:off x="1994623" y="1156506"/>
                <a:ext cx="3158655" cy="3211246"/>
              </a:xfrm>
              <a:prstGeom prst="ellipse">
                <a:avLst/>
              </a:prstGeom>
              <a:noFill/>
              <a:ln>
                <a:noFill/>
              </a:ln>
              <a:effectLst>
                <a:outerShdw blurRad="63500" sx="102000" sy="102000" algn="ctr" rotWithShape="0">
                  <a:prstClr val="black">
                    <a:alpha val="15000"/>
                  </a:prstClr>
                </a:outerShdw>
              </a:effectLst>
            </p:spPr>
          </p:pic>
        </p:grpSp>
      </p:grpSp>
    </p:spTree>
    <p:extLst>
      <p:ext uri="{BB962C8B-B14F-4D97-AF65-F5344CB8AC3E}">
        <p14:creationId xmlns:p14="http://schemas.microsoft.com/office/powerpoint/2010/main" val="1415753022"/>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243A3B-D0C9-87EF-2EF6-8ECB6124BFC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BAC4EB1-502D-11E1-F24C-10199F7196DB}"/>
              </a:ext>
            </a:extLst>
          </p:cNvPr>
          <p:cNvSpPr>
            <a:spLocks noGrp="1"/>
          </p:cNvSpPr>
          <p:nvPr>
            <p:ph type="title"/>
          </p:nvPr>
        </p:nvSpPr>
        <p:spPr>
          <a:xfrm>
            <a:off x="945634" y="2949346"/>
            <a:ext cx="10049816" cy="2243691"/>
          </a:xfrm>
        </p:spPr>
        <p:txBody>
          <a:bodyPr anchor="ctr"/>
          <a:lstStyle/>
          <a:p>
            <a:r>
              <a:rPr lang="en-US"/>
              <a:t>Securing AI Apps and Agents with Microsoft Purview at Microsoft </a:t>
            </a:r>
          </a:p>
        </p:txBody>
      </p:sp>
      <p:sp>
        <p:nvSpPr>
          <p:cNvPr id="2" name="Rectangle: Rounded Corners 7">
            <a:extLst>
              <a:ext uri="{FF2B5EF4-FFF2-40B4-BE49-F238E27FC236}">
                <a16:creationId xmlns:a16="http://schemas.microsoft.com/office/drawing/2014/main" id="{16F0952A-3EFB-79CC-7D2F-3224682D6878}"/>
              </a:ext>
              <a:ext uri="{C183D7F6-B498-43B3-948B-1728B52AA6E4}">
                <adec:decorative xmlns:adec="http://schemas.microsoft.com/office/drawing/2017/decorative" val="1"/>
              </a:ext>
            </a:extLst>
          </p:cNvPr>
          <p:cNvSpPr>
            <a:spLocks/>
          </p:cNvSpPr>
          <p:nvPr/>
        </p:nvSpPr>
        <p:spPr bwMode="auto">
          <a:xfrm>
            <a:off x="783272" y="2949346"/>
            <a:ext cx="3022897" cy="756306"/>
          </a:xfrm>
          <a:prstGeom prst="roundRect">
            <a:avLst>
              <a:gd name="adj" fmla="val 23762"/>
            </a:avLst>
          </a:prstGeom>
          <a:ln w="28575" cap="rnd">
            <a:gradFill flip="none" rotWithShape="1">
              <a:gsLst>
                <a:gs pos="0">
                  <a:srgbClr val="C03BC4"/>
                </a:gs>
                <a:gs pos="80000">
                  <a:srgbClr val="0078D4"/>
                </a:gs>
              </a:gsLst>
              <a:path path="circle">
                <a:fillToRect l="100000" t="100000"/>
              </a:path>
              <a:tileRect r="-100000" b="-100000"/>
            </a:gradFill>
            <a:prstDash val="sysDash"/>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300"/>
              </a:spcAft>
              <a:buClrTx/>
              <a:buSzTx/>
              <a:buFontTx/>
              <a:buNone/>
              <a:tabLst/>
              <a:defRPr/>
            </a:pPr>
            <a:endParaRPr kumimoji="0" lang="en-IN" sz="1200" b="1" i="0" u="none" strike="noStrike" kern="1200" cap="none" spc="0" normalizeH="0" baseline="0" noProof="0">
              <a:ln>
                <a:noFill/>
              </a:ln>
              <a:solidFill>
                <a:srgbClr val="0078D4"/>
              </a:solidFill>
              <a:effectLst/>
              <a:uLnTx/>
              <a:uFillTx/>
              <a:latin typeface="Segoe UI Semibold"/>
              <a:ea typeface="+mn-ea"/>
              <a:cs typeface="Segoe UI"/>
            </a:endParaRPr>
          </a:p>
        </p:txBody>
      </p:sp>
      <p:sp>
        <p:nvSpPr>
          <p:cNvPr id="8" name="TextBox 7">
            <a:extLst>
              <a:ext uri="{FF2B5EF4-FFF2-40B4-BE49-F238E27FC236}">
                <a16:creationId xmlns:a16="http://schemas.microsoft.com/office/drawing/2014/main" id="{DF9F85C1-7CF0-2E61-F774-0DD9D2EF61C3}"/>
              </a:ext>
            </a:extLst>
          </p:cNvPr>
          <p:cNvSpPr txBox="1"/>
          <p:nvPr/>
        </p:nvSpPr>
        <p:spPr>
          <a:xfrm>
            <a:off x="2294720" y="1997472"/>
            <a:ext cx="6263278" cy="769441"/>
          </a:xfrm>
          <a:prstGeom prst="rect">
            <a:avLst/>
          </a:prstGeom>
          <a:noFill/>
        </p:spPr>
        <p:txBody>
          <a:bodyPr wrap="square">
            <a:spAutoFit/>
          </a:bodyPr>
          <a:lstStyle/>
          <a:p>
            <a:r>
              <a:rPr kumimoji="0" lang="en-US" sz="2200" b="1" i="0" u="none" strike="noStrike" kern="1200" cap="none" spc="-50" normalizeH="0" baseline="0" noProof="0">
                <a:ln w="3175">
                  <a:noFill/>
                </a:ln>
                <a:solidFill>
                  <a:schemeClr val="bg1">
                    <a:lumMod val="75000"/>
                  </a:schemeClr>
                </a:solidFill>
                <a:effectLst/>
                <a:uLnTx/>
                <a:uFillTx/>
                <a:latin typeface="Segoe Print" panose="02000600000000000000" pitchFamily="2" charset="0"/>
                <a:cs typeface="Segoe UI" panose="020B0502040204020203" pitchFamily="34" charset="0"/>
              </a:rPr>
              <a:t>The Microsoft tenant approach </a:t>
            </a:r>
          </a:p>
          <a:p>
            <a:r>
              <a:rPr kumimoji="0" lang="en-US" sz="2200" b="1" i="0" u="none" strike="noStrike" kern="1200" cap="none" spc="-50" normalizeH="0" baseline="0" noProof="0">
                <a:ln w="3175">
                  <a:noFill/>
                </a:ln>
                <a:solidFill>
                  <a:schemeClr val="bg1">
                    <a:lumMod val="75000"/>
                  </a:schemeClr>
                </a:solidFill>
                <a:effectLst/>
                <a:uLnTx/>
                <a:uFillTx/>
                <a:latin typeface="Segoe Print" panose="02000600000000000000" pitchFamily="2" charset="0"/>
                <a:cs typeface="Segoe UI" panose="020B0502040204020203" pitchFamily="34" charset="0"/>
              </a:rPr>
              <a:t>- How we secure</a:t>
            </a:r>
            <a:r>
              <a:rPr kumimoji="0" lang="en-US" sz="2200" b="1" i="0" u="none" strike="noStrike" kern="1200" cap="none" spc="-50" normalizeH="0" noProof="0">
                <a:ln w="3175">
                  <a:noFill/>
                </a:ln>
                <a:solidFill>
                  <a:schemeClr val="bg1">
                    <a:lumMod val="75000"/>
                  </a:schemeClr>
                </a:solidFill>
                <a:effectLst/>
                <a:uLnTx/>
                <a:uFillTx/>
                <a:latin typeface="Segoe Print" panose="02000600000000000000" pitchFamily="2" charset="0"/>
                <a:cs typeface="Segoe UI" panose="020B0502040204020203" pitchFamily="34" charset="0"/>
              </a:rPr>
              <a:t> out apps, agents and users</a:t>
            </a:r>
            <a:r>
              <a:rPr kumimoji="0" lang="en-US" sz="2200" b="1" i="0" u="none" strike="noStrike" kern="1200" cap="none" spc="-50" normalizeH="0" baseline="0" noProof="0">
                <a:ln w="3175">
                  <a:noFill/>
                </a:ln>
                <a:solidFill>
                  <a:schemeClr val="bg1">
                    <a:lumMod val="75000"/>
                  </a:schemeClr>
                </a:solidFill>
                <a:effectLst/>
                <a:uLnTx/>
                <a:uFillTx/>
                <a:latin typeface="Segoe Print" panose="02000600000000000000" pitchFamily="2" charset="0"/>
                <a:cs typeface="Segoe UI" panose="020B0502040204020203" pitchFamily="34" charset="0"/>
              </a:rPr>
              <a:t> </a:t>
            </a:r>
            <a:endParaRPr lang="en-US" sz="2200">
              <a:solidFill>
                <a:schemeClr val="bg1">
                  <a:lumMod val="75000"/>
                </a:schemeClr>
              </a:solidFill>
              <a:latin typeface="Segoe Print" panose="02000600000000000000" pitchFamily="2" charset="0"/>
            </a:endParaRPr>
          </a:p>
        </p:txBody>
      </p:sp>
      <p:sp>
        <p:nvSpPr>
          <p:cNvPr id="12" name="Arc 11">
            <a:extLst>
              <a:ext uri="{FF2B5EF4-FFF2-40B4-BE49-F238E27FC236}">
                <a16:creationId xmlns:a16="http://schemas.microsoft.com/office/drawing/2014/main" id="{2DCA1454-4337-6597-42CC-6CE9141405AA}"/>
              </a:ext>
            </a:extLst>
          </p:cNvPr>
          <p:cNvSpPr/>
          <p:nvPr/>
        </p:nvSpPr>
        <p:spPr>
          <a:xfrm rot="17921614">
            <a:off x="1844031" y="2310134"/>
            <a:ext cx="660542" cy="600274"/>
          </a:xfrm>
          <a:custGeom>
            <a:avLst/>
            <a:gdLst>
              <a:gd name="connsiteX0" fmla="*/ 4780 w 660542"/>
              <a:gd name="connsiteY0" fmla="*/ 351018 h 600274"/>
              <a:gd name="connsiteX1" fmla="*/ 279308 w 660542"/>
              <a:gd name="connsiteY1" fmla="*/ 3595 h 600274"/>
              <a:gd name="connsiteX2" fmla="*/ 653730 w 660542"/>
              <a:gd name="connsiteY2" fmla="*/ 239498 h 600274"/>
              <a:gd name="connsiteX3" fmla="*/ 330271 w 660542"/>
              <a:gd name="connsiteY3" fmla="*/ 300137 h 600274"/>
              <a:gd name="connsiteX4" fmla="*/ 4780 w 660542"/>
              <a:gd name="connsiteY4" fmla="*/ 351018 h 600274"/>
              <a:gd name="connsiteX0" fmla="*/ 4780 w 660542"/>
              <a:gd name="connsiteY0" fmla="*/ 351018 h 600274"/>
              <a:gd name="connsiteX1" fmla="*/ 279308 w 660542"/>
              <a:gd name="connsiteY1" fmla="*/ 3595 h 600274"/>
              <a:gd name="connsiteX2" fmla="*/ 653730 w 660542"/>
              <a:gd name="connsiteY2" fmla="*/ 239498 h 600274"/>
            </a:gdLst>
            <a:ahLst/>
            <a:cxnLst>
              <a:cxn ang="0">
                <a:pos x="connsiteX0" y="connsiteY0"/>
              </a:cxn>
              <a:cxn ang="0">
                <a:pos x="connsiteX1" y="connsiteY1"/>
              </a:cxn>
              <a:cxn ang="0">
                <a:pos x="connsiteX2" y="connsiteY2"/>
              </a:cxn>
            </a:cxnLst>
            <a:rect l="l" t="t" r="r" b="b"/>
            <a:pathLst>
              <a:path w="660542" h="600274" stroke="0" extrusionOk="0">
                <a:moveTo>
                  <a:pt x="4780" y="351018"/>
                </a:moveTo>
                <a:cubicBezTo>
                  <a:pt x="-59415" y="175835"/>
                  <a:pt x="104645" y="67368"/>
                  <a:pt x="279308" y="3595"/>
                </a:cubicBezTo>
                <a:cubicBezTo>
                  <a:pt x="422171" y="-6215"/>
                  <a:pt x="636523" y="99194"/>
                  <a:pt x="653730" y="239498"/>
                </a:cubicBezTo>
                <a:cubicBezTo>
                  <a:pt x="571127" y="250161"/>
                  <a:pt x="405703" y="290762"/>
                  <a:pt x="330271" y="300137"/>
                </a:cubicBezTo>
                <a:cubicBezTo>
                  <a:pt x="248345" y="304830"/>
                  <a:pt x="127293" y="322050"/>
                  <a:pt x="4780" y="351018"/>
                </a:cubicBezTo>
                <a:close/>
              </a:path>
              <a:path w="660542" h="600274" fill="none" extrusionOk="0">
                <a:moveTo>
                  <a:pt x="4780" y="351018"/>
                </a:moveTo>
                <a:cubicBezTo>
                  <a:pt x="-63419" y="160339"/>
                  <a:pt x="116097" y="41860"/>
                  <a:pt x="279308" y="3595"/>
                </a:cubicBezTo>
                <a:cubicBezTo>
                  <a:pt x="487295" y="-41670"/>
                  <a:pt x="619793" y="86356"/>
                  <a:pt x="653730" y="239498"/>
                </a:cubicBezTo>
              </a:path>
              <a:path w="660542" h="600274" fill="none" stroke="0" extrusionOk="0">
                <a:moveTo>
                  <a:pt x="4780" y="351018"/>
                </a:moveTo>
                <a:cubicBezTo>
                  <a:pt x="-17885" y="163582"/>
                  <a:pt x="95998" y="37860"/>
                  <a:pt x="279308" y="3595"/>
                </a:cubicBezTo>
                <a:cubicBezTo>
                  <a:pt x="462665" y="-18920"/>
                  <a:pt x="617936" y="65929"/>
                  <a:pt x="653730" y="239498"/>
                </a:cubicBezTo>
              </a:path>
            </a:pathLst>
          </a:custGeom>
          <a:ln w="19050">
            <a:solidFill>
              <a:schemeClr val="bg1">
                <a:lumMod val="75000"/>
              </a:schemeClr>
            </a:solidFill>
            <a:headEnd type="none" w="lg" len="med"/>
            <a:tailEnd type="none" w="lg" len="med"/>
            <a:extLst>
              <a:ext uri="{C807C97D-BFC1-408E-A445-0C87EB9F89A2}">
                <ask:lineSketchStyleProps xmlns:ask="http://schemas.microsoft.com/office/drawing/2018/sketchyshapes" sd="1978871457">
                  <a:prstGeom prst="arc">
                    <a:avLst>
                      <a:gd name="adj1" fmla="val 10266924"/>
                      <a:gd name="adj2" fmla="val 20962919"/>
                    </a:avLst>
                  </a:prstGeom>
                  <ask:type>
                    <ask:lineSketchFreehand/>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TextBox 2">
            <a:extLst>
              <a:ext uri="{FF2B5EF4-FFF2-40B4-BE49-F238E27FC236}">
                <a16:creationId xmlns:a16="http://schemas.microsoft.com/office/drawing/2014/main" id="{830313D5-01A3-99CC-191B-587FBA8E590A}"/>
              </a:ext>
            </a:extLst>
          </p:cNvPr>
          <p:cNvSpPr txBox="1"/>
          <p:nvPr/>
        </p:nvSpPr>
        <p:spPr>
          <a:xfrm>
            <a:off x="10127672" y="5596598"/>
            <a:ext cx="1623650" cy="369332"/>
          </a:xfrm>
          <a:prstGeom prst="rect">
            <a:avLst/>
          </a:prstGeom>
          <a:noFill/>
        </p:spPr>
        <p:txBody>
          <a:bodyPr wrap="none" rtlCol="0">
            <a:spAutoFit/>
          </a:bodyPr>
          <a:lstStyle/>
          <a:p>
            <a:r>
              <a:rPr lang="en-US">
                <a:solidFill>
                  <a:schemeClr val="bg1"/>
                </a:solidFill>
              </a:rPr>
              <a:t>David Johnson</a:t>
            </a:r>
          </a:p>
        </p:txBody>
      </p:sp>
    </p:spTree>
    <p:extLst>
      <p:ext uri="{BB962C8B-B14F-4D97-AF65-F5344CB8AC3E}">
        <p14:creationId xmlns:p14="http://schemas.microsoft.com/office/powerpoint/2010/main" val="3179468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wipe(down)">
                                      <p:cBhvr>
                                        <p:cTn id="11" dur="500"/>
                                        <p:tgtEl>
                                          <p:spTgt spid="12"/>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p:bldP spid="12"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5D7D80B-4D50-4348-1481-DF42FC431D9C}"/>
              </a:ext>
            </a:extLst>
          </p:cNvPr>
          <p:cNvSpPr>
            <a:spLocks noGrp="1"/>
          </p:cNvSpPr>
          <p:nvPr>
            <p:ph type="title"/>
          </p:nvPr>
        </p:nvSpPr>
        <p:spPr>
          <a:xfrm>
            <a:off x="658813" y="365125"/>
            <a:ext cx="11026775" cy="638287"/>
          </a:xfrm>
        </p:spPr>
        <p:txBody>
          <a:bodyPr>
            <a:normAutofit fontScale="90000"/>
          </a:bodyPr>
          <a:lstStyle/>
          <a:p>
            <a:r>
              <a:rPr lang="en-US"/>
              <a:t>Security is a team sport</a:t>
            </a:r>
          </a:p>
        </p:txBody>
      </p:sp>
      <p:sp>
        <p:nvSpPr>
          <p:cNvPr id="4" name="Rounded Rectangle 8">
            <a:extLst>
              <a:ext uri="{FF2B5EF4-FFF2-40B4-BE49-F238E27FC236}">
                <a16:creationId xmlns:a16="http://schemas.microsoft.com/office/drawing/2014/main" id="{BF506F38-3F64-869F-6730-E4CDC6667E89}"/>
              </a:ext>
            </a:extLst>
          </p:cNvPr>
          <p:cNvSpPr/>
          <p:nvPr/>
        </p:nvSpPr>
        <p:spPr>
          <a:xfrm>
            <a:off x="658813" y="1936523"/>
            <a:ext cx="3285036" cy="4001700"/>
          </a:xfrm>
          <a:prstGeom prst="roundRect">
            <a:avLst>
              <a:gd name="adj" fmla="val 3240"/>
            </a:avLst>
          </a:prstGeom>
          <a:solidFill>
            <a:schemeClr val="bg1">
              <a:alpha val="90000"/>
            </a:schemeClr>
          </a:solidFill>
          <a:ln w="6350">
            <a:solidFill>
              <a:schemeClr val="bg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17" name="TextBox 16">
            <a:extLst>
              <a:ext uri="{FF2B5EF4-FFF2-40B4-BE49-F238E27FC236}">
                <a16:creationId xmlns:a16="http://schemas.microsoft.com/office/drawing/2014/main" id="{DFB62296-A4B9-CF9C-C2A2-95C4435DE62C}"/>
              </a:ext>
            </a:extLst>
          </p:cNvPr>
          <p:cNvSpPr txBox="1"/>
          <p:nvPr/>
        </p:nvSpPr>
        <p:spPr>
          <a:xfrm>
            <a:off x="2040056" y="1164257"/>
            <a:ext cx="50029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accent2">
                    <a:lumMod val="75000"/>
                  </a:schemeClr>
                </a:solidFill>
                <a:effectLst/>
                <a:uLnTx/>
                <a:uFillTx/>
                <a:ea typeface="+mn-ea"/>
                <a:cs typeface="Segoe UI Semibold" panose="020B0502040204020203" pitchFamily="34" charset="0"/>
              </a:rPr>
              <a:t>CISO</a:t>
            </a:r>
          </a:p>
        </p:txBody>
      </p:sp>
      <p:grpSp>
        <p:nvGrpSpPr>
          <p:cNvPr id="18" name="Group 17">
            <a:extLst>
              <a:ext uri="{FF2B5EF4-FFF2-40B4-BE49-F238E27FC236}">
                <a16:creationId xmlns:a16="http://schemas.microsoft.com/office/drawing/2014/main" id="{D51140DD-B2BC-EE69-7F2A-D24AE74C441B}"/>
              </a:ext>
            </a:extLst>
          </p:cNvPr>
          <p:cNvGrpSpPr/>
          <p:nvPr/>
        </p:nvGrpSpPr>
        <p:grpSpPr>
          <a:xfrm>
            <a:off x="1791819" y="1406858"/>
            <a:ext cx="996772" cy="996772"/>
            <a:chOff x="1808432" y="1599553"/>
            <a:chExt cx="1744133" cy="1744133"/>
          </a:xfrm>
        </p:grpSpPr>
        <p:sp>
          <p:nvSpPr>
            <p:cNvPr id="19" name="Oval 18">
              <a:extLst>
                <a:ext uri="{FF2B5EF4-FFF2-40B4-BE49-F238E27FC236}">
                  <a16:creationId xmlns:a16="http://schemas.microsoft.com/office/drawing/2014/main" id="{90EA8D22-98F0-3929-2F78-E7BCFBB7F554}"/>
                </a:ext>
              </a:extLst>
            </p:cNvPr>
            <p:cNvSpPr/>
            <p:nvPr/>
          </p:nvSpPr>
          <p:spPr>
            <a:xfrm>
              <a:off x="1808432" y="1599553"/>
              <a:ext cx="1744133" cy="1744133"/>
            </a:xfrm>
            <a:prstGeom prst="ellipse">
              <a:avLst/>
            </a:prstGeom>
            <a:solidFill>
              <a:srgbClr val="347B9B"/>
            </a:solidFill>
            <a:ln w="12700">
              <a:solidFill>
                <a:schemeClr val="bg1"/>
              </a:solidFill>
            </a:ln>
            <a:effectLst>
              <a:outerShdw blurRad="1905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20" name="Group 19">
              <a:extLst>
                <a:ext uri="{FF2B5EF4-FFF2-40B4-BE49-F238E27FC236}">
                  <a16:creationId xmlns:a16="http://schemas.microsoft.com/office/drawing/2014/main" id="{A0B94CCD-DAB5-AAB7-B663-64DC34F05128}"/>
                </a:ext>
              </a:extLst>
            </p:cNvPr>
            <p:cNvGrpSpPr/>
            <p:nvPr/>
          </p:nvGrpSpPr>
          <p:grpSpPr>
            <a:xfrm>
              <a:off x="2311274" y="1894911"/>
              <a:ext cx="738447" cy="1051291"/>
              <a:chOff x="12502610" y="710017"/>
              <a:chExt cx="3036188" cy="4322477"/>
            </a:xfrm>
            <a:solidFill>
              <a:schemeClr val="bg1"/>
            </a:solidFill>
          </p:grpSpPr>
          <p:sp>
            <p:nvSpPr>
              <p:cNvPr id="21" name="Freeform 42">
                <a:extLst>
                  <a:ext uri="{FF2B5EF4-FFF2-40B4-BE49-F238E27FC236}">
                    <a16:creationId xmlns:a16="http://schemas.microsoft.com/office/drawing/2014/main" id="{CD95A7C4-367C-0759-04AD-A2FEA58870CA}"/>
                  </a:ext>
                </a:extLst>
              </p:cNvPr>
              <p:cNvSpPr/>
              <p:nvPr/>
            </p:nvSpPr>
            <p:spPr>
              <a:xfrm>
                <a:off x="12502610" y="710017"/>
                <a:ext cx="3036188" cy="4322287"/>
              </a:xfrm>
              <a:custGeom>
                <a:avLst/>
                <a:gdLst>
                  <a:gd name="connsiteX0" fmla="*/ 2274856 w 3036188"/>
                  <a:gd name="connsiteY0" fmla="*/ 2668810 h 4322287"/>
                  <a:gd name="connsiteX1" fmla="*/ 1990916 w 3036188"/>
                  <a:gd name="connsiteY1" fmla="*/ 2668810 h 4322287"/>
                  <a:gd name="connsiteX2" fmla="*/ 1990916 w 3036188"/>
                  <a:gd name="connsiteY2" fmla="*/ 2474786 h 4322287"/>
                  <a:gd name="connsiteX3" fmla="*/ 1920431 w 3036188"/>
                  <a:gd name="connsiteY3" fmla="*/ 2346198 h 4322287"/>
                  <a:gd name="connsiteX4" fmla="*/ 2233708 w 3036188"/>
                  <a:gd name="connsiteY4" fmla="*/ 2134267 h 4322287"/>
                  <a:gd name="connsiteX5" fmla="*/ 2417159 w 3036188"/>
                  <a:gd name="connsiteY5" fmla="*/ 1806512 h 4322287"/>
                  <a:gd name="connsiteX6" fmla="*/ 2508790 w 3036188"/>
                  <a:gd name="connsiteY6" fmla="*/ 1806512 h 4322287"/>
                  <a:gd name="connsiteX7" fmla="*/ 2760821 w 3036188"/>
                  <a:gd name="connsiteY7" fmla="*/ 1542098 h 4322287"/>
                  <a:gd name="connsiteX8" fmla="*/ 2673382 w 3036188"/>
                  <a:gd name="connsiteY8" fmla="*/ 1344835 h 4322287"/>
                  <a:gd name="connsiteX9" fmla="*/ 2571560 w 3036188"/>
                  <a:gd name="connsiteY9" fmla="*/ 408051 h 4322287"/>
                  <a:gd name="connsiteX10" fmla="*/ 1518190 w 3036188"/>
                  <a:gd name="connsiteY10" fmla="*/ 0 h 4322287"/>
                  <a:gd name="connsiteX11" fmla="*/ 464820 w 3036188"/>
                  <a:gd name="connsiteY11" fmla="*/ 408337 h 4322287"/>
                  <a:gd name="connsiteX12" fmla="*/ 363093 w 3036188"/>
                  <a:gd name="connsiteY12" fmla="*/ 1345502 h 4322287"/>
                  <a:gd name="connsiteX13" fmla="*/ 275558 w 3036188"/>
                  <a:gd name="connsiteY13" fmla="*/ 1546193 h 4322287"/>
                  <a:gd name="connsiteX14" fmla="*/ 527590 w 3036188"/>
                  <a:gd name="connsiteY14" fmla="*/ 1806512 h 4322287"/>
                  <a:gd name="connsiteX15" fmla="*/ 619220 w 3036188"/>
                  <a:gd name="connsiteY15" fmla="*/ 1806512 h 4322287"/>
                  <a:gd name="connsiteX16" fmla="*/ 802672 w 3036188"/>
                  <a:gd name="connsiteY16" fmla="*/ 2134267 h 4322287"/>
                  <a:gd name="connsiteX17" fmla="*/ 1115949 w 3036188"/>
                  <a:gd name="connsiteY17" fmla="*/ 2346198 h 4322287"/>
                  <a:gd name="connsiteX18" fmla="*/ 1045464 w 3036188"/>
                  <a:gd name="connsiteY18" fmla="*/ 2474786 h 4322287"/>
                  <a:gd name="connsiteX19" fmla="*/ 1045464 w 3036188"/>
                  <a:gd name="connsiteY19" fmla="*/ 2668810 h 4322287"/>
                  <a:gd name="connsiteX20" fmla="*/ 761524 w 3036188"/>
                  <a:gd name="connsiteY20" fmla="*/ 2668810 h 4322287"/>
                  <a:gd name="connsiteX21" fmla="*/ 0 w 3036188"/>
                  <a:gd name="connsiteY21" fmla="*/ 3430810 h 4322287"/>
                  <a:gd name="connsiteX22" fmla="*/ 0 w 3036188"/>
                  <a:gd name="connsiteY22" fmla="*/ 4271296 h 4322287"/>
                  <a:gd name="connsiteX23" fmla="*/ 62979 w 3036188"/>
                  <a:gd name="connsiteY23" fmla="*/ 4321950 h 4322287"/>
                  <a:gd name="connsiteX24" fmla="*/ 113633 w 3036188"/>
                  <a:gd name="connsiteY24" fmla="*/ 4271296 h 4322287"/>
                  <a:gd name="connsiteX25" fmla="*/ 113633 w 3036188"/>
                  <a:gd name="connsiteY25" fmla="*/ 3430810 h 4322287"/>
                  <a:gd name="connsiteX26" fmla="*/ 761333 w 3036188"/>
                  <a:gd name="connsiteY26" fmla="*/ 2783110 h 4322287"/>
                  <a:gd name="connsiteX27" fmla="*/ 2274856 w 3036188"/>
                  <a:gd name="connsiteY27" fmla="*/ 2783110 h 4322287"/>
                  <a:gd name="connsiteX28" fmla="*/ 2922556 w 3036188"/>
                  <a:gd name="connsiteY28" fmla="*/ 3430810 h 4322287"/>
                  <a:gd name="connsiteX29" fmla="*/ 2922556 w 3036188"/>
                  <a:gd name="connsiteY29" fmla="*/ 4271296 h 4322287"/>
                  <a:gd name="connsiteX30" fmla="*/ 2985535 w 3036188"/>
                  <a:gd name="connsiteY30" fmla="*/ 4321950 h 4322287"/>
                  <a:gd name="connsiteX31" fmla="*/ 3036189 w 3036188"/>
                  <a:gd name="connsiteY31" fmla="*/ 4271296 h 4322287"/>
                  <a:gd name="connsiteX32" fmla="*/ 3036189 w 3036188"/>
                  <a:gd name="connsiteY32" fmla="*/ 3430810 h 4322287"/>
                  <a:gd name="connsiteX33" fmla="*/ 2274856 w 3036188"/>
                  <a:gd name="connsiteY33" fmla="*/ 2668810 h 4322287"/>
                  <a:gd name="connsiteX34" fmla="*/ 2318290 w 3036188"/>
                  <a:gd name="connsiteY34" fmla="*/ 1670495 h 4322287"/>
                  <a:gd name="connsiteX35" fmla="*/ 2317718 w 3036188"/>
                  <a:gd name="connsiteY35" fmla="*/ 1692878 h 4322287"/>
                  <a:gd name="connsiteX36" fmla="*/ 1689068 w 3036188"/>
                  <a:gd name="connsiteY36" fmla="*/ 1691830 h 4322287"/>
                  <a:gd name="connsiteX37" fmla="*/ 1688402 w 3036188"/>
                  <a:gd name="connsiteY37" fmla="*/ 1551908 h 4322287"/>
                  <a:gd name="connsiteX38" fmla="*/ 1689068 w 3036188"/>
                  <a:gd name="connsiteY38" fmla="*/ 1544098 h 4322287"/>
                  <a:gd name="connsiteX39" fmla="*/ 1688402 w 3036188"/>
                  <a:gd name="connsiteY39" fmla="*/ 1535906 h 4322287"/>
                  <a:gd name="connsiteX40" fmla="*/ 1687735 w 3036188"/>
                  <a:gd name="connsiteY40" fmla="*/ 1395317 h 4322287"/>
                  <a:gd name="connsiteX41" fmla="*/ 2318290 w 3036188"/>
                  <a:gd name="connsiteY41" fmla="*/ 1395317 h 4322287"/>
                  <a:gd name="connsiteX42" fmla="*/ 2318290 w 3036188"/>
                  <a:gd name="connsiteY42" fmla="*/ 1281684 h 4322287"/>
                  <a:gd name="connsiteX43" fmla="*/ 1687259 w 3036188"/>
                  <a:gd name="connsiteY43" fmla="*/ 1281684 h 4322287"/>
                  <a:gd name="connsiteX44" fmla="*/ 1574959 w 3036188"/>
                  <a:gd name="connsiteY44" fmla="*/ 1395984 h 4322287"/>
                  <a:gd name="connsiteX45" fmla="*/ 1574959 w 3036188"/>
                  <a:gd name="connsiteY45" fmla="*/ 1487710 h 4322287"/>
                  <a:gd name="connsiteX46" fmla="*/ 1461040 w 3036188"/>
                  <a:gd name="connsiteY46" fmla="*/ 1487710 h 4322287"/>
                  <a:gd name="connsiteX47" fmla="*/ 1461040 w 3036188"/>
                  <a:gd name="connsiteY47" fmla="*/ 1396746 h 4322287"/>
                  <a:gd name="connsiteX48" fmla="*/ 1348740 w 3036188"/>
                  <a:gd name="connsiteY48" fmla="*/ 1282446 h 4322287"/>
                  <a:gd name="connsiteX49" fmla="*/ 718090 w 3036188"/>
                  <a:gd name="connsiteY49" fmla="*/ 1282446 h 4322287"/>
                  <a:gd name="connsiteX50" fmla="*/ 718090 w 3036188"/>
                  <a:gd name="connsiteY50" fmla="*/ 1171670 h 4322287"/>
                  <a:gd name="connsiteX51" fmla="*/ 1850136 w 3036188"/>
                  <a:gd name="connsiteY51" fmla="*/ 1008412 h 4322287"/>
                  <a:gd name="connsiteX52" fmla="*/ 1794701 w 3036188"/>
                  <a:gd name="connsiteY52" fmla="*/ 1091184 h 4322287"/>
                  <a:gd name="connsiteX53" fmla="*/ 1806511 w 3036188"/>
                  <a:gd name="connsiteY53" fmla="*/ 1171137 h 4322287"/>
                  <a:gd name="connsiteX54" fmla="*/ 1831467 w 3036188"/>
                  <a:gd name="connsiteY54" fmla="*/ 1181672 h 4322287"/>
                  <a:gd name="connsiteX55" fmla="*/ 2317242 w 3036188"/>
                  <a:gd name="connsiteY55" fmla="*/ 1120712 h 4322287"/>
                  <a:gd name="connsiteX56" fmla="*/ 2508790 w 3036188"/>
                  <a:gd name="connsiteY56" fmla="*/ 1692974 h 4322287"/>
                  <a:gd name="connsiteX57" fmla="*/ 2430970 w 3036188"/>
                  <a:gd name="connsiteY57" fmla="*/ 1692974 h 4322287"/>
                  <a:gd name="connsiteX58" fmla="*/ 2431542 w 3036188"/>
                  <a:gd name="connsiteY58" fmla="*/ 1670495 h 4322287"/>
                  <a:gd name="connsiteX59" fmla="*/ 2431542 w 3036188"/>
                  <a:gd name="connsiteY59" fmla="*/ 1395317 h 4322287"/>
                  <a:gd name="connsiteX60" fmla="*/ 2508790 w 3036188"/>
                  <a:gd name="connsiteY60" fmla="*/ 1395317 h 4322287"/>
                  <a:gd name="connsiteX61" fmla="*/ 2647283 w 3036188"/>
                  <a:gd name="connsiteY61" fmla="*/ 1546193 h 4322287"/>
                  <a:gd name="connsiteX62" fmla="*/ 2508790 w 3036188"/>
                  <a:gd name="connsiteY62" fmla="*/ 1692974 h 4322287"/>
                  <a:gd name="connsiteX63" fmla="*/ 527590 w 3036188"/>
                  <a:gd name="connsiteY63" fmla="*/ 1692974 h 4322287"/>
                  <a:gd name="connsiteX64" fmla="*/ 389096 w 3036188"/>
                  <a:gd name="connsiteY64" fmla="*/ 1542098 h 4322287"/>
                  <a:gd name="connsiteX65" fmla="*/ 527590 w 3036188"/>
                  <a:gd name="connsiteY65" fmla="*/ 1395317 h 4322287"/>
                  <a:gd name="connsiteX66" fmla="*/ 604933 w 3036188"/>
                  <a:gd name="connsiteY66" fmla="*/ 1395317 h 4322287"/>
                  <a:gd name="connsiteX67" fmla="*/ 604933 w 3036188"/>
                  <a:gd name="connsiteY67" fmla="*/ 1670495 h 4322287"/>
                  <a:gd name="connsiteX68" fmla="*/ 605504 w 3036188"/>
                  <a:gd name="connsiteY68" fmla="*/ 1692974 h 4322287"/>
                  <a:gd name="connsiteX69" fmla="*/ 624935 w 3036188"/>
                  <a:gd name="connsiteY69" fmla="*/ 1063657 h 4322287"/>
                  <a:gd name="connsiteX70" fmla="*/ 604933 w 3036188"/>
                  <a:gd name="connsiteY70" fmla="*/ 1106900 h 4322287"/>
                  <a:gd name="connsiteX71" fmla="*/ 604933 w 3036188"/>
                  <a:gd name="connsiteY71" fmla="*/ 1281684 h 4322287"/>
                  <a:gd name="connsiteX72" fmla="*/ 527590 w 3036188"/>
                  <a:gd name="connsiteY72" fmla="*/ 1281684 h 4322287"/>
                  <a:gd name="connsiteX73" fmla="*/ 465772 w 3036188"/>
                  <a:gd name="connsiteY73" fmla="*/ 1289685 h 4322287"/>
                  <a:gd name="connsiteX74" fmla="*/ 557975 w 3036188"/>
                  <a:gd name="connsiteY74" fmla="*/ 473393 h 4322287"/>
                  <a:gd name="connsiteX75" fmla="*/ 1518190 w 3036188"/>
                  <a:gd name="connsiteY75" fmla="*/ 113633 h 4322287"/>
                  <a:gd name="connsiteX76" fmla="*/ 2478405 w 3036188"/>
                  <a:gd name="connsiteY76" fmla="*/ 473393 h 4322287"/>
                  <a:gd name="connsiteX77" fmla="*/ 2570607 w 3036188"/>
                  <a:gd name="connsiteY77" fmla="*/ 1289685 h 4322287"/>
                  <a:gd name="connsiteX78" fmla="*/ 2508790 w 3036188"/>
                  <a:gd name="connsiteY78" fmla="*/ 1281684 h 4322287"/>
                  <a:gd name="connsiteX79" fmla="*/ 2431542 w 3036188"/>
                  <a:gd name="connsiteY79" fmla="*/ 1281684 h 4322287"/>
                  <a:gd name="connsiteX80" fmla="*/ 2431542 w 3036188"/>
                  <a:gd name="connsiteY80" fmla="*/ 1013746 h 4322287"/>
                  <a:gd name="connsiteX81" fmla="*/ 2373525 w 3036188"/>
                  <a:gd name="connsiteY81" fmla="*/ 957472 h 4322287"/>
                  <a:gd name="connsiteX82" fmla="*/ 2336292 w 3036188"/>
                  <a:gd name="connsiteY82" fmla="*/ 972026 h 4322287"/>
                  <a:gd name="connsiteX83" fmla="*/ 1942338 w 3036188"/>
                  <a:gd name="connsiteY83" fmla="*/ 1076801 h 4322287"/>
                  <a:gd name="connsiteX84" fmla="*/ 2033302 w 3036188"/>
                  <a:gd name="connsiteY84" fmla="*/ 880967 h 4322287"/>
                  <a:gd name="connsiteX85" fmla="*/ 1993240 w 3036188"/>
                  <a:gd name="connsiteY85" fmla="*/ 810778 h 4322287"/>
                  <a:gd name="connsiteX86" fmla="*/ 1945577 w 3036188"/>
                  <a:gd name="connsiteY86" fmla="*/ 818960 h 4322287"/>
                  <a:gd name="connsiteX87" fmla="*/ 670941 w 3036188"/>
                  <a:gd name="connsiteY87" fmla="*/ 1051274 h 4322287"/>
                  <a:gd name="connsiteX88" fmla="*/ 624935 w 3036188"/>
                  <a:gd name="connsiteY88" fmla="*/ 1063657 h 4322287"/>
                  <a:gd name="connsiteX89" fmla="*/ 718090 w 3036188"/>
                  <a:gd name="connsiteY89" fmla="*/ 1670495 h 4322287"/>
                  <a:gd name="connsiteX90" fmla="*/ 718090 w 3036188"/>
                  <a:gd name="connsiteY90" fmla="*/ 1395413 h 4322287"/>
                  <a:gd name="connsiteX91" fmla="*/ 1347407 w 3036188"/>
                  <a:gd name="connsiteY91" fmla="*/ 1396365 h 4322287"/>
                  <a:gd name="connsiteX92" fmla="*/ 1348073 w 3036188"/>
                  <a:gd name="connsiteY92" fmla="*/ 1536287 h 4322287"/>
                  <a:gd name="connsiteX93" fmla="*/ 1347407 w 3036188"/>
                  <a:gd name="connsiteY93" fmla="*/ 1544098 h 4322287"/>
                  <a:gd name="connsiteX94" fmla="*/ 1348073 w 3036188"/>
                  <a:gd name="connsiteY94" fmla="*/ 1552385 h 4322287"/>
                  <a:gd name="connsiteX95" fmla="*/ 1348740 w 3036188"/>
                  <a:gd name="connsiteY95" fmla="*/ 1692974 h 4322287"/>
                  <a:gd name="connsiteX96" fmla="*/ 719042 w 3036188"/>
                  <a:gd name="connsiteY96" fmla="*/ 1692974 h 4322287"/>
                  <a:gd name="connsiteX97" fmla="*/ 718090 w 3036188"/>
                  <a:gd name="connsiteY97" fmla="*/ 1670495 h 4322287"/>
                  <a:gd name="connsiteX98" fmla="*/ 880015 w 3036188"/>
                  <a:gd name="connsiteY98" fmla="*/ 2050923 h 4322287"/>
                  <a:gd name="connsiteX99" fmla="*/ 735901 w 3036188"/>
                  <a:gd name="connsiteY99" fmla="*/ 1806512 h 4322287"/>
                  <a:gd name="connsiteX100" fmla="*/ 1349216 w 3036188"/>
                  <a:gd name="connsiteY100" fmla="*/ 1806512 h 4322287"/>
                  <a:gd name="connsiteX101" fmla="*/ 1461516 w 3036188"/>
                  <a:gd name="connsiteY101" fmla="*/ 1692212 h 4322287"/>
                  <a:gd name="connsiteX102" fmla="*/ 1461516 w 3036188"/>
                  <a:gd name="connsiteY102" fmla="*/ 1601248 h 4322287"/>
                  <a:gd name="connsiteX103" fmla="*/ 1575340 w 3036188"/>
                  <a:gd name="connsiteY103" fmla="*/ 1601248 h 4322287"/>
                  <a:gd name="connsiteX104" fmla="*/ 1575340 w 3036188"/>
                  <a:gd name="connsiteY104" fmla="*/ 1692212 h 4322287"/>
                  <a:gd name="connsiteX105" fmla="*/ 1687640 w 3036188"/>
                  <a:gd name="connsiteY105" fmla="*/ 1806512 h 4322287"/>
                  <a:gd name="connsiteX106" fmla="*/ 2300954 w 3036188"/>
                  <a:gd name="connsiteY106" fmla="*/ 1806512 h 4322287"/>
                  <a:gd name="connsiteX107" fmla="*/ 2156365 w 3036188"/>
                  <a:gd name="connsiteY107" fmla="*/ 2050923 h 4322287"/>
                  <a:gd name="connsiteX108" fmla="*/ 1518190 w 3036188"/>
                  <a:gd name="connsiteY108" fmla="*/ 2311813 h 4322287"/>
                  <a:gd name="connsiteX109" fmla="*/ 880015 w 3036188"/>
                  <a:gd name="connsiteY109" fmla="*/ 2050923 h 4322287"/>
                  <a:gd name="connsiteX110" fmla="*/ 1877282 w 3036188"/>
                  <a:gd name="connsiteY110" fmla="*/ 2668810 h 4322287"/>
                  <a:gd name="connsiteX111" fmla="*/ 1159097 w 3036188"/>
                  <a:gd name="connsiteY111" fmla="*/ 2668810 h 4322287"/>
                  <a:gd name="connsiteX112" fmla="*/ 1159097 w 3036188"/>
                  <a:gd name="connsiteY112" fmla="*/ 2474786 h 4322287"/>
                  <a:gd name="connsiteX113" fmla="*/ 1198435 w 3036188"/>
                  <a:gd name="connsiteY113" fmla="*/ 2435352 h 4322287"/>
                  <a:gd name="connsiteX114" fmla="*/ 1837944 w 3036188"/>
                  <a:gd name="connsiteY114" fmla="*/ 2435352 h 4322287"/>
                  <a:gd name="connsiteX115" fmla="*/ 1877282 w 3036188"/>
                  <a:gd name="connsiteY115" fmla="*/ 2474786 h 4322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3036188" h="4322287">
                    <a:moveTo>
                      <a:pt x="2274856" y="2668810"/>
                    </a:moveTo>
                    <a:lnTo>
                      <a:pt x="1990916" y="2668810"/>
                    </a:lnTo>
                    <a:lnTo>
                      <a:pt x="1990916" y="2474786"/>
                    </a:lnTo>
                    <a:cubicBezTo>
                      <a:pt x="1990944" y="2422694"/>
                      <a:pt x="1964360" y="2374202"/>
                      <a:pt x="1920431" y="2346198"/>
                    </a:cubicBezTo>
                    <a:cubicBezTo>
                      <a:pt x="2053209" y="2289048"/>
                      <a:pt x="2153603" y="2208562"/>
                      <a:pt x="2233708" y="2134267"/>
                    </a:cubicBezTo>
                    <a:cubicBezTo>
                      <a:pt x="2327138" y="2046503"/>
                      <a:pt x="2391213" y="1932042"/>
                      <a:pt x="2417159" y="1806512"/>
                    </a:cubicBezTo>
                    <a:lnTo>
                      <a:pt x="2508790" y="1806512"/>
                    </a:lnTo>
                    <a:cubicBezTo>
                      <a:pt x="2647760" y="1806512"/>
                      <a:pt x="2760821" y="1689735"/>
                      <a:pt x="2760821" y="1542098"/>
                    </a:cubicBezTo>
                    <a:cubicBezTo>
                      <a:pt x="2761183" y="1466869"/>
                      <a:pt x="2729360" y="1395079"/>
                      <a:pt x="2673382" y="1344835"/>
                    </a:cubicBezTo>
                    <a:cubicBezTo>
                      <a:pt x="2713292" y="1208056"/>
                      <a:pt x="2817209" y="755809"/>
                      <a:pt x="2571560" y="408051"/>
                    </a:cubicBezTo>
                    <a:cubicBezTo>
                      <a:pt x="2380107" y="137351"/>
                      <a:pt x="2025777" y="0"/>
                      <a:pt x="1518190" y="0"/>
                    </a:cubicBezTo>
                    <a:cubicBezTo>
                      <a:pt x="1010603" y="0"/>
                      <a:pt x="656272" y="137351"/>
                      <a:pt x="464820" y="408337"/>
                    </a:cubicBezTo>
                    <a:cubicBezTo>
                      <a:pt x="218980" y="756285"/>
                      <a:pt x="323183" y="1209008"/>
                      <a:pt x="363093" y="1345502"/>
                    </a:cubicBezTo>
                    <a:cubicBezTo>
                      <a:pt x="306743" y="1396937"/>
                      <a:pt x="274920" y="1469898"/>
                      <a:pt x="275558" y="1546193"/>
                    </a:cubicBezTo>
                    <a:cubicBezTo>
                      <a:pt x="275558" y="1689735"/>
                      <a:pt x="388620" y="1806512"/>
                      <a:pt x="527590" y="1806512"/>
                    </a:cubicBezTo>
                    <a:lnTo>
                      <a:pt x="619220" y="1806512"/>
                    </a:lnTo>
                    <a:cubicBezTo>
                      <a:pt x="645147" y="1932051"/>
                      <a:pt x="709212" y="2046523"/>
                      <a:pt x="802672" y="2134267"/>
                    </a:cubicBezTo>
                    <a:cubicBezTo>
                      <a:pt x="882777" y="2208562"/>
                      <a:pt x="983647" y="2288762"/>
                      <a:pt x="1115949" y="2346198"/>
                    </a:cubicBezTo>
                    <a:cubicBezTo>
                      <a:pt x="1072020" y="2374202"/>
                      <a:pt x="1045435" y="2422694"/>
                      <a:pt x="1045464" y="2474786"/>
                    </a:cubicBezTo>
                    <a:lnTo>
                      <a:pt x="1045464" y="2668810"/>
                    </a:lnTo>
                    <a:lnTo>
                      <a:pt x="761524" y="2668810"/>
                    </a:lnTo>
                    <a:cubicBezTo>
                      <a:pt x="340871" y="2669077"/>
                      <a:pt x="0" y="3010157"/>
                      <a:pt x="0" y="3430810"/>
                    </a:cubicBezTo>
                    <a:lnTo>
                      <a:pt x="0" y="4271296"/>
                    </a:lnTo>
                    <a:cubicBezTo>
                      <a:pt x="3404" y="4302671"/>
                      <a:pt x="31601" y="4325350"/>
                      <a:pt x="62979" y="4321950"/>
                    </a:cubicBezTo>
                    <a:cubicBezTo>
                      <a:pt x="89668" y="4319054"/>
                      <a:pt x="110738" y="4297975"/>
                      <a:pt x="113633" y="4271296"/>
                    </a:cubicBezTo>
                    <a:lnTo>
                      <a:pt x="113633" y="3430810"/>
                    </a:lnTo>
                    <a:cubicBezTo>
                      <a:pt x="114109" y="3073289"/>
                      <a:pt x="403812" y="2783586"/>
                      <a:pt x="761333" y="2783110"/>
                    </a:cubicBezTo>
                    <a:lnTo>
                      <a:pt x="2274856" y="2783110"/>
                    </a:lnTo>
                    <a:cubicBezTo>
                      <a:pt x="2632377" y="2783586"/>
                      <a:pt x="2922080" y="3073289"/>
                      <a:pt x="2922556" y="3430810"/>
                    </a:cubicBezTo>
                    <a:lnTo>
                      <a:pt x="2922556" y="4271296"/>
                    </a:lnTo>
                    <a:cubicBezTo>
                      <a:pt x="2925956" y="4302671"/>
                      <a:pt x="2954160" y="4325350"/>
                      <a:pt x="2985535" y="4321950"/>
                    </a:cubicBezTo>
                    <a:cubicBezTo>
                      <a:pt x="3012224" y="4319054"/>
                      <a:pt x="3033294" y="4297975"/>
                      <a:pt x="3036189" y="4271296"/>
                    </a:cubicBezTo>
                    <a:lnTo>
                      <a:pt x="3036189" y="3430810"/>
                    </a:lnTo>
                    <a:cubicBezTo>
                      <a:pt x="3036189" y="3010234"/>
                      <a:pt x="2695432" y="2669181"/>
                      <a:pt x="2274856" y="2668810"/>
                    </a:cubicBezTo>
                    <a:close/>
                    <a:moveTo>
                      <a:pt x="2318290" y="1670495"/>
                    </a:moveTo>
                    <a:cubicBezTo>
                      <a:pt x="2318290" y="1678019"/>
                      <a:pt x="2318290" y="1685449"/>
                      <a:pt x="2317718" y="1692878"/>
                    </a:cubicBezTo>
                    <a:lnTo>
                      <a:pt x="1689068" y="1691830"/>
                    </a:lnTo>
                    <a:lnTo>
                      <a:pt x="1688402" y="1551908"/>
                    </a:lnTo>
                    <a:cubicBezTo>
                      <a:pt x="1688821" y="1549327"/>
                      <a:pt x="1689040" y="1546717"/>
                      <a:pt x="1689068" y="1544098"/>
                    </a:cubicBezTo>
                    <a:cubicBezTo>
                      <a:pt x="1689040" y="1541355"/>
                      <a:pt x="1688821" y="1538621"/>
                      <a:pt x="1688402" y="1535906"/>
                    </a:cubicBezTo>
                    <a:lnTo>
                      <a:pt x="1687735" y="1395317"/>
                    </a:lnTo>
                    <a:lnTo>
                      <a:pt x="2318290" y="1395317"/>
                    </a:lnTo>
                    <a:close/>
                    <a:moveTo>
                      <a:pt x="2318290" y="1281684"/>
                    </a:moveTo>
                    <a:lnTo>
                      <a:pt x="1687259" y="1281684"/>
                    </a:lnTo>
                    <a:cubicBezTo>
                      <a:pt x="1624784" y="1282465"/>
                      <a:pt x="1574645" y="1333510"/>
                      <a:pt x="1574959" y="1395984"/>
                    </a:cubicBezTo>
                    <a:lnTo>
                      <a:pt x="1574959" y="1487710"/>
                    </a:lnTo>
                    <a:lnTo>
                      <a:pt x="1461040" y="1487710"/>
                    </a:lnTo>
                    <a:lnTo>
                      <a:pt x="1461040" y="1396746"/>
                    </a:lnTo>
                    <a:cubicBezTo>
                      <a:pt x="1461354" y="1334272"/>
                      <a:pt x="1411215" y="1283227"/>
                      <a:pt x="1348740" y="1282446"/>
                    </a:cubicBezTo>
                    <a:lnTo>
                      <a:pt x="718090" y="1282446"/>
                    </a:lnTo>
                    <a:lnTo>
                      <a:pt x="718090" y="1171670"/>
                    </a:lnTo>
                    <a:cubicBezTo>
                      <a:pt x="900684" y="1192149"/>
                      <a:pt x="1421702" y="1225201"/>
                      <a:pt x="1850136" y="1008412"/>
                    </a:cubicBezTo>
                    <a:cubicBezTo>
                      <a:pt x="1833286" y="1037053"/>
                      <a:pt x="1814779" y="1064695"/>
                      <a:pt x="1794701" y="1091184"/>
                    </a:cubicBezTo>
                    <a:cubicBezTo>
                      <a:pt x="1775889" y="1116530"/>
                      <a:pt x="1781175" y="1152325"/>
                      <a:pt x="1806511" y="1171137"/>
                    </a:cubicBezTo>
                    <a:cubicBezTo>
                      <a:pt x="1813865" y="1176595"/>
                      <a:pt x="1822428" y="1180214"/>
                      <a:pt x="1831467" y="1181672"/>
                    </a:cubicBezTo>
                    <a:cubicBezTo>
                      <a:pt x="1844802" y="1183672"/>
                      <a:pt x="2116169" y="1222534"/>
                      <a:pt x="2317242" y="1120712"/>
                    </a:cubicBezTo>
                    <a:close/>
                    <a:moveTo>
                      <a:pt x="2508790" y="1692974"/>
                    </a:moveTo>
                    <a:lnTo>
                      <a:pt x="2430970" y="1692974"/>
                    </a:lnTo>
                    <a:cubicBezTo>
                      <a:pt x="2430970" y="1685449"/>
                      <a:pt x="2431542" y="1678019"/>
                      <a:pt x="2431542" y="1670495"/>
                    </a:cubicBezTo>
                    <a:lnTo>
                      <a:pt x="2431542" y="1395317"/>
                    </a:lnTo>
                    <a:lnTo>
                      <a:pt x="2508790" y="1395317"/>
                    </a:lnTo>
                    <a:cubicBezTo>
                      <a:pt x="2584990" y="1395317"/>
                      <a:pt x="2647283" y="1461135"/>
                      <a:pt x="2647283" y="1546193"/>
                    </a:cubicBezTo>
                    <a:cubicBezTo>
                      <a:pt x="2647283" y="1627156"/>
                      <a:pt x="2584990" y="1692974"/>
                      <a:pt x="2508790" y="1692974"/>
                    </a:cubicBezTo>
                    <a:close/>
                    <a:moveTo>
                      <a:pt x="527590" y="1692974"/>
                    </a:moveTo>
                    <a:cubicBezTo>
                      <a:pt x="451390" y="1692974"/>
                      <a:pt x="389096" y="1627156"/>
                      <a:pt x="389096" y="1542098"/>
                    </a:cubicBezTo>
                    <a:cubicBezTo>
                      <a:pt x="389096" y="1461135"/>
                      <a:pt x="451295" y="1395317"/>
                      <a:pt x="527590" y="1395317"/>
                    </a:cubicBezTo>
                    <a:lnTo>
                      <a:pt x="604933" y="1395317"/>
                    </a:lnTo>
                    <a:lnTo>
                      <a:pt x="604933" y="1670495"/>
                    </a:lnTo>
                    <a:cubicBezTo>
                      <a:pt x="604933" y="1678019"/>
                      <a:pt x="604933" y="1685449"/>
                      <a:pt x="605504" y="1692974"/>
                    </a:cubicBezTo>
                    <a:close/>
                    <a:moveTo>
                      <a:pt x="624935" y="1063657"/>
                    </a:moveTo>
                    <a:cubicBezTo>
                      <a:pt x="612286" y="1074468"/>
                      <a:pt x="604990" y="1090260"/>
                      <a:pt x="604933" y="1106900"/>
                    </a:cubicBezTo>
                    <a:lnTo>
                      <a:pt x="604933" y="1281684"/>
                    </a:lnTo>
                    <a:lnTo>
                      <a:pt x="527590" y="1281684"/>
                    </a:lnTo>
                    <a:cubicBezTo>
                      <a:pt x="506721" y="1281665"/>
                      <a:pt x="485947" y="1284361"/>
                      <a:pt x="465772" y="1289685"/>
                    </a:cubicBezTo>
                    <a:cubicBezTo>
                      <a:pt x="427672" y="1145191"/>
                      <a:pt x="355283" y="759714"/>
                      <a:pt x="557975" y="473393"/>
                    </a:cubicBezTo>
                    <a:cubicBezTo>
                      <a:pt x="726948" y="234601"/>
                      <a:pt x="1050036" y="113633"/>
                      <a:pt x="1518190" y="113633"/>
                    </a:cubicBezTo>
                    <a:cubicBezTo>
                      <a:pt x="1986343" y="113633"/>
                      <a:pt x="2309432" y="234601"/>
                      <a:pt x="2478405" y="473393"/>
                    </a:cubicBezTo>
                    <a:cubicBezTo>
                      <a:pt x="2681097" y="759714"/>
                      <a:pt x="2608326" y="1145191"/>
                      <a:pt x="2570607" y="1289685"/>
                    </a:cubicBezTo>
                    <a:cubicBezTo>
                      <a:pt x="2550433" y="1284361"/>
                      <a:pt x="2529659" y="1281665"/>
                      <a:pt x="2508790" y="1281684"/>
                    </a:cubicBezTo>
                    <a:lnTo>
                      <a:pt x="2431542" y="1281684"/>
                    </a:lnTo>
                    <a:lnTo>
                      <a:pt x="2431542" y="1013746"/>
                    </a:lnTo>
                    <a:cubicBezTo>
                      <a:pt x="2431056" y="982189"/>
                      <a:pt x="2405091" y="956996"/>
                      <a:pt x="2373525" y="957472"/>
                    </a:cubicBezTo>
                    <a:cubicBezTo>
                      <a:pt x="2359771" y="957682"/>
                      <a:pt x="2346551" y="962854"/>
                      <a:pt x="2336292" y="972026"/>
                    </a:cubicBezTo>
                    <a:cubicBezTo>
                      <a:pt x="2232089" y="1068134"/>
                      <a:pt x="2052066" y="1080135"/>
                      <a:pt x="1942338" y="1076801"/>
                    </a:cubicBezTo>
                    <a:cubicBezTo>
                      <a:pt x="1980390" y="1015403"/>
                      <a:pt x="2010927" y="949652"/>
                      <a:pt x="2033302" y="880967"/>
                    </a:cubicBezTo>
                    <a:cubicBezTo>
                      <a:pt x="2041627" y="850525"/>
                      <a:pt x="2023682" y="819093"/>
                      <a:pt x="1993240" y="810778"/>
                    </a:cubicBezTo>
                    <a:cubicBezTo>
                      <a:pt x="1976923" y="806310"/>
                      <a:pt x="1959474" y="809311"/>
                      <a:pt x="1945577" y="818960"/>
                    </a:cubicBezTo>
                    <a:cubicBezTo>
                      <a:pt x="1453896" y="1173194"/>
                      <a:pt x="678751" y="1052417"/>
                      <a:pt x="670941" y="1051274"/>
                    </a:cubicBezTo>
                    <a:cubicBezTo>
                      <a:pt x="654539" y="1048512"/>
                      <a:pt x="637737" y="1053027"/>
                      <a:pt x="624935" y="1063657"/>
                    </a:cubicBezTo>
                    <a:close/>
                    <a:moveTo>
                      <a:pt x="718090" y="1670495"/>
                    </a:moveTo>
                    <a:lnTo>
                      <a:pt x="718090" y="1395413"/>
                    </a:lnTo>
                    <a:lnTo>
                      <a:pt x="1347407" y="1396365"/>
                    </a:lnTo>
                    <a:lnTo>
                      <a:pt x="1348073" y="1536287"/>
                    </a:lnTo>
                    <a:cubicBezTo>
                      <a:pt x="1347654" y="1538869"/>
                      <a:pt x="1347435" y="1541478"/>
                      <a:pt x="1347407" y="1544098"/>
                    </a:cubicBezTo>
                    <a:cubicBezTo>
                      <a:pt x="1347435" y="1546870"/>
                      <a:pt x="1347654" y="1549641"/>
                      <a:pt x="1348073" y="1552385"/>
                    </a:cubicBezTo>
                    <a:lnTo>
                      <a:pt x="1348740" y="1692974"/>
                    </a:lnTo>
                    <a:lnTo>
                      <a:pt x="719042" y="1692974"/>
                    </a:lnTo>
                    <a:cubicBezTo>
                      <a:pt x="718757" y="1685544"/>
                      <a:pt x="718090" y="1678210"/>
                      <a:pt x="718090" y="1670495"/>
                    </a:cubicBezTo>
                    <a:close/>
                    <a:moveTo>
                      <a:pt x="880015" y="2050923"/>
                    </a:moveTo>
                    <a:cubicBezTo>
                      <a:pt x="809673" y="1984848"/>
                      <a:pt x="759666" y="1900047"/>
                      <a:pt x="735901" y="1806512"/>
                    </a:cubicBezTo>
                    <a:lnTo>
                      <a:pt x="1349216" y="1806512"/>
                    </a:lnTo>
                    <a:cubicBezTo>
                      <a:pt x="1411710" y="1805778"/>
                      <a:pt x="1461888" y="1754715"/>
                      <a:pt x="1461516" y="1692212"/>
                    </a:cubicBezTo>
                    <a:lnTo>
                      <a:pt x="1461516" y="1601248"/>
                    </a:lnTo>
                    <a:lnTo>
                      <a:pt x="1575340" y="1601248"/>
                    </a:lnTo>
                    <a:lnTo>
                      <a:pt x="1575340" y="1692212"/>
                    </a:lnTo>
                    <a:cubicBezTo>
                      <a:pt x="1574968" y="1754715"/>
                      <a:pt x="1625146" y="1805778"/>
                      <a:pt x="1687640" y="1806512"/>
                    </a:cubicBezTo>
                    <a:lnTo>
                      <a:pt x="2300954" y="1806512"/>
                    </a:lnTo>
                    <a:cubicBezTo>
                      <a:pt x="2277094" y="1900123"/>
                      <a:pt x="2226917" y="1984934"/>
                      <a:pt x="2156365" y="2050923"/>
                    </a:cubicBezTo>
                    <a:cubicBezTo>
                      <a:pt x="2017205" y="2179987"/>
                      <a:pt x="1832515" y="2311813"/>
                      <a:pt x="1518190" y="2311813"/>
                    </a:cubicBezTo>
                    <a:cubicBezTo>
                      <a:pt x="1203865" y="2311813"/>
                      <a:pt x="1019080" y="2179987"/>
                      <a:pt x="880015" y="2050923"/>
                    </a:cubicBezTo>
                    <a:close/>
                    <a:moveTo>
                      <a:pt x="1877282" y="2668810"/>
                    </a:moveTo>
                    <a:lnTo>
                      <a:pt x="1159097" y="2668810"/>
                    </a:lnTo>
                    <a:lnTo>
                      <a:pt x="1159097" y="2474786"/>
                    </a:lnTo>
                    <a:cubicBezTo>
                      <a:pt x="1159097" y="2453040"/>
                      <a:pt x="1176690" y="2435409"/>
                      <a:pt x="1198435" y="2435352"/>
                    </a:cubicBezTo>
                    <a:lnTo>
                      <a:pt x="1837944" y="2435352"/>
                    </a:lnTo>
                    <a:cubicBezTo>
                      <a:pt x="1859690" y="2435409"/>
                      <a:pt x="1877282" y="2453040"/>
                      <a:pt x="1877282" y="247478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2" name="Freeform 43">
                <a:extLst>
                  <a:ext uri="{FF2B5EF4-FFF2-40B4-BE49-F238E27FC236}">
                    <a16:creationId xmlns:a16="http://schemas.microsoft.com/office/drawing/2014/main" id="{61F2B4DC-BA94-FA2E-2A37-A0C57910F2F0}"/>
                  </a:ext>
                </a:extLst>
              </p:cNvPr>
              <p:cNvSpPr/>
              <p:nvPr/>
            </p:nvSpPr>
            <p:spPr>
              <a:xfrm>
                <a:off x="13058775" y="3975473"/>
                <a:ext cx="113633" cy="1057021"/>
              </a:xfrm>
              <a:custGeom>
                <a:avLst/>
                <a:gdLst>
                  <a:gd name="connsiteX0" fmla="*/ 57150 w 113633"/>
                  <a:gd name="connsiteY0" fmla="*/ 0 h 1057021"/>
                  <a:gd name="connsiteX1" fmla="*/ 0 w 113633"/>
                  <a:gd name="connsiteY1" fmla="*/ 57150 h 1057021"/>
                  <a:gd name="connsiteX2" fmla="*/ 0 w 113633"/>
                  <a:gd name="connsiteY2" fmla="*/ 1006030 h 1057021"/>
                  <a:gd name="connsiteX3" fmla="*/ 62979 w 113633"/>
                  <a:gd name="connsiteY3" fmla="*/ 1056684 h 1057021"/>
                  <a:gd name="connsiteX4" fmla="*/ 113633 w 113633"/>
                  <a:gd name="connsiteY4" fmla="*/ 1006030 h 1057021"/>
                  <a:gd name="connsiteX5" fmla="*/ 113633 w 113633"/>
                  <a:gd name="connsiteY5" fmla="*/ 56864 h 1057021"/>
                  <a:gd name="connsiteX6" fmla="*/ 57150 w 113633"/>
                  <a:gd name="connsiteY6" fmla="*/ 0 h 105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633" h="1057021">
                    <a:moveTo>
                      <a:pt x="57150" y="0"/>
                    </a:moveTo>
                    <a:cubicBezTo>
                      <a:pt x="25584" y="0"/>
                      <a:pt x="0" y="25584"/>
                      <a:pt x="0" y="57150"/>
                    </a:cubicBezTo>
                    <a:lnTo>
                      <a:pt x="0" y="1006030"/>
                    </a:lnTo>
                    <a:cubicBezTo>
                      <a:pt x="3400" y="1037406"/>
                      <a:pt x="31604" y="1060085"/>
                      <a:pt x="62979" y="1056684"/>
                    </a:cubicBezTo>
                    <a:cubicBezTo>
                      <a:pt x="89668" y="1053789"/>
                      <a:pt x="110738" y="1032710"/>
                      <a:pt x="113633" y="1006030"/>
                    </a:cubicBezTo>
                    <a:lnTo>
                      <a:pt x="113633" y="56864"/>
                    </a:lnTo>
                    <a:cubicBezTo>
                      <a:pt x="113481" y="25670"/>
                      <a:pt x="88344" y="362"/>
                      <a:pt x="5715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3" name="Freeform 44">
                <a:extLst>
                  <a:ext uri="{FF2B5EF4-FFF2-40B4-BE49-F238E27FC236}">
                    <a16:creationId xmlns:a16="http://schemas.microsoft.com/office/drawing/2014/main" id="{5F256769-4F0D-3C46-862E-B2E4B4A445F6}"/>
                  </a:ext>
                </a:extLst>
              </p:cNvPr>
              <p:cNvSpPr/>
              <p:nvPr/>
            </p:nvSpPr>
            <p:spPr>
              <a:xfrm>
                <a:off x="14868525" y="3975473"/>
                <a:ext cx="113633" cy="1057021"/>
              </a:xfrm>
              <a:custGeom>
                <a:avLst/>
                <a:gdLst>
                  <a:gd name="connsiteX0" fmla="*/ 57150 w 113633"/>
                  <a:gd name="connsiteY0" fmla="*/ 0 h 1057021"/>
                  <a:gd name="connsiteX1" fmla="*/ 0 w 113633"/>
                  <a:gd name="connsiteY1" fmla="*/ 57150 h 1057021"/>
                  <a:gd name="connsiteX2" fmla="*/ 0 w 113633"/>
                  <a:gd name="connsiteY2" fmla="*/ 1006030 h 1057021"/>
                  <a:gd name="connsiteX3" fmla="*/ 62979 w 113633"/>
                  <a:gd name="connsiteY3" fmla="*/ 1056684 h 1057021"/>
                  <a:gd name="connsiteX4" fmla="*/ 113633 w 113633"/>
                  <a:gd name="connsiteY4" fmla="*/ 1006030 h 1057021"/>
                  <a:gd name="connsiteX5" fmla="*/ 113633 w 113633"/>
                  <a:gd name="connsiteY5" fmla="*/ 56864 h 1057021"/>
                  <a:gd name="connsiteX6" fmla="*/ 57150 w 113633"/>
                  <a:gd name="connsiteY6" fmla="*/ 0 h 105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633" h="1057021">
                    <a:moveTo>
                      <a:pt x="57150" y="0"/>
                    </a:moveTo>
                    <a:cubicBezTo>
                      <a:pt x="25584" y="0"/>
                      <a:pt x="0" y="25584"/>
                      <a:pt x="0" y="57150"/>
                    </a:cubicBezTo>
                    <a:lnTo>
                      <a:pt x="0" y="1006030"/>
                    </a:lnTo>
                    <a:cubicBezTo>
                      <a:pt x="3400" y="1037406"/>
                      <a:pt x="31604" y="1060085"/>
                      <a:pt x="62979" y="1056684"/>
                    </a:cubicBezTo>
                    <a:cubicBezTo>
                      <a:pt x="89668" y="1053789"/>
                      <a:pt x="110738" y="1032710"/>
                      <a:pt x="113633" y="1006030"/>
                    </a:cubicBezTo>
                    <a:lnTo>
                      <a:pt x="113633" y="56864"/>
                    </a:lnTo>
                    <a:cubicBezTo>
                      <a:pt x="113481" y="25670"/>
                      <a:pt x="88344" y="362"/>
                      <a:pt x="5715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4" name="Freeform 45">
                <a:extLst>
                  <a:ext uri="{FF2B5EF4-FFF2-40B4-BE49-F238E27FC236}">
                    <a16:creationId xmlns:a16="http://schemas.microsoft.com/office/drawing/2014/main" id="{73ADDAEC-8B33-0D41-2C1E-568AB9C59DDB}"/>
                  </a:ext>
                </a:extLst>
              </p:cNvPr>
              <p:cNvSpPr/>
              <p:nvPr/>
            </p:nvSpPr>
            <p:spPr>
              <a:xfrm>
                <a:off x="13625641" y="2619658"/>
                <a:ext cx="799149" cy="259124"/>
              </a:xfrm>
              <a:custGeom>
                <a:avLst/>
                <a:gdLst>
                  <a:gd name="connsiteX0" fmla="*/ 777493 w 799149"/>
                  <a:gd name="connsiteY0" fmla="*/ 101943 h 259124"/>
                  <a:gd name="connsiteX1" fmla="*/ 786789 w 799149"/>
                  <a:gd name="connsiteY1" fmla="*/ 21657 h 259124"/>
                  <a:gd name="connsiteX2" fmla="*/ 706503 w 799149"/>
                  <a:gd name="connsiteY2" fmla="*/ 12360 h 259124"/>
                  <a:gd name="connsiteX3" fmla="*/ 697673 w 799149"/>
                  <a:gd name="connsiteY3" fmla="*/ 21076 h 259124"/>
                  <a:gd name="connsiteX4" fmla="*/ 694435 w 799149"/>
                  <a:gd name="connsiteY4" fmla="*/ 24410 h 259124"/>
                  <a:gd name="connsiteX5" fmla="*/ 96074 w 799149"/>
                  <a:gd name="connsiteY5" fmla="*/ 24410 h 259124"/>
                  <a:gd name="connsiteX6" fmla="*/ 92645 w 799149"/>
                  <a:gd name="connsiteY6" fmla="*/ 20981 h 259124"/>
                  <a:gd name="connsiteX7" fmla="*/ 12359 w 799149"/>
                  <a:gd name="connsiteY7" fmla="*/ 30277 h 259124"/>
                  <a:gd name="connsiteX8" fmla="*/ 12825 w 799149"/>
                  <a:gd name="connsiteY8" fmla="*/ 101848 h 259124"/>
                  <a:gd name="connsiteX9" fmla="*/ 16350 w 799149"/>
                  <a:gd name="connsiteY9" fmla="*/ 105277 h 259124"/>
                  <a:gd name="connsiteX10" fmla="*/ 774063 w 799149"/>
                  <a:gd name="connsiteY10" fmla="*/ 105277 h 259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9149" h="259124">
                    <a:moveTo>
                      <a:pt x="777493" y="101943"/>
                    </a:moveTo>
                    <a:cubicBezTo>
                      <a:pt x="802229" y="82341"/>
                      <a:pt x="806391" y="46393"/>
                      <a:pt x="786789" y="21657"/>
                    </a:cubicBezTo>
                    <a:cubicBezTo>
                      <a:pt x="767187" y="-3080"/>
                      <a:pt x="731239" y="-7242"/>
                      <a:pt x="706503" y="12360"/>
                    </a:cubicBezTo>
                    <a:cubicBezTo>
                      <a:pt x="703255" y="14942"/>
                      <a:pt x="700292" y="17856"/>
                      <a:pt x="697673" y="21076"/>
                    </a:cubicBezTo>
                    <a:lnTo>
                      <a:pt x="694435" y="24410"/>
                    </a:lnTo>
                    <a:cubicBezTo>
                      <a:pt x="527833" y="186306"/>
                      <a:pt x="262676" y="186306"/>
                      <a:pt x="96074" y="24410"/>
                    </a:cubicBezTo>
                    <a:lnTo>
                      <a:pt x="92645" y="20981"/>
                    </a:lnTo>
                    <a:cubicBezTo>
                      <a:pt x="67909" y="1378"/>
                      <a:pt x="31961" y="5541"/>
                      <a:pt x="12359" y="30277"/>
                    </a:cubicBezTo>
                    <a:cubicBezTo>
                      <a:pt x="-4291" y="51289"/>
                      <a:pt x="-4101" y="81055"/>
                      <a:pt x="12825" y="101848"/>
                    </a:cubicBezTo>
                    <a:lnTo>
                      <a:pt x="16350" y="105277"/>
                    </a:lnTo>
                    <a:cubicBezTo>
                      <a:pt x="227271" y="310407"/>
                      <a:pt x="563142" y="310407"/>
                      <a:pt x="774063" y="10527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5" name="Freeform 46">
                <a:extLst>
                  <a:ext uri="{FF2B5EF4-FFF2-40B4-BE49-F238E27FC236}">
                    <a16:creationId xmlns:a16="http://schemas.microsoft.com/office/drawing/2014/main" id="{C8BB274A-1355-9A93-AF0D-D5BA8044400F}"/>
                  </a:ext>
                </a:extLst>
              </p:cNvPr>
              <p:cNvSpPr/>
              <p:nvPr/>
            </p:nvSpPr>
            <p:spPr>
              <a:xfrm>
                <a:off x="13621595" y="2174581"/>
                <a:ext cx="131730" cy="136302"/>
              </a:xfrm>
              <a:custGeom>
                <a:avLst/>
                <a:gdLst>
                  <a:gd name="connsiteX0" fmla="*/ 65830 w 131730"/>
                  <a:gd name="connsiteY0" fmla="*/ 0 h 136302"/>
                  <a:gd name="connsiteX1" fmla="*/ 65830 w 131730"/>
                  <a:gd name="connsiteY1" fmla="*/ 136303 h 136302"/>
                  <a:gd name="connsiteX2" fmla="*/ 65830 w 131730"/>
                  <a:gd name="connsiteY2" fmla="*/ 0 h 136302"/>
                </a:gdLst>
                <a:ahLst/>
                <a:cxnLst>
                  <a:cxn ang="0">
                    <a:pos x="connsiteX0" y="connsiteY0"/>
                  </a:cxn>
                  <a:cxn ang="0">
                    <a:pos x="connsiteX1" y="connsiteY1"/>
                  </a:cxn>
                  <a:cxn ang="0">
                    <a:pos x="connsiteX2" y="connsiteY2"/>
                  </a:cxn>
                </a:cxnLst>
                <a:rect l="l" t="t" r="r" b="b"/>
                <a:pathLst>
                  <a:path w="131730" h="136302">
                    <a:moveTo>
                      <a:pt x="65830" y="0"/>
                    </a:moveTo>
                    <a:cubicBezTo>
                      <a:pt x="-21896" y="0"/>
                      <a:pt x="-21991" y="136303"/>
                      <a:pt x="65830" y="136303"/>
                    </a:cubicBezTo>
                    <a:cubicBezTo>
                      <a:pt x="153650" y="136303"/>
                      <a:pt x="153745" y="0"/>
                      <a:pt x="6583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6" name="Freeform 47">
                <a:extLst>
                  <a:ext uri="{FF2B5EF4-FFF2-40B4-BE49-F238E27FC236}">
                    <a16:creationId xmlns:a16="http://schemas.microsoft.com/office/drawing/2014/main" id="{2AB612FC-D694-23B4-89CD-5D79C3F58A37}"/>
                  </a:ext>
                </a:extLst>
              </p:cNvPr>
              <p:cNvSpPr/>
              <p:nvPr/>
            </p:nvSpPr>
            <p:spPr>
              <a:xfrm>
                <a:off x="14288273" y="2174581"/>
                <a:ext cx="131730" cy="136302"/>
              </a:xfrm>
              <a:custGeom>
                <a:avLst/>
                <a:gdLst>
                  <a:gd name="connsiteX0" fmla="*/ 65901 w 131730"/>
                  <a:gd name="connsiteY0" fmla="*/ 136303 h 136302"/>
                  <a:gd name="connsiteX1" fmla="*/ 65901 w 131730"/>
                  <a:gd name="connsiteY1" fmla="*/ 0 h 136302"/>
                  <a:gd name="connsiteX2" fmla="*/ 65901 w 131730"/>
                  <a:gd name="connsiteY2" fmla="*/ 136303 h 136302"/>
                </a:gdLst>
                <a:ahLst/>
                <a:cxnLst>
                  <a:cxn ang="0">
                    <a:pos x="connsiteX0" y="connsiteY0"/>
                  </a:cxn>
                  <a:cxn ang="0">
                    <a:pos x="connsiteX1" y="connsiteY1"/>
                  </a:cxn>
                  <a:cxn ang="0">
                    <a:pos x="connsiteX2" y="connsiteY2"/>
                  </a:cxn>
                </a:cxnLst>
                <a:rect l="l" t="t" r="r" b="b"/>
                <a:pathLst>
                  <a:path w="131730" h="136302">
                    <a:moveTo>
                      <a:pt x="65901" y="136303"/>
                    </a:moveTo>
                    <a:cubicBezTo>
                      <a:pt x="153626" y="136303"/>
                      <a:pt x="153722" y="0"/>
                      <a:pt x="65901" y="0"/>
                    </a:cubicBezTo>
                    <a:cubicBezTo>
                      <a:pt x="-21919" y="0"/>
                      <a:pt x="-22015" y="136303"/>
                      <a:pt x="65901"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sp>
        <p:nvSpPr>
          <p:cNvPr id="27" name="TextBox 26">
            <a:extLst>
              <a:ext uri="{FF2B5EF4-FFF2-40B4-BE49-F238E27FC236}">
                <a16:creationId xmlns:a16="http://schemas.microsoft.com/office/drawing/2014/main" id="{3AE62CE4-D8FB-FA07-4636-A7A15552EBD7}"/>
              </a:ext>
            </a:extLst>
          </p:cNvPr>
          <p:cNvSpPr txBox="1"/>
          <p:nvPr/>
        </p:nvSpPr>
        <p:spPr>
          <a:xfrm>
            <a:off x="1575526" y="2539398"/>
            <a:ext cx="1431161"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ea typeface="+mn-ea"/>
                <a:cs typeface="Segoe UI" panose="020B0502040204020203" pitchFamily="34" charset="0"/>
              </a:rPr>
              <a:t>MANAGED </a:t>
            </a:r>
            <a:br>
              <a:rPr kumimoji="0" lang="en-US" sz="1800" b="1" i="0" u="none" strike="noStrike" kern="1200" cap="none" spc="0" normalizeH="0" baseline="0" noProof="0">
                <a:ln>
                  <a:noFill/>
                </a:ln>
                <a:solidFill>
                  <a:prstClr val="black">
                    <a:lumMod val="75000"/>
                    <a:lumOff val="25000"/>
                  </a:prstClr>
                </a:solidFill>
                <a:effectLst/>
                <a:uLnTx/>
                <a:uFillTx/>
                <a:ea typeface="+mn-ea"/>
                <a:cs typeface="Segoe UI" panose="020B0502040204020203" pitchFamily="34" charset="0"/>
              </a:rPr>
            </a:br>
            <a:r>
              <a:rPr kumimoji="0" lang="en-US" sz="1800" b="1" i="0" u="none" strike="noStrike" kern="1200" cap="none" spc="0" normalizeH="0" baseline="0" noProof="0">
                <a:ln>
                  <a:noFill/>
                </a:ln>
                <a:solidFill>
                  <a:prstClr val="black">
                    <a:lumMod val="75000"/>
                    <a:lumOff val="25000"/>
                  </a:prstClr>
                </a:solidFill>
                <a:effectLst/>
                <a:uLnTx/>
                <a:uFillTx/>
                <a:ea typeface="+mn-ea"/>
                <a:cs typeface="Segoe UI" panose="020B0502040204020203" pitchFamily="34" charset="0"/>
              </a:rPr>
              <a:t>SECURITY</a:t>
            </a:r>
          </a:p>
        </p:txBody>
      </p:sp>
      <p:sp>
        <p:nvSpPr>
          <p:cNvPr id="28" name="TextBox 27">
            <a:extLst>
              <a:ext uri="{FF2B5EF4-FFF2-40B4-BE49-F238E27FC236}">
                <a16:creationId xmlns:a16="http://schemas.microsoft.com/office/drawing/2014/main" id="{726409E6-98E4-04B1-6981-642D2EB8F767}"/>
              </a:ext>
            </a:extLst>
          </p:cNvPr>
          <p:cNvSpPr txBox="1"/>
          <p:nvPr/>
        </p:nvSpPr>
        <p:spPr>
          <a:xfrm>
            <a:off x="659715" y="3120756"/>
            <a:ext cx="3285036" cy="461665"/>
          </a:xfrm>
          <a:prstGeom prst="rect">
            <a:avLst/>
          </a:prstGeom>
          <a:noFill/>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prstClr val="black">
                    <a:lumMod val="75000"/>
                    <a:lumOff val="25000"/>
                  </a:prstClr>
                </a:solidFill>
                <a:effectLst/>
                <a:uLnTx/>
                <a:uFillTx/>
                <a:latin typeface="Segoe UI Semibold" panose="020B0502040204020203" pitchFamily="34" charset="0"/>
                <a:cs typeface="Segoe UI Semibold"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mn-lt"/>
                <a:ea typeface="+mn-ea"/>
                <a:cs typeface="Segoe UI Semibold" panose="020B0502040204020203" pitchFamily="34" charset="0"/>
              </a:rPr>
              <a:t>Advanced protection for an AI-driven world</a:t>
            </a:r>
          </a:p>
        </p:txBody>
      </p:sp>
      <p:graphicFrame>
        <p:nvGraphicFramePr>
          <p:cNvPr id="30" name="Table 29">
            <a:extLst>
              <a:ext uri="{FF2B5EF4-FFF2-40B4-BE49-F238E27FC236}">
                <a16:creationId xmlns:a16="http://schemas.microsoft.com/office/drawing/2014/main" id="{BB0C8620-FC8C-5906-FD94-F974C9E91634}"/>
              </a:ext>
            </a:extLst>
          </p:cNvPr>
          <p:cNvGraphicFramePr>
            <a:graphicFrameLocks noGrp="1"/>
          </p:cNvGraphicFramePr>
          <p:nvPr>
            <p:extLst>
              <p:ext uri="{D42A27DB-BD31-4B8C-83A1-F6EECF244321}">
                <p14:modId xmlns:p14="http://schemas.microsoft.com/office/powerpoint/2010/main" val="2061740528"/>
              </p:ext>
            </p:extLst>
          </p:nvPr>
        </p:nvGraphicFramePr>
        <p:xfrm>
          <a:off x="912074" y="3465183"/>
          <a:ext cx="2756263" cy="2286000"/>
        </p:xfrm>
        <a:graphic>
          <a:graphicData uri="http://schemas.openxmlformats.org/drawingml/2006/table">
            <a:tbl>
              <a:tblPr firstRow="1" bandRow="1">
                <a:tableStyleId>{5C22544A-7EE6-4342-B048-85BDC9FD1C3A}</a:tableStyleId>
              </a:tblPr>
              <a:tblGrid>
                <a:gridCol w="2756263">
                  <a:extLst>
                    <a:ext uri="{9D8B030D-6E8A-4147-A177-3AD203B41FA5}">
                      <a16:colId xmlns:a16="http://schemas.microsoft.com/office/drawing/2014/main" val="97731813"/>
                    </a:ext>
                  </a:extLst>
                </a:gridCol>
              </a:tblGrid>
              <a:tr h="370840">
                <a:tc>
                  <a:txBody>
                    <a:bodyPr/>
                    <a:lstStyle/>
                    <a:p>
                      <a:pPr algn="ctr"/>
                      <a:r>
                        <a:rPr lang="en-US" sz="1200" b="0" i="0">
                          <a:solidFill>
                            <a:schemeClr val="tx1">
                              <a:lumMod val="75000"/>
                              <a:lumOff val="25000"/>
                            </a:schemeClr>
                          </a:solidFill>
                          <a:latin typeface="Segoe UI" panose="020B0502040204020203" pitchFamily="34" charset="0"/>
                          <a:cs typeface="Segoe UI" panose="020B0502040204020203" pitchFamily="34" charset="0"/>
                        </a:rPr>
                        <a:t>Security posture management</a:t>
                      </a:r>
                    </a:p>
                  </a:txBody>
                  <a:tcPr marT="137160" marB="137160" anchor="ctr">
                    <a:lnL w="12700" cmpd="sng">
                      <a:noFill/>
                    </a:lnL>
                    <a:lnR w="12700" cmpd="sng">
                      <a:noFill/>
                    </a:lnR>
                    <a:lnT w="12700" cmpd="sng">
                      <a:noFill/>
                    </a:lnT>
                    <a:lnB w="19050" cap="flat" cmpd="sng" algn="ctr">
                      <a:solidFill>
                        <a:srgbClr val="347B9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7473342"/>
                  </a:ext>
                </a:extLst>
              </a:tr>
              <a:tr h="370840">
                <a:tc>
                  <a:txBody>
                    <a:bodyPr/>
                    <a:lstStyle/>
                    <a:p>
                      <a:pPr algn="ctr"/>
                      <a:r>
                        <a:rPr lang="en-US" sz="1200" b="0" i="0">
                          <a:solidFill>
                            <a:schemeClr val="tx1">
                              <a:lumMod val="75000"/>
                              <a:lumOff val="25000"/>
                            </a:schemeClr>
                          </a:solidFill>
                          <a:latin typeface="Segoe UI" panose="020B0502040204020203" pitchFamily="34" charset="0"/>
                          <a:cs typeface="Segoe UI" panose="020B0502040204020203" pitchFamily="34" charset="0"/>
                        </a:rPr>
                        <a:t>Threat protection</a:t>
                      </a:r>
                    </a:p>
                  </a:txBody>
                  <a:tcPr marT="137160" marB="137160" anchor="ctr">
                    <a:lnL w="12700" cmpd="sng">
                      <a:noFill/>
                    </a:lnL>
                    <a:lnR w="12700" cmpd="sng">
                      <a:noFill/>
                    </a:lnR>
                    <a:lnT w="19050" cap="flat" cmpd="sng" algn="ctr">
                      <a:solidFill>
                        <a:srgbClr val="347B9B"/>
                      </a:solidFill>
                      <a:prstDash val="solid"/>
                      <a:round/>
                      <a:headEnd type="none" w="med" len="med"/>
                      <a:tailEnd type="none" w="med" len="med"/>
                    </a:lnT>
                    <a:lnB w="19050" cap="flat" cmpd="sng" algn="ctr">
                      <a:solidFill>
                        <a:srgbClr val="347B9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9993044"/>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a:solidFill>
                            <a:schemeClr val="tx1">
                              <a:lumMod val="75000"/>
                              <a:lumOff val="25000"/>
                            </a:schemeClr>
                          </a:solidFill>
                          <a:latin typeface="Segoe UI" panose="020B0502040204020203" pitchFamily="34" charset="0"/>
                          <a:cs typeface="Segoe UI" panose="020B0502040204020203" pitchFamily="34" charset="0"/>
                        </a:rPr>
                        <a:t>Data security and privacy</a:t>
                      </a:r>
                    </a:p>
                  </a:txBody>
                  <a:tcPr marT="137160" marB="137160" anchor="ctr">
                    <a:lnL w="12700" cmpd="sng">
                      <a:noFill/>
                    </a:lnL>
                    <a:lnR w="12700" cmpd="sng">
                      <a:noFill/>
                    </a:lnR>
                    <a:lnT w="19050" cap="flat" cmpd="sng" algn="ctr">
                      <a:solidFill>
                        <a:srgbClr val="347B9B"/>
                      </a:solidFill>
                      <a:prstDash val="solid"/>
                      <a:round/>
                      <a:headEnd type="none" w="med" len="med"/>
                      <a:tailEnd type="none" w="med" len="med"/>
                    </a:lnT>
                    <a:lnB w="19050" cap="flat" cmpd="sng" algn="ctr">
                      <a:solidFill>
                        <a:srgbClr val="347B9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1206453"/>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a:solidFill>
                            <a:schemeClr val="tx1">
                              <a:lumMod val="75000"/>
                              <a:lumOff val="25000"/>
                            </a:schemeClr>
                          </a:solidFill>
                          <a:latin typeface="Segoe UI" panose="020B0502040204020203" pitchFamily="34" charset="0"/>
                          <a:cs typeface="Segoe UI" panose="020B0502040204020203" pitchFamily="34" charset="0"/>
                        </a:rPr>
                        <a:t>Identity and access management</a:t>
                      </a:r>
                    </a:p>
                  </a:txBody>
                  <a:tcPr marT="137160" marB="137160" anchor="ctr">
                    <a:lnL w="12700" cmpd="sng">
                      <a:noFill/>
                    </a:lnL>
                    <a:lnR w="12700" cmpd="sng">
                      <a:noFill/>
                    </a:lnR>
                    <a:lnT w="19050" cap="flat" cmpd="sng" algn="ctr">
                      <a:solidFill>
                        <a:srgbClr val="347B9B"/>
                      </a:solidFill>
                      <a:prstDash val="solid"/>
                      <a:round/>
                      <a:headEnd type="none" w="med" len="med"/>
                      <a:tailEnd type="none" w="med" len="med"/>
                    </a:lnT>
                    <a:lnB w="19050" cap="flat" cmpd="sng" algn="ctr">
                      <a:solidFill>
                        <a:srgbClr val="347B9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7810731"/>
                  </a:ext>
                </a:extLst>
              </a:tr>
              <a:tr h="370840">
                <a:tc>
                  <a:txBody>
                    <a:bodyPr/>
                    <a:lstStyle/>
                    <a:p>
                      <a:pPr algn="ctr"/>
                      <a:r>
                        <a:rPr lang="en-US" sz="1200" b="0" i="0">
                          <a:solidFill>
                            <a:schemeClr val="tx1">
                              <a:lumMod val="75000"/>
                              <a:lumOff val="25000"/>
                            </a:schemeClr>
                          </a:solidFill>
                          <a:latin typeface="Segoe UI" panose="020B0502040204020203" pitchFamily="34" charset="0"/>
                          <a:cs typeface="Segoe UI" panose="020B0502040204020203" pitchFamily="34" charset="0"/>
                        </a:rPr>
                        <a:t>Compliance</a:t>
                      </a:r>
                    </a:p>
                  </a:txBody>
                  <a:tcPr marT="137160" marB="137160" anchor="ctr">
                    <a:lnL w="12700" cmpd="sng">
                      <a:noFill/>
                    </a:lnL>
                    <a:lnR w="12700" cmpd="sng">
                      <a:noFill/>
                    </a:lnR>
                    <a:lnT w="19050" cap="flat" cmpd="sng" algn="ctr">
                      <a:solidFill>
                        <a:srgbClr val="347B9B"/>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0197069"/>
                  </a:ext>
                </a:extLst>
              </a:tr>
            </a:tbl>
          </a:graphicData>
        </a:graphic>
      </p:graphicFrame>
      <p:sp>
        <p:nvSpPr>
          <p:cNvPr id="34" name="TextBox 33">
            <a:extLst>
              <a:ext uri="{FF2B5EF4-FFF2-40B4-BE49-F238E27FC236}">
                <a16:creationId xmlns:a16="http://schemas.microsoft.com/office/drawing/2014/main" id="{392BD780-0251-64DA-3621-BA5BCFAE73C9}"/>
              </a:ext>
            </a:extLst>
          </p:cNvPr>
          <p:cNvSpPr txBox="1"/>
          <p:nvPr/>
        </p:nvSpPr>
        <p:spPr>
          <a:xfrm>
            <a:off x="1945852" y="2383236"/>
            <a:ext cx="68870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E2841"/>
                </a:solidFill>
                <a:effectLst/>
                <a:uLnTx/>
                <a:uFillTx/>
                <a:ea typeface="+mn-ea"/>
                <a:cs typeface="Segoe UI Semibold" panose="020B0502040204020203" pitchFamily="34" charset="0"/>
              </a:rPr>
              <a:t>Secure</a:t>
            </a:r>
          </a:p>
        </p:txBody>
      </p:sp>
      <p:sp>
        <p:nvSpPr>
          <p:cNvPr id="5" name="Rounded Rectangle 10">
            <a:extLst>
              <a:ext uri="{FF2B5EF4-FFF2-40B4-BE49-F238E27FC236}">
                <a16:creationId xmlns:a16="http://schemas.microsoft.com/office/drawing/2014/main" id="{3B5DE903-FCB3-640C-15E8-05F4EA146A76}"/>
              </a:ext>
            </a:extLst>
          </p:cNvPr>
          <p:cNvSpPr/>
          <p:nvPr/>
        </p:nvSpPr>
        <p:spPr>
          <a:xfrm>
            <a:off x="4392647" y="1936523"/>
            <a:ext cx="3285036" cy="4001700"/>
          </a:xfrm>
          <a:prstGeom prst="roundRect">
            <a:avLst>
              <a:gd name="adj" fmla="val 3240"/>
            </a:avLst>
          </a:prstGeom>
          <a:solidFill>
            <a:schemeClr val="bg1">
              <a:alpha val="90000"/>
            </a:schemeClr>
          </a:solidFill>
          <a:ln w="6350">
            <a:solidFill>
              <a:schemeClr val="bg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6" name="TextBox 5">
            <a:extLst>
              <a:ext uri="{FF2B5EF4-FFF2-40B4-BE49-F238E27FC236}">
                <a16:creationId xmlns:a16="http://schemas.microsoft.com/office/drawing/2014/main" id="{206EB619-80CC-B7BB-09BF-6354069FC86A}"/>
              </a:ext>
            </a:extLst>
          </p:cNvPr>
          <p:cNvSpPr txBox="1"/>
          <p:nvPr/>
        </p:nvSpPr>
        <p:spPr>
          <a:xfrm>
            <a:off x="5558641" y="1168185"/>
            <a:ext cx="982961"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accent2">
                    <a:lumMod val="75000"/>
                  </a:schemeClr>
                </a:solidFill>
                <a:effectLst/>
                <a:uLnTx/>
                <a:uFillTx/>
                <a:ea typeface="+mn-ea"/>
                <a:cs typeface="Segoe UI Semibold" panose="020B0502040204020203" pitchFamily="34" charset="0"/>
              </a:rPr>
              <a:t>IT / COE Lea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accent2">
                  <a:lumMod val="75000"/>
                </a:schemeClr>
              </a:solidFill>
              <a:effectLst/>
              <a:uLnTx/>
              <a:uFillTx/>
              <a:ea typeface="+mn-ea"/>
              <a:cs typeface="Segoe UI Semibold" panose="020B0502040204020203" pitchFamily="34" charset="0"/>
            </a:endParaRPr>
          </a:p>
        </p:txBody>
      </p:sp>
      <p:grpSp>
        <p:nvGrpSpPr>
          <p:cNvPr id="7" name="Group 6">
            <a:extLst>
              <a:ext uri="{FF2B5EF4-FFF2-40B4-BE49-F238E27FC236}">
                <a16:creationId xmlns:a16="http://schemas.microsoft.com/office/drawing/2014/main" id="{923AA9D6-7E4E-355F-02B2-F641981D55A7}"/>
              </a:ext>
            </a:extLst>
          </p:cNvPr>
          <p:cNvGrpSpPr/>
          <p:nvPr/>
        </p:nvGrpSpPr>
        <p:grpSpPr>
          <a:xfrm>
            <a:off x="5537681" y="1439167"/>
            <a:ext cx="996772" cy="996772"/>
            <a:chOff x="1603215" y="1684867"/>
            <a:chExt cx="1744133" cy="1744133"/>
          </a:xfrm>
        </p:grpSpPr>
        <p:sp>
          <p:nvSpPr>
            <p:cNvPr id="8" name="Oval 7">
              <a:extLst>
                <a:ext uri="{FF2B5EF4-FFF2-40B4-BE49-F238E27FC236}">
                  <a16:creationId xmlns:a16="http://schemas.microsoft.com/office/drawing/2014/main" id="{1FFBE578-2A37-6BB7-66D5-113D447AE34A}"/>
                </a:ext>
              </a:extLst>
            </p:cNvPr>
            <p:cNvSpPr/>
            <p:nvPr/>
          </p:nvSpPr>
          <p:spPr>
            <a:xfrm>
              <a:off x="1603215" y="1684867"/>
              <a:ext cx="1744133" cy="1744133"/>
            </a:xfrm>
            <a:prstGeom prst="ellipse">
              <a:avLst/>
            </a:prstGeom>
            <a:solidFill>
              <a:srgbClr val="347B9B"/>
            </a:solidFill>
            <a:ln w="12700">
              <a:solidFill>
                <a:schemeClr val="bg1"/>
              </a:solidFill>
            </a:ln>
            <a:effectLst>
              <a:outerShdw blurRad="190500" dist="38100" dir="5400000" algn="t" rotWithShape="0">
                <a:schemeClr val="accent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9" name="Group 8">
              <a:extLst>
                <a:ext uri="{FF2B5EF4-FFF2-40B4-BE49-F238E27FC236}">
                  <a16:creationId xmlns:a16="http://schemas.microsoft.com/office/drawing/2014/main" id="{FBB37447-BCC7-426E-888B-BA39E7B7C26A}"/>
                </a:ext>
              </a:extLst>
            </p:cNvPr>
            <p:cNvGrpSpPr/>
            <p:nvPr/>
          </p:nvGrpSpPr>
          <p:grpSpPr>
            <a:xfrm>
              <a:off x="2033601" y="1986353"/>
              <a:ext cx="907308" cy="1116173"/>
              <a:chOff x="11499470" y="116921"/>
              <a:chExt cx="3755719" cy="4620285"/>
            </a:xfrm>
            <a:solidFill>
              <a:schemeClr val="bg1"/>
            </a:solidFill>
          </p:grpSpPr>
          <p:sp>
            <p:nvSpPr>
              <p:cNvPr id="10" name="Freeform 16">
                <a:extLst>
                  <a:ext uri="{FF2B5EF4-FFF2-40B4-BE49-F238E27FC236}">
                    <a16:creationId xmlns:a16="http://schemas.microsoft.com/office/drawing/2014/main" id="{F4A0165A-FC69-2373-72F3-A90D5D1FB15B}"/>
                  </a:ext>
                </a:extLst>
              </p:cNvPr>
              <p:cNvSpPr/>
              <p:nvPr/>
            </p:nvSpPr>
            <p:spPr>
              <a:xfrm>
                <a:off x="13066448" y="1898629"/>
                <a:ext cx="131766" cy="136302"/>
              </a:xfrm>
              <a:custGeom>
                <a:avLst/>
                <a:gdLst>
                  <a:gd name="connsiteX0" fmla="*/ 65901 w 131766"/>
                  <a:gd name="connsiteY0" fmla="*/ 136303 h 136302"/>
                  <a:gd name="connsiteX1" fmla="*/ 65901 w 131766"/>
                  <a:gd name="connsiteY1" fmla="*/ 0 h 136302"/>
                  <a:gd name="connsiteX2" fmla="*/ 65901 w 131766"/>
                  <a:gd name="connsiteY2" fmla="*/ 136303 h 136302"/>
                </a:gdLst>
                <a:ahLst/>
                <a:cxnLst>
                  <a:cxn ang="0">
                    <a:pos x="connsiteX0" y="connsiteY0"/>
                  </a:cxn>
                  <a:cxn ang="0">
                    <a:pos x="connsiteX1" y="connsiteY1"/>
                  </a:cxn>
                  <a:cxn ang="0">
                    <a:pos x="connsiteX2" y="connsiteY2"/>
                  </a:cxn>
                </a:cxnLst>
                <a:rect l="l" t="t" r="r" b="b"/>
                <a:pathLst>
                  <a:path w="131766" h="136302">
                    <a:moveTo>
                      <a:pt x="65901" y="136303"/>
                    </a:moveTo>
                    <a:cubicBezTo>
                      <a:pt x="153626" y="136303"/>
                      <a:pt x="153817" y="0"/>
                      <a:pt x="65901" y="0"/>
                    </a:cubicBezTo>
                    <a:cubicBezTo>
                      <a:pt x="-22015" y="0"/>
                      <a:pt x="-21919" y="136303"/>
                      <a:pt x="65901"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1" name="Freeform 17">
                <a:extLst>
                  <a:ext uri="{FF2B5EF4-FFF2-40B4-BE49-F238E27FC236}">
                    <a16:creationId xmlns:a16="http://schemas.microsoft.com/office/drawing/2014/main" id="{4DDDC278-CA04-A8B0-EBD3-8DE5447BD1BC}"/>
                  </a:ext>
                </a:extLst>
              </p:cNvPr>
              <p:cNvSpPr/>
              <p:nvPr/>
            </p:nvSpPr>
            <p:spPr>
              <a:xfrm>
                <a:off x="13581560" y="1898629"/>
                <a:ext cx="131766" cy="136302"/>
              </a:xfrm>
              <a:custGeom>
                <a:avLst/>
                <a:gdLst>
                  <a:gd name="connsiteX0" fmla="*/ 65901 w 131766"/>
                  <a:gd name="connsiteY0" fmla="*/ 136303 h 136302"/>
                  <a:gd name="connsiteX1" fmla="*/ 65901 w 131766"/>
                  <a:gd name="connsiteY1" fmla="*/ 0 h 136302"/>
                  <a:gd name="connsiteX2" fmla="*/ 65901 w 131766"/>
                  <a:gd name="connsiteY2" fmla="*/ 136303 h 136302"/>
                </a:gdLst>
                <a:ahLst/>
                <a:cxnLst>
                  <a:cxn ang="0">
                    <a:pos x="connsiteX0" y="connsiteY0"/>
                  </a:cxn>
                  <a:cxn ang="0">
                    <a:pos x="connsiteX1" y="connsiteY1"/>
                  </a:cxn>
                  <a:cxn ang="0">
                    <a:pos x="connsiteX2" y="connsiteY2"/>
                  </a:cxn>
                </a:cxnLst>
                <a:rect l="l" t="t" r="r" b="b"/>
                <a:pathLst>
                  <a:path w="131766" h="136302">
                    <a:moveTo>
                      <a:pt x="65901" y="136303"/>
                    </a:moveTo>
                    <a:cubicBezTo>
                      <a:pt x="153626" y="136303"/>
                      <a:pt x="153817" y="0"/>
                      <a:pt x="65901" y="0"/>
                    </a:cubicBezTo>
                    <a:cubicBezTo>
                      <a:pt x="-22015" y="0"/>
                      <a:pt x="-21919" y="136303"/>
                      <a:pt x="65901"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2" name="Freeform 18">
                <a:extLst>
                  <a:ext uri="{FF2B5EF4-FFF2-40B4-BE49-F238E27FC236}">
                    <a16:creationId xmlns:a16="http://schemas.microsoft.com/office/drawing/2014/main" id="{7161B704-A639-E19E-3D94-AEF0F9E17DBA}"/>
                  </a:ext>
                </a:extLst>
              </p:cNvPr>
              <p:cNvSpPr/>
              <p:nvPr/>
            </p:nvSpPr>
            <p:spPr>
              <a:xfrm>
                <a:off x="13327886" y="3919834"/>
                <a:ext cx="131695" cy="136302"/>
              </a:xfrm>
              <a:custGeom>
                <a:avLst/>
                <a:gdLst>
                  <a:gd name="connsiteX0" fmla="*/ 65830 w 131695"/>
                  <a:gd name="connsiteY0" fmla="*/ 0 h 136302"/>
                  <a:gd name="connsiteX1" fmla="*/ 65830 w 131695"/>
                  <a:gd name="connsiteY1" fmla="*/ 136303 h 136302"/>
                  <a:gd name="connsiteX2" fmla="*/ 65830 w 131695"/>
                  <a:gd name="connsiteY2" fmla="*/ 0 h 136302"/>
                </a:gdLst>
                <a:ahLst/>
                <a:cxnLst>
                  <a:cxn ang="0">
                    <a:pos x="connsiteX0" y="connsiteY0"/>
                  </a:cxn>
                  <a:cxn ang="0">
                    <a:pos x="connsiteX1" y="connsiteY1"/>
                  </a:cxn>
                  <a:cxn ang="0">
                    <a:pos x="connsiteX2" y="connsiteY2"/>
                  </a:cxn>
                </a:cxnLst>
                <a:rect l="l" t="t" r="r" b="b"/>
                <a:pathLst>
                  <a:path w="131695" h="136302">
                    <a:moveTo>
                      <a:pt x="65830" y="0"/>
                    </a:moveTo>
                    <a:cubicBezTo>
                      <a:pt x="-21896" y="0"/>
                      <a:pt x="-21991" y="136303"/>
                      <a:pt x="65830" y="136303"/>
                    </a:cubicBezTo>
                    <a:cubicBezTo>
                      <a:pt x="153650" y="136303"/>
                      <a:pt x="153650" y="0"/>
                      <a:pt x="6583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3" name="Freeform 19">
                <a:extLst>
                  <a:ext uri="{FF2B5EF4-FFF2-40B4-BE49-F238E27FC236}">
                    <a16:creationId xmlns:a16="http://schemas.microsoft.com/office/drawing/2014/main" id="{7379DF22-FCEA-697C-5CBA-451C69E44AB4}"/>
                  </a:ext>
                </a:extLst>
              </p:cNvPr>
              <p:cNvSpPr/>
              <p:nvPr/>
            </p:nvSpPr>
            <p:spPr>
              <a:xfrm>
                <a:off x="13327886" y="4289880"/>
                <a:ext cx="131695" cy="136302"/>
              </a:xfrm>
              <a:custGeom>
                <a:avLst/>
                <a:gdLst>
                  <a:gd name="connsiteX0" fmla="*/ 65830 w 131695"/>
                  <a:gd name="connsiteY0" fmla="*/ 0 h 136302"/>
                  <a:gd name="connsiteX1" fmla="*/ 65830 w 131695"/>
                  <a:gd name="connsiteY1" fmla="*/ 136303 h 136302"/>
                  <a:gd name="connsiteX2" fmla="*/ 65830 w 131695"/>
                  <a:gd name="connsiteY2" fmla="*/ 0 h 136302"/>
                </a:gdLst>
                <a:ahLst/>
                <a:cxnLst>
                  <a:cxn ang="0">
                    <a:pos x="connsiteX0" y="connsiteY0"/>
                  </a:cxn>
                  <a:cxn ang="0">
                    <a:pos x="connsiteX1" y="connsiteY1"/>
                  </a:cxn>
                  <a:cxn ang="0">
                    <a:pos x="connsiteX2" y="connsiteY2"/>
                  </a:cxn>
                </a:cxnLst>
                <a:rect l="l" t="t" r="r" b="b"/>
                <a:pathLst>
                  <a:path w="131695" h="136302">
                    <a:moveTo>
                      <a:pt x="65830" y="0"/>
                    </a:moveTo>
                    <a:cubicBezTo>
                      <a:pt x="-21896" y="0"/>
                      <a:pt x="-21991" y="136303"/>
                      <a:pt x="65830" y="136303"/>
                    </a:cubicBezTo>
                    <a:cubicBezTo>
                      <a:pt x="153650" y="136303"/>
                      <a:pt x="153650" y="0"/>
                      <a:pt x="6583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4" name="Freeform 20">
                <a:extLst>
                  <a:ext uri="{FF2B5EF4-FFF2-40B4-BE49-F238E27FC236}">
                    <a16:creationId xmlns:a16="http://schemas.microsoft.com/office/drawing/2014/main" id="{64C90565-C390-F077-C333-0EE9A3469816}"/>
                  </a:ext>
                </a:extLst>
              </p:cNvPr>
              <p:cNvSpPr/>
              <p:nvPr/>
            </p:nvSpPr>
            <p:spPr>
              <a:xfrm>
                <a:off x="11499470" y="116921"/>
                <a:ext cx="3755719" cy="4620285"/>
              </a:xfrm>
              <a:custGeom>
                <a:avLst/>
                <a:gdLst>
                  <a:gd name="connsiteX0" fmla="*/ 3397481 w 3755719"/>
                  <a:gd name="connsiteY0" fmla="*/ 1119149 h 4620285"/>
                  <a:gd name="connsiteX1" fmla="*/ 3475967 w 3755719"/>
                  <a:gd name="connsiteY1" fmla="*/ 857973 h 4620285"/>
                  <a:gd name="connsiteX2" fmla="*/ 3003927 w 3755719"/>
                  <a:gd name="connsiteY2" fmla="*/ 385516 h 4620285"/>
                  <a:gd name="connsiteX3" fmla="*/ 2763687 w 3755719"/>
                  <a:gd name="connsiteY3" fmla="*/ 451065 h 4620285"/>
                  <a:gd name="connsiteX4" fmla="*/ 1871204 w 3755719"/>
                  <a:gd name="connsiteY4" fmla="*/ 44048 h 4620285"/>
                  <a:gd name="connsiteX5" fmla="*/ 1547345 w 3755719"/>
                  <a:gd name="connsiteY5" fmla="*/ 293712 h 4620285"/>
                  <a:gd name="connsiteX6" fmla="*/ 1144913 w 3755719"/>
                  <a:gd name="connsiteY6" fmla="*/ 153885 h 4620285"/>
                  <a:gd name="connsiteX7" fmla="*/ 496166 w 3755719"/>
                  <a:gd name="connsiteY7" fmla="*/ 802633 h 4620285"/>
                  <a:gd name="connsiteX8" fmla="*/ 503309 w 3755719"/>
                  <a:gd name="connsiteY8" fmla="*/ 894359 h 4620285"/>
                  <a:gd name="connsiteX9" fmla="*/ 6022 w 3755719"/>
                  <a:gd name="connsiteY9" fmla="*/ 1558280 h 4620285"/>
                  <a:gd name="connsiteX10" fmla="*/ 448350 w 3755719"/>
                  <a:gd name="connsiteY10" fmla="*/ 2044979 h 4620285"/>
                  <a:gd name="connsiteX11" fmla="*/ 444540 w 3755719"/>
                  <a:gd name="connsiteY11" fmla="*/ 2110225 h 4620285"/>
                  <a:gd name="connsiteX12" fmla="*/ 959424 w 3755719"/>
                  <a:gd name="connsiteY12" fmla="*/ 2624042 h 4620285"/>
                  <a:gd name="connsiteX13" fmla="*/ 1320269 w 3755719"/>
                  <a:gd name="connsiteY13" fmla="*/ 2475699 h 4620285"/>
                  <a:gd name="connsiteX14" fmla="*/ 1654406 w 3755719"/>
                  <a:gd name="connsiteY14" fmla="*/ 2637624 h 4620285"/>
                  <a:gd name="connsiteX15" fmla="*/ 1654406 w 3755719"/>
                  <a:gd name="connsiteY15" fmla="*/ 2671534 h 4620285"/>
                  <a:gd name="connsiteX16" fmla="*/ 1446284 w 3755719"/>
                  <a:gd name="connsiteY16" fmla="*/ 2879655 h 4620285"/>
                  <a:gd name="connsiteX17" fmla="*/ 1031471 w 3755719"/>
                  <a:gd name="connsiteY17" fmla="*/ 2879655 h 4620285"/>
                  <a:gd name="connsiteX18" fmla="*/ 411679 w 3755719"/>
                  <a:gd name="connsiteY18" fmla="*/ 3499446 h 4620285"/>
                  <a:gd name="connsiteX19" fmla="*/ 411679 w 3755719"/>
                  <a:gd name="connsiteY19" fmla="*/ 4569295 h 4620285"/>
                  <a:gd name="connsiteX20" fmla="*/ 474658 w 3755719"/>
                  <a:gd name="connsiteY20" fmla="*/ 4619948 h 4620285"/>
                  <a:gd name="connsiteX21" fmla="*/ 525312 w 3755719"/>
                  <a:gd name="connsiteY21" fmla="*/ 4569295 h 4620285"/>
                  <a:gd name="connsiteX22" fmla="*/ 525312 w 3755719"/>
                  <a:gd name="connsiteY22" fmla="*/ 3499351 h 4620285"/>
                  <a:gd name="connsiteX23" fmla="*/ 1031471 w 3755719"/>
                  <a:gd name="connsiteY23" fmla="*/ 2993097 h 4620285"/>
                  <a:gd name="connsiteX24" fmla="*/ 1375037 w 3755719"/>
                  <a:gd name="connsiteY24" fmla="*/ 2993097 h 4620285"/>
                  <a:gd name="connsiteX25" fmla="*/ 1364084 w 3755719"/>
                  <a:gd name="connsiteY25" fmla="*/ 3387242 h 4620285"/>
                  <a:gd name="connsiteX26" fmla="*/ 1384658 w 3755719"/>
                  <a:gd name="connsiteY26" fmla="*/ 3422484 h 4620285"/>
                  <a:gd name="connsiteX27" fmla="*/ 1866146 w 3755719"/>
                  <a:gd name="connsiteY27" fmla="*/ 3572694 h 4620285"/>
                  <a:gd name="connsiteX28" fmla="*/ 1894721 w 3755719"/>
                  <a:gd name="connsiteY28" fmla="*/ 3559549 h 4620285"/>
                  <a:gd name="connsiteX29" fmla="*/ 1922820 w 3755719"/>
                  <a:gd name="connsiteY29" fmla="*/ 3572694 h 4620285"/>
                  <a:gd name="connsiteX30" fmla="*/ 2404404 w 3755719"/>
                  <a:gd name="connsiteY30" fmla="*/ 3422484 h 4620285"/>
                  <a:gd name="connsiteX31" fmla="*/ 2424883 w 3755719"/>
                  <a:gd name="connsiteY31" fmla="*/ 3387242 h 4620285"/>
                  <a:gd name="connsiteX32" fmla="*/ 2462316 w 3755719"/>
                  <a:gd name="connsiteY32" fmla="*/ 3099968 h 4620285"/>
                  <a:gd name="connsiteX33" fmla="*/ 2413929 w 3755719"/>
                  <a:gd name="connsiteY33" fmla="*/ 2993097 h 4620285"/>
                  <a:gd name="connsiteX34" fmla="*/ 2757591 w 3755719"/>
                  <a:gd name="connsiteY34" fmla="*/ 2993097 h 4620285"/>
                  <a:gd name="connsiteX35" fmla="*/ 3263654 w 3755719"/>
                  <a:gd name="connsiteY35" fmla="*/ 3499351 h 4620285"/>
                  <a:gd name="connsiteX36" fmla="*/ 3263654 w 3755719"/>
                  <a:gd name="connsiteY36" fmla="*/ 4569295 h 4620285"/>
                  <a:gd name="connsiteX37" fmla="*/ 3326634 w 3755719"/>
                  <a:gd name="connsiteY37" fmla="*/ 4619948 h 4620285"/>
                  <a:gd name="connsiteX38" fmla="*/ 3377288 w 3755719"/>
                  <a:gd name="connsiteY38" fmla="*/ 4569295 h 4620285"/>
                  <a:gd name="connsiteX39" fmla="*/ 3377288 w 3755719"/>
                  <a:gd name="connsiteY39" fmla="*/ 3499351 h 4620285"/>
                  <a:gd name="connsiteX40" fmla="*/ 2757591 w 3755719"/>
                  <a:gd name="connsiteY40" fmla="*/ 2879559 h 4620285"/>
                  <a:gd name="connsiteX41" fmla="*/ 2342206 w 3755719"/>
                  <a:gd name="connsiteY41" fmla="*/ 2879559 h 4620285"/>
                  <a:gd name="connsiteX42" fmla="*/ 2274959 w 3755719"/>
                  <a:gd name="connsiteY42" fmla="*/ 2868320 h 4620285"/>
                  <a:gd name="connsiteX43" fmla="*/ 2268292 w 3755719"/>
                  <a:gd name="connsiteY43" fmla="*/ 2865939 h 4620285"/>
                  <a:gd name="connsiteX44" fmla="*/ 2134180 w 3755719"/>
                  <a:gd name="connsiteY44" fmla="*/ 2671438 h 4620285"/>
                  <a:gd name="connsiteX45" fmla="*/ 2134180 w 3755719"/>
                  <a:gd name="connsiteY45" fmla="*/ 2637529 h 4620285"/>
                  <a:gd name="connsiteX46" fmla="*/ 2476604 w 3755719"/>
                  <a:gd name="connsiteY46" fmla="*/ 2469508 h 4620285"/>
                  <a:gd name="connsiteX47" fmla="*/ 3314061 w 3755719"/>
                  <a:gd name="connsiteY47" fmla="*/ 2470832 h 4620285"/>
                  <a:gd name="connsiteX48" fmla="*/ 3488159 w 3755719"/>
                  <a:gd name="connsiteY48" fmla="*/ 2052694 h 4620285"/>
                  <a:gd name="connsiteX49" fmla="*/ 3755716 w 3755719"/>
                  <a:gd name="connsiteY49" fmla="*/ 1602828 h 4620285"/>
                  <a:gd name="connsiteX50" fmla="*/ 3397481 w 3755719"/>
                  <a:gd name="connsiteY50" fmla="*/ 1119149 h 4620285"/>
                  <a:gd name="connsiteX51" fmla="*/ 1482956 w 3755719"/>
                  <a:gd name="connsiteY51" fmla="*/ 3365334 h 4620285"/>
                  <a:gd name="connsiteX52" fmla="*/ 1462477 w 3755719"/>
                  <a:gd name="connsiteY52" fmla="*/ 3330092 h 4620285"/>
                  <a:gd name="connsiteX53" fmla="*/ 1519151 w 3755719"/>
                  <a:gd name="connsiteY53" fmla="*/ 3000241 h 4620285"/>
                  <a:gd name="connsiteX54" fmla="*/ 1812425 w 3755719"/>
                  <a:gd name="connsiteY54" fmla="*/ 3472491 h 4620285"/>
                  <a:gd name="connsiteX55" fmla="*/ 1482765 w 3755719"/>
                  <a:gd name="connsiteY55" fmla="*/ 3365334 h 4620285"/>
                  <a:gd name="connsiteX56" fmla="*/ 2269625 w 3755719"/>
                  <a:gd name="connsiteY56" fmla="*/ 3000336 h 4620285"/>
                  <a:gd name="connsiteX57" fmla="*/ 2326775 w 3755719"/>
                  <a:gd name="connsiteY57" fmla="*/ 3330092 h 4620285"/>
                  <a:gd name="connsiteX58" fmla="*/ 2306201 w 3755719"/>
                  <a:gd name="connsiteY58" fmla="*/ 3365239 h 4620285"/>
                  <a:gd name="connsiteX59" fmla="*/ 1976732 w 3755719"/>
                  <a:gd name="connsiteY59" fmla="*/ 3472491 h 4620285"/>
                  <a:gd name="connsiteX60" fmla="*/ 2171232 w 3755719"/>
                  <a:gd name="connsiteY60" fmla="*/ 2943186 h 4620285"/>
                  <a:gd name="connsiteX61" fmla="*/ 1894245 w 3755719"/>
                  <a:gd name="connsiteY61" fmla="*/ 3389337 h 4620285"/>
                  <a:gd name="connsiteX62" fmla="*/ 1617449 w 3755719"/>
                  <a:gd name="connsiteY62" fmla="*/ 2943567 h 4620285"/>
                  <a:gd name="connsiteX63" fmla="*/ 1767944 w 3755719"/>
                  <a:gd name="connsiteY63" fmla="*/ 2671438 h 4620285"/>
                  <a:gd name="connsiteX64" fmla="*/ 1767944 w 3755719"/>
                  <a:gd name="connsiteY64" fmla="*/ 2660199 h 4620285"/>
                  <a:gd name="connsiteX65" fmla="*/ 2020547 w 3755719"/>
                  <a:gd name="connsiteY65" fmla="*/ 2660199 h 4620285"/>
                  <a:gd name="connsiteX66" fmla="*/ 2020547 w 3755719"/>
                  <a:gd name="connsiteY66" fmla="*/ 2671438 h 4620285"/>
                  <a:gd name="connsiteX67" fmla="*/ 2171042 w 3755719"/>
                  <a:gd name="connsiteY67" fmla="*/ 2943567 h 4620285"/>
                  <a:gd name="connsiteX68" fmla="*/ 2451934 w 3755719"/>
                  <a:gd name="connsiteY68" fmla="*/ 2344731 h 4620285"/>
                  <a:gd name="connsiteX69" fmla="*/ 2066171 w 3755719"/>
                  <a:gd name="connsiteY69" fmla="*/ 2536469 h 4620285"/>
                  <a:gd name="connsiteX70" fmla="*/ 2066171 w 3755719"/>
                  <a:gd name="connsiteY70" fmla="*/ 2536469 h 4620285"/>
                  <a:gd name="connsiteX71" fmla="*/ 1723271 w 3755719"/>
                  <a:gd name="connsiteY71" fmla="*/ 2536469 h 4620285"/>
                  <a:gd name="connsiteX72" fmla="*/ 1723271 w 3755719"/>
                  <a:gd name="connsiteY72" fmla="*/ 2536469 h 4620285"/>
                  <a:gd name="connsiteX73" fmla="*/ 1337509 w 3755719"/>
                  <a:gd name="connsiteY73" fmla="*/ 2344731 h 4620285"/>
                  <a:gd name="connsiteX74" fmla="*/ 1139770 w 3755719"/>
                  <a:gd name="connsiteY74" fmla="*/ 2040693 h 4620285"/>
                  <a:gd name="connsiteX75" fmla="*/ 1137389 w 3755719"/>
                  <a:gd name="connsiteY75" fmla="*/ 2032025 h 4620285"/>
                  <a:gd name="connsiteX76" fmla="*/ 1116053 w 3755719"/>
                  <a:gd name="connsiteY76" fmla="*/ 1867242 h 4620285"/>
                  <a:gd name="connsiteX77" fmla="*/ 1116053 w 3755719"/>
                  <a:gd name="connsiteY77" fmla="*/ 1557870 h 4620285"/>
                  <a:gd name="connsiteX78" fmla="*/ 1475526 w 3755719"/>
                  <a:gd name="connsiteY78" fmla="*/ 1502530 h 4620285"/>
                  <a:gd name="connsiteX79" fmla="*/ 1848296 w 3755719"/>
                  <a:gd name="connsiteY79" fmla="*/ 1548193 h 4620285"/>
                  <a:gd name="connsiteX80" fmla="*/ 1893959 w 3755719"/>
                  <a:gd name="connsiteY80" fmla="*/ 1502530 h 4620285"/>
                  <a:gd name="connsiteX81" fmla="*/ 2266730 w 3755719"/>
                  <a:gd name="connsiteY81" fmla="*/ 1548193 h 4620285"/>
                  <a:gd name="connsiteX82" fmla="*/ 2312393 w 3755719"/>
                  <a:gd name="connsiteY82" fmla="*/ 1502530 h 4620285"/>
                  <a:gd name="connsiteX83" fmla="*/ 2674343 w 3755719"/>
                  <a:gd name="connsiteY83" fmla="*/ 1556346 h 4620285"/>
                  <a:gd name="connsiteX84" fmla="*/ 2674343 w 3755719"/>
                  <a:gd name="connsiteY84" fmla="*/ 1867623 h 4620285"/>
                  <a:gd name="connsiteX85" fmla="*/ 2652911 w 3755719"/>
                  <a:gd name="connsiteY85" fmla="*/ 2032406 h 4620285"/>
                  <a:gd name="connsiteX86" fmla="*/ 2650625 w 3755719"/>
                  <a:gd name="connsiteY86" fmla="*/ 2041074 h 4620285"/>
                  <a:gd name="connsiteX87" fmla="*/ 2451743 w 3755719"/>
                  <a:gd name="connsiteY87" fmla="*/ 2345112 h 4620285"/>
                  <a:gd name="connsiteX88" fmla="*/ 3407672 w 3755719"/>
                  <a:gd name="connsiteY88" fmla="*/ 1965445 h 4620285"/>
                  <a:gd name="connsiteX89" fmla="*/ 3406339 w 3755719"/>
                  <a:gd name="connsiteY89" fmla="*/ 1966112 h 4620285"/>
                  <a:gd name="connsiteX90" fmla="*/ 3403862 w 3755719"/>
                  <a:gd name="connsiteY90" fmla="*/ 1967350 h 4620285"/>
                  <a:gd name="connsiteX91" fmla="*/ 3401291 w 3755719"/>
                  <a:gd name="connsiteY91" fmla="*/ 1968779 h 4620285"/>
                  <a:gd name="connsiteX92" fmla="*/ 3399291 w 3755719"/>
                  <a:gd name="connsiteY92" fmla="*/ 1970112 h 4620285"/>
                  <a:gd name="connsiteX93" fmla="*/ 3396528 w 3755719"/>
                  <a:gd name="connsiteY93" fmla="*/ 1972017 h 4620285"/>
                  <a:gd name="connsiteX94" fmla="*/ 3395004 w 3755719"/>
                  <a:gd name="connsiteY94" fmla="*/ 1973160 h 4620285"/>
                  <a:gd name="connsiteX95" fmla="*/ 3392242 w 3755719"/>
                  <a:gd name="connsiteY95" fmla="*/ 1975542 h 4620285"/>
                  <a:gd name="connsiteX96" fmla="*/ 3391004 w 3755719"/>
                  <a:gd name="connsiteY96" fmla="*/ 1976780 h 4620285"/>
                  <a:gd name="connsiteX97" fmla="*/ 3388337 w 3755719"/>
                  <a:gd name="connsiteY97" fmla="*/ 1979447 h 4620285"/>
                  <a:gd name="connsiteX98" fmla="*/ 3387289 w 3755719"/>
                  <a:gd name="connsiteY98" fmla="*/ 1980780 h 4620285"/>
                  <a:gd name="connsiteX99" fmla="*/ 3384908 w 3755719"/>
                  <a:gd name="connsiteY99" fmla="*/ 1983638 h 4620285"/>
                  <a:gd name="connsiteX100" fmla="*/ 3383860 w 3755719"/>
                  <a:gd name="connsiteY100" fmla="*/ 1985257 h 4620285"/>
                  <a:gd name="connsiteX101" fmla="*/ 3381955 w 3755719"/>
                  <a:gd name="connsiteY101" fmla="*/ 1988115 h 4620285"/>
                  <a:gd name="connsiteX102" fmla="*/ 3380812 w 3755719"/>
                  <a:gd name="connsiteY102" fmla="*/ 1990115 h 4620285"/>
                  <a:gd name="connsiteX103" fmla="*/ 3379478 w 3755719"/>
                  <a:gd name="connsiteY103" fmla="*/ 1992782 h 4620285"/>
                  <a:gd name="connsiteX104" fmla="*/ 3378335 w 3755719"/>
                  <a:gd name="connsiteY104" fmla="*/ 1995258 h 4620285"/>
                  <a:gd name="connsiteX105" fmla="*/ 3377288 w 3755719"/>
                  <a:gd name="connsiteY105" fmla="*/ 1997735 h 4620285"/>
                  <a:gd name="connsiteX106" fmla="*/ 3376430 w 3755719"/>
                  <a:gd name="connsiteY106" fmla="*/ 2000402 h 4620285"/>
                  <a:gd name="connsiteX107" fmla="*/ 3375668 w 3755719"/>
                  <a:gd name="connsiteY107" fmla="*/ 2002974 h 4620285"/>
                  <a:gd name="connsiteX108" fmla="*/ 3375097 w 3755719"/>
                  <a:gd name="connsiteY108" fmla="*/ 2005641 h 4620285"/>
                  <a:gd name="connsiteX109" fmla="*/ 3374525 w 3755719"/>
                  <a:gd name="connsiteY109" fmla="*/ 2008498 h 4620285"/>
                  <a:gd name="connsiteX110" fmla="*/ 3374525 w 3755719"/>
                  <a:gd name="connsiteY110" fmla="*/ 2010879 h 4620285"/>
                  <a:gd name="connsiteX111" fmla="*/ 3374525 w 3755719"/>
                  <a:gd name="connsiteY111" fmla="*/ 2014308 h 4620285"/>
                  <a:gd name="connsiteX112" fmla="*/ 3374525 w 3755719"/>
                  <a:gd name="connsiteY112" fmla="*/ 2016213 h 4620285"/>
                  <a:gd name="connsiteX113" fmla="*/ 3374525 w 3755719"/>
                  <a:gd name="connsiteY113" fmla="*/ 2020214 h 4620285"/>
                  <a:gd name="connsiteX114" fmla="*/ 3374525 w 3755719"/>
                  <a:gd name="connsiteY114" fmla="*/ 2020976 h 4620285"/>
                  <a:gd name="connsiteX115" fmla="*/ 3375383 w 3755719"/>
                  <a:gd name="connsiteY115" fmla="*/ 2051075 h 4620285"/>
                  <a:gd name="connsiteX116" fmla="*/ 2896618 w 3755719"/>
                  <a:gd name="connsiteY116" fmla="*/ 2529382 h 4620285"/>
                  <a:gd name="connsiteX117" fmla="*/ 2565758 w 3755719"/>
                  <a:gd name="connsiteY117" fmla="*/ 2396356 h 4620285"/>
                  <a:gd name="connsiteX118" fmla="*/ 2748828 w 3755719"/>
                  <a:gd name="connsiteY118" fmla="*/ 2107844 h 4620285"/>
                  <a:gd name="connsiteX119" fmla="*/ 2848460 w 3755719"/>
                  <a:gd name="connsiteY119" fmla="*/ 2107844 h 4620285"/>
                  <a:gd name="connsiteX120" fmla="*/ 3075078 w 3755719"/>
                  <a:gd name="connsiteY120" fmla="*/ 1871833 h 4620285"/>
                  <a:gd name="connsiteX121" fmla="*/ 2848460 w 3755719"/>
                  <a:gd name="connsiteY121" fmla="*/ 1645215 h 4620285"/>
                  <a:gd name="connsiteX122" fmla="*/ 2787976 w 3755719"/>
                  <a:gd name="connsiteY122" fmla="*/ 1645215 h 4620285"/>
                  <a:gd name="connsiteX123" fmla="*/ 2787976 w 3755719"/>
                  <a:gd name="connsiteY123" fmla="*/ 1338510 h 4620285"/>
                  <a:gd name="connsiteX124" fmla="*/ 2737798 w 3755719"/>
                  <a:gd name="connsiteY124" fmla="*/ 1275149 h 4620285"/>
                  <a:gd name="connsiteX125" fmla="*/ 2674438 w 3755719"/>
                  <a:gd name="connsiteY125" fmla="*/ 1325337 h 4620285"/>
                  <a:gd name="connsiteX126" fmla="*/ 2674438 w 3755719"/>
                  <a:gd name="connsiteY126" fmla="*/ 1338510 h 4620285"/>
                  <a:gd name="connsiteX127" fmla="*/ 2522038 w 3755719"/>
                  <a:gd name="connsiteY127" fmla="*/ 1490910 h 4620285"/>
                  <a:gd name="connsiteX128" fmla="*/ 2369638 w 3755719"/>
                  <a:gd name="connsiteY128" fmla="*/ 1338510 h 4620285"/>
                  <a:gd name="connsiteX129" fmla="*/ 2319460 w 3755719"/>
                  <a:gd name="connsiteY129" fmla="*/ 1275149 h 4620285"/>
                  <a:gd name="connsiteX130" fmla="*/ 2256100 w 3755719"/>
                  <a:gd name="connsiteY130" fmla="*/ 1325337 h 4620285"/>
                  <a:gd name="connsiteX131" fmla="*/ 2256100 w 3755719"/>
                  <a:gd name="connsiteY131" fmla="*/ 1338510 h 4620285"/>
                  <a:gd name="connsiteX132" fmla="*/ 2103700 w 3755719"/>
                  <a:gd name="connsiteY132" fmla="*/ 1490910 h 4620285"/>
                  <a:gd name="connsiteX133" fmla="*/ 1951300 w 3755719"/>
                  <a:gd name="connsiteY133" fmla="*/ 1338510 h 4620285"/>
                  <a:gd name="connsiteX134" fmla="*/ 1888321 w 3755719"/>
                  <a:gd name="connsiteY134" fmla="*/ 1287856 h 4620285"/>
                  <a:gd name="connsiteX135" fmla="*/ 1837667 w 3755719"/>
                  <a:gd name="connsiteY135" fmla="*/ 1338510 h 4620285"/>
                  <a:gd name="connsiteX136" fmla="*/ 1685267 w 3755719"/>
                  <a:gd name="connsiteY136" fmla="*/ 1490910 h 4620285"/>
                  <a:gd name="connsiteX137" fmla="*/ 1532867 w 3755719"/>
                  <a:gd name="connsiteY137" fmla="*/ 1338510 h 4620285"/>
                  <a:gd name="connsiteX138" fmla="*/ 1469887 w 3755719"/>
                  <a:gd name="connsiteY138" fmla="*/ 1287856 h 4620285"/>
                  <a:gd name="connsiteX139" fmla="*/ 1419233 w 3755719"/>
                  <a:gd name="connsiteY139" fmla="*/ 1338510 h 4620285"/>
                  <a:gd name="connsiteX140" fmla="*/ 1265776 w 3755719"/>
                  <a:gd name="connsiteY140" fmla="*/ 1489852 h 4620285"/>
                  <a:gd name="connsiteX141" fmla="*/ 1116624 w 3755719"/>
                  <a:gd name="connsiteY141" fmla="*/ 1363179 h 4620285"/>
                  <a:gd name="connsiteX142" fmla="*/ 1116624 w 3755719"/>
                  <a:gd name="connsiteY142" fmla="*/ 1338510 h 4620285"/>
                  <a:gd name="connsiteX143" fmla="*/ 1059474 w 3755719"/>
                  <a:gd name="connsiteY143" fmla="*/ 1281360 h 4620285"/>
                  <a:gd name="connsiteX144" fmla="*/ 1057283 w 3755719"/>
                  <a:gd name="connsiteY144" fmla="*/ 1281360 h 4620285"/>
                  <a:gd name="connsiteX145" fmla="*/ 1000133 w 3755719"/>
                  <a:gd name="connsiteY145" fmla="*/ 1338510 h 4620285"/>
                  <a:gd name="connsiteX146" fmla="*/ 1002324 w 3755719"/>
                  <a:gd name="connsiteY146" fmla="*/ 1371942 h 4620285"/>
                  <a:gd name="connsiteX147" fmla="*/ 1002324 w 3755719"/>
                  <a:gd name="connsiteY147" fmla="*/ 1645595 h 4620285"/>
                  <a:gd name="connsiteX148" fmla="*/ 941840 w 3755719"/>
                  <a:gd name="connsiteY148" fmla="*/ 1645595 h 4620285"/>
                  <a:gd name="connsiteX149" fmla="*/ 715222 w 3755719"/>
                  <a:gd name="connsiteY149" fmla="*/ 1881606 h 4620285"/>
                  <a:gd name="connsiteX150" fmla="*/ 941840 w 3755719"/>
                  <a:gd name="connsiteY150" fmla="*/ 2108225 h 4620285"/>
                  <a:gd name="connsiteX151" fmla="*/ 1041472 w 3755719"/>
                  <a:gd name="connsiteY151" fmla="*/ 2108225 h 4620285"/>
                  <a:gd name="connsiteX152" fmla="*/ 1231972 w 3755719"/>
                  <a:gd name="connsiteY152" fmla="*/ 2403500 h 4620285"/>
                  <a:gd name="connsiteX153" fmla="*/ 666539 w 3755719"/>
                  <a:gd name="connsiteY153" fmla="*/ 2384240 h 4620285"/>
                  <a:gd name="connsiteX154" fmla="*/ 558840 w 3755719"/>
                  <a:gd name="connsiteY154" fmla="*/ 2110035 h 4620285"/>
                  <a:gd name="connsiteX155" fmla="*/ 570461 w 3755719"/>
                  <a:gd name="connsiteY155" fmla="*/ 2013927 h 4620285"/>
                  <a:gd name="connsiteX156" fmla="*/ 570461 w 3755719"/>
                  <a:gd name="connsiteY156" fmla="*/ 2013165 h 4620285"/>
                  <a:gd name="connsiteX157" fmla="*/ 571032 w 3755719"/>
                  <a:gd name="connsiteY157" fmla="*/ 2010594 h 4620285"/>
                  <a:gd name="connsiteX158" fmla="*/ 571508 w 3755719"/>
                  <a:gd name="connsiteY158" fmla="*/ 2007641 h 4620285"/>
                  <a:gd name="connsiteX159" fmla="*/ 571508 w 3755719"/>
                  <a:gd name="connsiteY159" fmla="*/ 2007641 h 4620285"/>
                  <a:gd name="connsiteX160" fmla="*/ 571508 w 3755719"/>
                  <a:gd name="connsiteY160" fmla="*/ 2006307 h 4620285"/>
                  <a:gd name="connsiteX161" fmla="*/ 571508 w 3755719"/>
                  <a:gd name="connsiteY161" fmla="*/ 2002116 h 4620285"/>
                  <a:gd name="connsiteX162" fmla="*/ 571508 w 3755719"/>
                  <a:gd name="connsiteY162" fmla="*/ 2000402 h 4620285"/>
                  <a:gd name="connsiteX163" fmla="*/ 571508 w 3755719"/>
                  <a:gd name="connsiteY163" fmla="*/ 1996497 h 4620285"/>
                  <a:gd name="connsiteX164" fmla="*/ 571508 w 3755719"/>
                  <a:gd name="connsiteY164" fmla="*/ 1994401 h 4620285"/>
                  <a:gd name="connsiteX165" fmla="*/ 571508 w 3755719"/>
                  <a:gd name="connsiteY165" fmla="*/ 1991067 h 4620285"/>
                  <a:gd name="connsiteX166" fmla="*/ 570937 w 3755719"/>
                  <a:gd name="connsiteY166" fmla="*/ 1988495 h 4620285"/>
                  <a:gd name="connsiteX167" fmla="*/ 570365 w 3755719"/>
                  <a:gd name="connsiteY167" fmla="*/ 1985733 h 4620285"/>
                  <a:gd name="connsiteX168" fmla="*/ 569508 w 3755719"/>
                  <a:gd name="connsiteY168" fmla="*/ 1982876 h 4620285"/>
                  <a:gd name="connsiteX169" fmla="*/ 568746 w 3755719"/>
                  <a:gd name="connsiteY169" fmla="*/ 1980590 h 4620285"/>
                  <a:gd name="connsiteX170" fmla="*/ 567603 w 3755719"/>
                  <a:gd name="connsiteY170" fmla="*/ 1977637 h 4620285"/>
                  <a:gd name="connsiteX171" fmla="*/ 566651 w 3755719"/>
                  <a:gd name="connsiteY171" fmla="*/ 1975542 h 4620285"/>
                  <a:gd name="connsiteX172" fmla="*/ 565127 w 3755719"/>
                  <a:gd name="connsiteY172" fmla="*/ 1972684 h 4620285"/>
                  <a:gd name="connsiteX173" fmla="*/ 564079 w 3755719"/>
                  <a:gd name="connsiteY173" fmla="*/ 1970684 h 4620285"/>
                  <a:gd name="connsiteX174" fmla="*/ 562364 w 3755719"/>
                  <a:gd name="connsiteY174" fmla="*/ 1968207 h 4620285"/>
                  <a:gd name="connsiteX175" fmla="*/ 561031 w 3755719"/>
                  <a:gd name="connsiteY175" fmla="*/ 1966207 h 4620285"/>
                  <a:gd name="connsiteX176" fmla="*/ 559221 w 3755719"/>
                  <a:gd name="connsiteY176" fmla="*/ 1963921 h 4620285"/>
                  <a:gd name="connsiteX177" fmla="*/ 557507 w 3755719"/>
                  <a:gd name="connsiteY177" fmla="*/ 1961921 h 4620285"/>
                  <a:gd name="connsiteX178" fmla="*/ 555602 w 3755719"/>
                  <a:gd name="connsiteY178" fmla="*/ 1959920 h 4620285"/>
                  <a:gd name="connsiteX179" fmla="*/ 553697 w 3755719"/>
                  <a:gd name="connsiteY179" fmla="*/ 1958016 h 4620285"/>
                  <a:gd name="connsiteX180" fmla="*/ 551506 w 3755719"/>
                  <a:gd name="connsiteY180" fmla="*/ 1956206 h 4620285"/>
                  <a:gd name="connsiteX181" fmla="*/ 549410 w 3755719"/>
                  <a:gd name="connsiteY181" fmla="*/ 1954587 h 4620285"/>
                  <a:gd name="connsiteX182" fmla="*/ 547029 w 3755719"/>
                  <a:gd name="connsiteY182" fmla="*/ 1952872 h 4620285"/>
                  <a:gd name="connsiteX183" fmla="*/ 544362 w 3755719"/>
                  <a:gd name="connsiteY183" fmla="*/ 1951062 h 4620285"/>
                  <a:gd name="connsiteX184" fmla="*/ 541600 w 3755719"/>
                  <a:gd name="connsiteY184" fmla="*/ 1949538 h 4620285"/>
                  <a:gd name="connsiteX185" fmla="*/ 539409 w 3755719"/>
                  <a:gd name="connsiteY185" fmla="*/ 1948395 h 4620285"/>
                  <a:gd name="connsiteX186" fmla="*/ 536361 w 3755719"/>
                  <a:gd name="connsiteY186" fmla="*/ 1947157 h 4620285"/>
                  <a:gd name="connsiteX187" fmla="*/ 534266 w 3755719"/>
                  <a:gd name="connsiteY187" fmla="*/ 1946205 h 4620285"/>
                  <a:gd name="connsiteX188" fmla="*/ 531122 w 3755719"/>
                  <a:gd name="connsiteY188" fmla="*/ 1945252 h 4620285"/>
                  <a:gd name="connsiteX189" fmla="*/ 529122 w 3755719"/>
                  <a:gd name="connsiteY189" fmla="*/ 1944681 h 4620285"/>
                  <a:gd name="connsiteX190" fmla="*/ 529122 w 3755719"/>
                  <a:gd name="connsiteY190" fmla="*/ 1944681 h 4620285"/>
                  <a:gd name="connsiteX191" fmla="*/ 527312 w 3755719"/>
                  <a:gd name="connsiteY191" fmla="*/ 1944681 h 4620285"/>
                  <a:gd name="connsiteX192" fmla="*/ 522740 w 3755719"/>
                  <a:gd name="connsiteY192" fmla="*/ 1943823 h 4620285"/>
                  <a:gd name="connsiteX193" fmla="*/ 116901 w 3755719"/>
                  <a:gd name="connsiteY193" fmla="*/ 1412062 h 4620285"/>
                  <a:gd name="connsiteX194" fmla="*/ 572937 w 3755719"/>
                  <a:gd name="connsiteY194" fmla="*/ 1002182 h 4620285"/>
                  <a:gd name="connsiteX195" fmla="*/ 585415 w 3755719"/>
                  <a:gd name="connsiteY195" fmla="*/ 1000467 h 4620285"/>
                  <a:gd name="connsiteX196" fmla="*/ 585415 w 3755719"/>
                  <a:gd name="connsiteY196" fmla="*/ 1000467 h 4620285"/>
                  <a:gd name="connsiteX197" fmla="*/ 590654 w 3755719"/>
                  <a:gd name="connsiteY197" fmla="*/ 998848 h 4620285"/>
                  <a:gd name="connsiteX198" fmla="*/ 591511 w 3755719"/>
                  <a:gd name="connsiteY198" fmla="*/ 998848 h 4620285"/>
                  <a:gd name="connsiteX199" fmla="*/ 595797 w 3755719"/>
                  <a:gd name="connsiteY199" fmla="*/ 997038 h 4620285"/>
                  <a:gd name="connsiteX200" fmla="*/ 597226 w 3755719"/>
                  <a:gd name="connsiteY200" fmla="*/ 996276 h 4620285"/>
                  <a:gd name="connsiteX201" fmla="*/ 600560 w 3755719"/>
                  <a:gd name="connsiteY201" fmla="*/ 994467 h 4620285"/>
                  <a:gd name="connsiteX202" fmla="*/ 602369 w 3755719"/>
                  <a:gd name="connsiteY202" fmla="*/ 993228 h 4620285"/>
                  <a:gd name="connsiteX203" fmla="*/ 605036 w 3755719"/>
                  <a:gd name="connsiteY203" fmla="*/ 991514 h 4620285"/>
                  <a:gd name="connsiteX204" fmla="*/ 606941 w 3755719"/>
                  <a:gd name="connsiteY204" fmla="*/ 989895 h 4620285"/>
                  <a:gd name="connsiteX205" fmla="*/ 609227 w 3755719"/>
                  <a:gd name="connsiteY205" fmla="*/ 987990 h 4620285"/>
                  <a:gd name="connsiteX206" fmla="*/ 611037 w 3755719"/>
                  <a:gd name="connsiteY206" fmla="*/ 986275 h 4620285"/>
                  <a:gd name="connsiteX207" fmla="*/ 613133 w 3755719"/>
                  <a:gd name="connsiteY207" fmla="*/ 984180 h 4620285"/>
                  <a:gd name="connsiteX208" fmla="*/ 614657 w 3755719"/>
                  <a:gd name="connsiteY208" fmla="*/ 982370 h 4620285"/>
                  <a:gd name="connsiteX209" fmla="*/ 616752 w 3755719"/>
                  <a:gd name="connsiteY209" fmla="*/ 979893 h 4620285"/>
                  <a:gd name="connsiteX210" fmla="*/ 617895 w 3755719"/>
                  <a:gd name="connsiteY210" fmla="*/ 978274 h 4620285"/>
                  <a:gd name="connsiteX211" fmla="*/ 619800 w 3755719"/>
                  <a:gd name="connsiteY211" fmla="*/ 975226 h 4620285"/>
                  <a:gd name="connsiteX212" fmla="*/ 620657 w 3755719"/>
                  <a:gd name="connsiteY212" fmla="*/ 973797 h 4620285"/>
                  <a:gd name="connsiteX213" fmla="*/ 622467 w 3755719"/>
                  <a:gd name="connsiteY213" fmla="*/ 970368 h 4620285"/>
                  <a:gd name="connsiteX214" fmla="*/ 623039 w 3755719"/>
                  <a:gd name="connsiteY214" fmla="*/ 969035 h 4620285"/>
                  <a:gd name="connsiteX215" fmla="*/ 624563 w 3755719"/>
                  <a:gd name="connsiteY215" fmla="*/ 965320 h 4620285"/>
                  <a:gd name="connsiteX216" fmla="*/ 624563 w 3755719"/>
                  <a:gd name="connsiteY216" fmla="*/ 963891 h 4620285"/>
                  <a:gd name="connsiteX217" fmla="*/ 625801 w 3755719"/>
                  <a:gd name="connsiteY217" fmla="*/ 960177 h 4620285"/>
                  <a:gd name="connsiteX218" fmla="*/ 625801 w 3755719"/>
                  <a:gd name="connsiteY218" fmla="*/ 958462 h 4620285"/>
                  <a:gd name="connsiteX219" fmla="*/ 626468 w 3755719"/>
                  <a:gd name="connsiteY219" fmla="*/ 954747 h 4620285"/>
                  <a:gd name="connsiteX220" fmla="*/ 626468 w 3755719"/>
                  <a:gd name="connsiteY220" fmla="*/ 952747 h 4620285"/>
                  <a:gd name="connsiteX221" fmla="*/ 626468 w 3755719"/>
                  <a:gd name="connsiteY221" fmla="*/ 949223 h 4620285"/>
                  <a:gd name="connsiteX222" fmla="*/ 626468 w 3755719"/>
                  <a:gd name="connsiteY222" fmla="*/ 947127 h 4620285"/>
                  <a:gd name="connsiteX223" fmla="*/ 626468 w 3755719"/>
                  <a:gd name="connsiteY223" fmla="*/ 944270 h 4620285"/>
                  <a:gd name="connsiteX224" fmla="*/ 626468 w 3755719"/>
                  <a:gd name="connsiteY224" fmla="*/ 943508 h 4620285"/>
                  <a:gd name="connsiteX225" fmla="*/ 626468 w 3755719"/>
                  <a:gd name="connsiteY225" fmla="*/ 941984 h 4620285"/>
                  <a:gd name="connsiteX226" fmla="*/ 626468 w 3755719"/>
                  <a:gd name="connsiteY226" fmla="*/ 937602 h 4620285"/>
                  <a:gd name="connsiteX227" fmla="*/ 626468 w 3755719"/>
                  <a:gd name="connsiteY227" fmla="*/ 936936 h 4620285"/>
                  <a:gd name="connsiteX228" fmla="*/ 625515 w 3755719"/>
                  <a:gd name="connsiteY228" fmla="*/ 932078 h 4620285"/>
                  <a:gd name="connsiteX229" fmla="*/ 625515 w 3755719"/>
                  <a:gd name="connsiteY229" fmla="*/ 932078 h 4620285"/>
                  <a:gd name="connsiteX230" fmla="*/ 608465 w 3755719"/>
                  <a:gd name="connsiteY230" fmla="*/ 803300 h 4620285"/>
                  <a:gd name="connsiteX231" fmla="*/ 1143675 w 3755719"/>
                  <a:gd name="connsiteY231" fmla="*/ 268090 h 4620285"/>
                  <a:gd name="connsiteX232" fmla="*/ 1518389 w 3755719"/>
                  <a:gd name="connsiteY232" fmla="*/ 421347 h 4620285"/>
                  <a:gd name="connsiteX233" fmla="*/ 1520008 w 3755719"/>
                  <a:gd name="connsiteY233" fmla="*/ 422776 h 4620285"/>
                  <a:gd name="connsiteX234" fmla="*/ 1521722 w 3755719"/>
                  <a:gd name="connsiteY234" fmla="*/ 424300 h 4620285"/>
                  <a:gd name="connsiteX235" fmla="*/ 1524675 w 3755719"/>
                  <a:gd name="connsiteY235" fmla="*/ 426681 h 4620285"/>
                  <a:gd name="connsiteX236" fmla="*/ 1526009 w 3755719"/>
                  <a:gd name="connsiteY236" fmla="*/ 427634 h 4620285"/>
                  <a:gd name="connsiteX237" fmla="*/ 1529723 w 3755719"/>
                  <a:gd name="connsiteY237" fmla="*/ 430015 h 4620285"/>
                  <a:gd name="connsiteX238" fmla="*/ 1530390 w 3755719"/>
                  <a:gd name="connsiteY238" fmla="*/ 430015 h 4620285"/>
                  <a:gd name="connsiteX239" fmla="*/ 1530390 w 3755719"/>
                  <a:gd name="connsiteY239" fmla="*/ 430015 h 4620285"/>
                  <a:gd name="connsiteX240" fmla="*/ 1534105 w 3755719"/>
                  <a:gd name="connsiteY240" fmla="*/ 431825 h 4620285"/>
                  <a:gd name="connsiteX241" fmla="*/ 1535724 w 3755719"/>
                  <a:gd name="connsiteY241" fmla="*/ 432587 h 4620285"/>
                  <a:gd name="connsiteX242" fmla="*/ 1538867 w 3755719"/>
                  <a:gd name="connsiteY242" fmla="*/ 433825 h 4620285"/>
                  <a:gd name="connsiteX243" fmla="*/ 1541249 w 3755719"/>
                  <a:gd name="connsiteY243" fmla="*/ 434587 h 4620285"/>
                  <a:gd name="connsiteX244" fmla="*/ 1543630 w 3755719"/>
                  <a:gd name="connsiteY244" fmla="*/ 435254 h 4620285"/>
                  <a:gd name="connsiteX245" fmla="*/ 1546773 w 3755719"/>
                  <a:gd name="connsiteY245" fmla="*/ 436016 h 4620285"/>
                  <a:gd name="connsiteX246" fmla="*/ 1548678 w 3755719"/>
                  <a:gd name="connsiteY246" fmla="*/ 436016 h 4620285"/>
                  <a:gd name="connsiteX247" fmla="*/ 1554012 w 3755719"/>
                  <a:gd name="connsiteY247" fmla="*/ 436587 h 4620285"/>
                  <a:gd name="connsiteX248" fmla="*/ 1561251 w 3755719"/>
                  <a:gd name="connsiteY248" fmla="*/ 436587 h 4620285"/>
                  <a:gd name="connsiteX249" fmla="*/ 1564775 w 3755719"/>
                  <a:gd name="connsiteY249" fmla="*/ 436587 h 4620285"/>
                  <a:gd name="connsiteX250" fmla="*/ 1566966 w 3755719"/>
                  <a:gd name="connsiteY250" fmla="*/ 436587 h 4620285"/>
                  <a:gd name="connsiteX251" fmla="*/ 1570109 w 3755719"/>
                  <a:gd name="connsiteY251" fmla="*/ 436587 h 4620285"/>
                  <a:gd name="connsiteX252" fmla="*/ 1572776 w 3755719"/>
                  <a:gd name="connsiteY252" fmla="*/ 436016 h 4620285"/>
                  <a:gd name="connsiteX253" fmla="*/ 1575348 w 3755719"/>
                  <a:gd name="connsiteY253" fmla="*/ 435349 h 4620285"/>
                  <a:gd name="connsiteX254" fmla="*/ 1578206 w 3755719"/>
                  <a:gd name="connsiteY254" fmla="*/ 434397 h 4620285"/>
                  <a:gd name="connsiteX255" fmla="*/ 1580396 w 3755719"/>
                  <a:gd name="connsiteY255" fmla="*/ 433635 h 4620285"/>
                  <a:gd name="connsiteX256" fmla="*/ 1583349 w 3755719"/>
                  <a:gd name="connsiteY256" fmla="*/ 432301 h 4620285"/>
                  <a:gd name="connsiteX257" fmla="*/ 1585445 w 3755719"/>
                  <a:gd name="connsiteY257" fmla="*/ 431349 h 4620285"/>
                  <a:gd name="connsiteX258" fmla="*/ 1588207 w 3755719"/>
                  <a:gd name="connsiteY258" fmla="*/ 429825 h 4620285"/>
                  <a:gd name="connsiteX259" fmla="*/ 1590302 w 3755719"/>
                  <a:gd name="connsiteY259" fmla="*/ 428586 h 4620285"/>
                  <a:gd name="connsiteX260" fmla="*/ 1592779 w 3755719"/>
                  <a:gd name="connsiteY260" fmla="*/ 426777 h 4620285"/>
                  <a:gd name="connsiteX261" fmla="*/ 1594874 w 3755719"/>
                  <a:gd name="connsiteY261" fmla="*/ 425348 h 4620285"/>
                  <a:gd name="connsiteX262" fmla="*/ 1597256 w 3755719"/>
                  <a:gd name="connsiteY262" fmla="*/ 423252 h 4620285"/>
                  <a:gd name="connsiteX263" fmla="*/ 1599065 w 3755719"/>
                  <a:gd name="connsiteY263" fmla="*/ 421633 h 4620285"/>
                  <a:gd name="connsiteX264" fmla="*/ 1600018 w 3755719"/>
                  <a:gd name="connsiteY264" fmla="*/ 420776 h 4620285"/>
                  <a:gd name="connsiteX265" fmla="*/ 1601447 w 3755719"/>
                  <a:gd name="connsiteY265" fmla="*/ 419157 h 4620285"/>
                  <a:gd name="connsiteX266" fmla="*/ 1602875 w 3755719"/>
                  <a:gd name="connsiteY266" fmla="*/ 417537 h 4620285"/>
                  <a:gd name="connsiteX267" fmla="*/ 1605257 w 3755719"/>
                  <a:gd name="connsiteY267" fmla="*/ 414489 h 4620285"/>
                  <a:gd name="connsiteX268" fmla="*/ 1606209 w 3755719"/>
                  <a:gd name="connsiteY268" fmla="*/ 413156 h 4620285"/>
                  <a:gd name="connsiteX269" fmla="*/ 1608590 w 3755719"/>
                  <a:gd name="connsiteY269" fmla="*/ 409441 h 4620285"/>
                  <a:gd name="connsiteX270" fmla="*/ 1609067 w 3755719"/>
                  <a:gd name="connsiteY270" fmla="*/ 408774 h 4620285"/>
                  <a:gd name="connsiteX271" fmla="*/ 2398937 w 3755719"/>
                  <a:gd name="connsiteY271" fmla="*/ 188738 h 4620285"/>
                  <a:gd name="connsiteX272" fmla="*/ 2677295 w 3755719"/>
                  <a:gd name="connsiteY272" fmla="*/ 556317 h 4620285"/>
                  <a:gd name="connsiteX273" fmla="*/ 2677295 w 3755719"/>
                  <a:gd name="connsiteY273" fmla="*/ 556983 h 4620285"/>
                  <a:gd name="connsiteX274" fmla="*/ 2680153 w 3755719"/>
                  <a:gd name="connsiteY274" fmla="*/ 565461 h 4620285"/>
                  <a:gd name="connsiteX275" fmla="*/ 2680153 w 3755719"/>
                  <a:gd name="connsiteY275" fmla="*/ 565461 h 4620285"/>
                  <a:gd name="connsiteX276" fmla="*/ 2684058 w 3755719"/>
                  <a:gd name="connsiteY276" fmla="*/ 572700 h 4620285"/>
                  <a:gd name="connsiteX277" fmla="*/ 2685201 w 3755719"/>
                  <a:gd name="connsiteY277" fmla="*/ 574509 h 4620285"/>
                  <a:gd name="connsiteX278" fmla="*/ 2689297 w 3755719"/>
                  <a:gd name="connsiteY278" fmla="*/ 579843 h 4620285"/>
                  <a:gd name="connsiteX279" fmla="*/ 2689964 w 3755719"/>
                  <a:gd name="connsiteY279" fmla="*/ 580605 h 4620285"/>
                  <a:gd name="connsiteX280" fmla="*/ 2691392 w 3755719"/>
                  <a:gd name="connsiteY280" fmla="*/ 582129 h 4620285"/>
                  <a:gd name="connsiteX281" fmla="*/ 2696917 w 3755719"/>
                  <a:gd name="connsiteY281" fmla="*/ 587178 h 4620285"/>
                  <a:gd name="connsiteX282" fmla="*/ 2697488 w 3755719"/>
                  <a:gd name="connsiteY282" fmla="*/ 587654 h 4620285"/>
                  <a:gd name="connsiteX283" fmla="*/ 2704346 w 3755719"/>
                  <a:gd name="connsiteY283" fmla="*/ 592131 h 4620285"/>
                  <a:gd name="connsiteX284" fmla="*/ 2705775 w 3755719"/>
                  <a:gd name="connsiteY284" fmla="*/ 592988 h 4620285"/>
                  <a:gd name="connsiteX285" fmla="*/ 2713014 w 3755719"/>
                  <a:gd name="connsiteY285" fmla="*/ 596131 h 4620285"/>
                  <a:gd name="connsiteX286" fmla="*/ 2714824 w 3755719"/>
                  <a:gd name="connsiteY286" fmla="*/ 596703 h 4620285"/>
                  <a:gd name="connsiteX287" fmla="*/ 2721872 w 3755719"/>
                  <a:gd name="connsiteY287" fmla="*/ 598608 h 4620285"/>
                  <a:gd name="connsiteX288" fmla="*/ 2723777 w 3755719"/>
                  <a:gd name="connsiteY288" fmla="*/ 598608 h 4620285"/>
                  <a:gd name="connsiteX289" fmla="*/ 2730826 w 3755719"/>
                  <a:gd name="connsiteY289" fmla="*/ 599179 h 4620285"/>
                  <a:gd name="connsiteX290" fmla="*/ 2733207 w 3755719"/>
                  <a:gd name="connsiteY290" fmla="*/ 599179 h 4620285"/>
                  <a:gd name="connsiteX291" fmla="*/ 2735588 w 3755719"/>
                  <a:gd name="connsiteY291" fmla="*/ 599179 h 4620285"/>
                  <a:gd name="connsiteX292" fmla="*/ 2741018 w 3755719"/>
                  <a:gd name="connsiteY292" fmla="*/ 598608 h 4620285"/>
                  <a:gd name="connsiteX293" fmla="*/ 2744637 w 3755719"/>
                  <a:gd name="connsiteY293" fmla="*/ 598512 h 4620285"/>
                  <a:gd name="connsiteX294" fmla="*/ 2745304 w 3755719"/>
                  <a:gd name="connsiteY294" fmla="*/ 598512 h 4620285"/>
                  <a:gd name="connsiteX295" fmla="*/ 2747971 w 3755719"/>
                  <a:gd name="connsiteY295" fmla="*/ 597750 h 4620285"/>
                  <a:gd name="connsiteX296" fmla="*/ 2750067 w 3755719"/>
                  <a:gd name="connsiteY296" fmla="*/ 597179 h 4620285"/>
                  <a:gd name="connsiteX297" fmla="*/ 2753305 w 3755719"/>
                  <a:gd name="connsiteY297" fmla="*/ 595941 h 4620285"/>
                  <a:gd name="connsiteX298" fmla="*/ 2755305 w 3755719"/>
                  <a:gd name="connsiteY298" fmla="*/ 595083 h 4620285"/>
                  <a:gd name="connsiteX299" fmla="*/ 2758639 w 3755719"/>
                  <a:gd name="connsiteY299" fmla="*/ 593464 h 4620285"/>
                  <a:gd name="connsiteX300" fmla="*/ 2760258 w 3755719"/>
                  <a:gd name="connsiteY300" fmla="*/ 592607 h 4620285"/>
                  <a:gd name="connsiteX301" fmla="*/ 2763687 w 3755719"/>
                  <a:gd name="connsiteY301" fmla="*/ 590511 h 4620285"/>
                  <a:gd name="connsiteX302" fmla="*/ 2765021 w 3755719"/>
                  <a:gd name="connsiteY302" fmla="*/ 589559 h 4620285"/>
                  <a:gd name="connsiteX303" fmla="*/ 2768259 w 3755719"/>
                  <a:gd name="connsiteY303" fmla="*/ 586987 h 4620285"/>
                  <a:gd name="connsiteX304" fmla="*/ 2769212 w 3755719"/>
                  <a:gd name="connsiteY304" fmla="*/ 586225 h 4620285"/>
                  <a:gd name="connsiteX305" fmla="*/ 3275094 w 3755719"/>
                  <a:gd name="connsiteY305" fmla="*/ 624049 h 4620285"/>
                  <a:gd name="connsiteX306" fmla="*/ 3361952 w 3755719"/>
                  <a:gd name="connsiteY306" fmla="*/ 858069 h 4620285"/>
                  <a:gd name="connsiteX307" fmla="*/ 3253177 w 3755719"/>
                  <a:gd name="connsiteY307" fmla="*/ 1115244 h 4620285"/>
                  <a:gd name="connsiteX308" fmla="*/ 3252758 w 3755719"/>
                  <a:gd name="connsiteY308" fmla="*/ 1196063 h 4620285"/>
                  <a:gd name="connsiteX309" fmla="*/ 3288229 w 3755719"/>
                  <a:gd name="connsiteY309" fmla="*/ 1212780 h 4620285"/>
                  <a:gd name="connsiteX310" fmla="*/ 3288705 w 3755719"/>
                  <a:gd name="connsiteY310" fmla="*/ 1212780 h 4620285"/>
                  <a:gd name="connsiteX311" fmla="*/ 3641797 w 3755719"/>
                  <a:gd name="connsiteY311" fmla="*/ 1602733 h 4620285"/>
                  <a:gd name="connsiteX312" fmla="*/ 3407482 w 3755719"/>
                  <a:gd name="connsiteY312" fmla="*/ 1965826 h 4620285"/>
                  <a:gd name="connsiteX313" fmla="*/ 2776355 w 3755719"/>
                  <a:gd name="connsiteY313" fmla="*/ 1994020 h 4620285"/>
                  <a:gd name="connsiteX314" fmla="*/ 2787024 w 3755719"/>
                  <a:gd name="connsiteY314" fmla="*/ 1867052 h 4620285"/>
                  <a:gd name="connsiteX315" fmla="*/ 2787024 w 3755719"/>
                  <a:gd name="connsiteY315" fmla="*/ 1759134 h 4620285"/>
                  <a:gd name="connsiteX316" fmla="*/ 2847507 w 3755719"/>
                  <a:gd name="connsiteY316" fmla="*/ 1759134 h 4620285"/>
                  <a:gd name="connsiteX317" fmla="*/ 2965236 w 3755719"/>
                  <a:gd name="connsiteY317" fmla="*/ 1876863 h 4620285"/>
                  <a:gd name="connsiteX318" fmla="*/ 2847507 w 3755719"/>
                  <a:gd name="connsiteY318" fmla="*/ 1994592 h 4620285"/>
                  <a:gd name="connsiteX319" fmla="*/ 1012516 w 3755719"/>
                  <a:gd name="connsiteY319" fmla="*/ 1994020 h 4620285"/>
                  <a:gd name="connsiteX320" fmla="*/ 941364 w 3755719"/>
                  <a:gd name="connsiteY320" fmla="*/ 1994020 h 4620285"/>
                  <a:gd name="connsiteX321" fmla="*/ 823635 w 3755719"/>
                  <a:gd name="connsiteY321" fmla="*/ 1876291 h 4620285"/>
                  <a:gd name="connsiteX322" fmla="*/ 941364 w 3755719"/>
                  <a:gd name="connsiteY322" fmla="*/ 1758562 h 4620285"/>
                  <a:gd name="connsiteX323" fmla="*/ 1001562 w 3755719"/>
                  <a:gd name="connsiteY323" fmla="*/ 1758562 h 4620285"/>
                  <a:gd name="connsiteX324" fmla="*/ 1001562 w 3755719"/>
                  <a:gd name="connsiteY324" fmla="*/ 1867052 h 4620285"/>
                  <a:gd name="connsiteX325" fmla="*/ 1012325 w 3755719"/>
                  <a:gd name="connsiteY325" fmla="*/ 1994592 h 462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Lst>
                <a:rect l="l" t="t" r="r" b="b"/>
                <a:pathLst>
                  <a:path w="3755719" h="4620285">
                    <a:moveTo>
                      <a:pt x="3397481" y="1119149"/>
                    </a:moveTo>
                    <a:cubicBezTo>
                      <a:pt x="3448992" y="1041815"/>
                      <a:pt x="3476319" y="950890"/>
                      <a:pt x="3475967" y="857973"/>
                    </a:cubicBezTo>
                    <a:cubicBezTo>
                      <a:pt x="3476081" y="597157"/>
                      <a:pt x="3264740" y="385630"/>
                      <a:pt x="3003927" y="385516"/>
                    </a:cubicBezTo>
                    <a:cubicBezTo>
                      <a:pt x="2919421" y="385479"/>
                      <a:pt x="2836458" y="408116"/>
                      <a:pt x="2763687" y="451065"/>
                    </a:cubicBezTo>
                    <a:cubicBezTo>
                      <a:pt x="2629632" y="92218"/>
                      <a:pt x="2230049" y="-90010"/>
                      <a:pt x="1871204" y="44048"/>
                    </a:cubicBezTo>
                    <a:cubicBezTo>
                      <a:pt x="1740616" y="92834"/>
                      <a:pt x="1627755" y="179837"/>
                      <a:pt x="1547345" y="293712"/>
                    </a:cubicBezTo>
                    <a:cubicBezTo>
                      <a:pt x="1433016" y="202675"/>
                      <a:pt x="1291056" y="153351"/>
                      <a:pt x="1144913" y="153885"/>
                    </a:cubicBezTo>
                    <a:cubicBezTo>
                      <a:pt x="786773" y="154253"/>
                      <a:pt x="496537" y="444492"/>
                      <a:pt x="496166" y="802633"/>
                    </a:cubicBezTo>
                    <a:cubicBezTo>
                      <a:pt x="496185" y="833351"/>
                      <a:pt x="498575" y="864012"/>
                      <a:pt x="503309" y="894359"/>
                    </a:cubicBezTo>
                    <a:cubicBezTo>
                      <a:pt x="182652" y="940374"/>
                      <a:pt x="-39991" y="1237621"/>
                      <a:pt x="6022" y="1558280"/>
                    </a:cubicBezTo>
                    <a:cubicBezTo>
                      <a:pt x="40090" y="1795691"/>
                      <a:pt x="215268" y="1988438"/>
                      <a:pt x="448350" y="2044979"/>
                    </a:cubicBezTo>
                    <a:cubicBezTo>
                      <a:pt x="445731" y="2066629"/>
                      <a:pt x="444454" y="2088422"/>
                      <a:pt x="444540" y="2110225"/>
                    </a:cubicBezTo>
                    <a:cubicBezTo>
                      <a:pt x="444835" y="2394289"/>
                      <a:pt x="675359" y="2624337"/>
                      <a:pt x="959424" y="2624042"/>
                    </a:cubicBezTo>
                    <a:cubicBezTo>
                      <a:pt x="1094517" y="2623899"/>
                      <a:pt x="1224133" y="2570616"/>
                      <a:pt x="1320269" y="2475699"/>
                    </a:cubicBezTo>
                    <a:cubicBezTo>
                      <a:pt x="1420672" y="2549889"/>
                      <a:pt x="1533962" y="2604792"/>
                      <a:pt x="1654406" y="2637624"/>
                    </a:cubicBezTo>
                    <a:lnTo>
                      <a:pt x="1654406" y="2671534"/>
                    </a:lnTo>
                    <a:cubicBezTo>
                      <a:pt x="1654301" y="2786433"/>
                      <a:pt x="1561185" y="2879550"/>
                      <a:pt x="1446284" y="2879655"/>
                    </a:cubicBezTo>
                    <a:lnTo>
                      <a:pt x="1031471" y="2879655"/>
                    </a:lnTo>
                    <a:cubicBezTo>
                      <a:pt x="689323" y="2880026"/>
                      <a:pt x="412050" y="3157299"/>
                      <a:pt x="411679" y="3499446"/>
                    </a:cubicBezTo>
                    <a:lnTo>
                      <a:pt x="411679" y="4569295"/>
                    </a:lnTo>
                    <a:cubicBezTo>
                      <a:pt x="415079" y="4600670"/>
                      <a:pt x="443283" y="4623349"/>
                      <a:pt x="474658" y="4619948"/>
                    </a:cubicBezTo>
                    <a:cubicBezTo>
                      <a:pt x="501347" y="4617053"/>
                      <a:pt x="522416" y="4595974"/>
                      <a:pt x="525312" y="4569295"/>
                    </a:cubicBezTo>
                    <a:lnTo>
                      <a:pt x="525312" y="3499351"/>
                    </a:lnTo>
                    <a:cubicBezTo>
                      <a:pt x="525626" y="3219926"/>
                      <a:pt x="752045" y="2993469"/>
                      <a:pt x="1031471" y="2993097"/>
                    </a:cubicBezTo>
                    <a:lnTo>
                      <a:pt x="1375037" y="2993097"/>
                    </a:lnTo>
                    <a:cubicBezTo>
                      <a:pt x="1297018" y="3111798"/>
                      <a:pt x="1292770" y="3264398"/>
                      <a:pt x="1364084" y="3387242"/>
                    </a:cubicBezTo>
                    <a:lnTo>
                      <a:pt x="1384658" y="3422484"/>
                    </a:lnTo>
                    <a:cubicBezTo>
                      <a:pt x="1481546" y="3590305"/>
                      <a:pt x="1691020" y="3655656"/>
                      <a:pt x="1866146" y="3572694"/>
                    </a:cubicBezTo>
                    <a:lnTo>
                      <a:pt x="1894721" y="3559549"/>
                    </a:lnTo>
                    <a:lnTo>
                      <a:pt x="1922820" y="3572694"/>
                    </a:lnTo>
                    <a:cubicBezTo>
                      <a:pt x="2097947" y="3656009"/>
                      <a:pt x="2307697" y="3590591"/>
                      <a:pt x="2404404" y="3422484"/>
                    </a:cubicBezTo>
                    <a:lnTo>
                      <a:pt x="2424883" y="3387242"/>
                    </a:lnTo>
                    <a:cubicBezTo>
                      <a:pt x="2475813" y="3300526"/>
                      <a:pt x="2489320" y="3196837"/>
                      <a:pt x="2462316" y="3099968"/>
                    </a:cubicBezTo>
                    <a:cubicBezTo>
                      <a:pt x="2451858" y="3062039"/>
                      <a:pt x="2435532" y="3025978"/>
                      <a:pt x="2413929" y="2993097"/>
                    </a:cubicBezTo>
                    <a:lnTo>
                      <a:pt x="2757591" y="2993097"/>
                    </a:lnTo>
                    <a:cubicBezTo>
                      <a:pt x="3037007" y="2993469"/>
                      <a:pt x="3263388" y="3219935"/>
                      <a:pt x="3263654" y="3499351"/>
                    </a:cubicBezTo>
                    <a:lnTo>
                      <a:pt x="3263654" y="4569295"/>
                    </a:lnTo>
                    <a:cubicBezTo>
                      <a:pt x="3267055" y="4600670"/>
                      <a:pt x="3295259" y="4623349"/>
                      <a:pt x="3326634" y="4619948"/>
                    </a:cubicBezTo>
                    <a:cubicBezTo>
                      <a:pt x="3353323" y="4617053"/>
                      <a:pt x="3374392" y="4595974"/>
                      <a:pt x="3377288" y="4569295"/>
                    </a:cubicBezTo>
                    <a:lnTo>
                      <a:pt x="3377288" y="3499351"/>
                    </a:lnTo>
                    <a:cubicBezTo>
                      <a:pt x="3376916" y="3157242"/>
                      <a:pt x="3099701" y="2879978"/>
                      <a:pt x="2757591" y="2879559"/>
                    </a:cubicBezTo>
                    <a:lnTo>
                      <a:pt x="2342206" y="2879559"/>
                    </a:lnTo>
                    <a:cubicBezTo>
                      <a:pt x="2319327" y="2879550"/>
                      <a:pt x="2296600" y="2875759"/>
                      <a:pt x="2274959" y="2868320"/>
                    </a:cubicBezTo>
                    <a:cubicBezTo>
                      <a:pt x="2272788" y="2867386"/>
                      <a:pt x="2270559" y="2866586"/>
                      <a:pt x="2268292" y="2865939"/>
                    </a:cubicBezTo>
                    <a:cubicBezTo>
                      <a:pt x="2187606" y="2835154"/>
                      <a:pt x="2134266" y="2757792"/>
                      <a:pt x="2134180" y="2671438"/>
                    </a:cubicBezTo>
                    <a:lnTo>
                      <a:pt x="2134180" y="2637529"/>
                    </a:lnTo>
                    <a:cubicBezTo>
                      <a:pt x="2257938" y="2603744"/>
                      <a:pt x="2374153" y="2546718"/>
                      <a:pt x="2476604" y="2469508"/>
                    </a:cubicBezTo>
                    <a:cubicBezTo>
                      <a:pt x="2707499" y="2701128"/>
                      <a:pt x="3082432" y="2701718"/>
                      <a:pt x="3314061" y="2470832"/>
                    </a:cubicBezTo>
                    <a:cubicBezTo>
                      <a:pt x="3425208" y="2360028"/>
                      <a:pt x="3487825" y="2209638"/>
                      <a:pt x="3488159" y="2052694"/>
                    </a:cubicBezTo>
                    <a:cubicBezTo>
                      <a:pt x="3653322" y="1963388"/>
                      <a:pt x="3756097" y="1790585"/>
                      <a:pt x="3755716" y="1602828"/>
                    </a:cubicBezTo>
                    <a:cubicBezTo>
                      <a:pt x="3756516" y="1380086"/>
                      <a:pt x="3610783" y="1183319"/>
                      <a:pt x="3397481" y="1119149"/>
                    </a:cubicBezTo>
                    <a:close/>
                    <a:moveTo>
                      <a:pt x="1482956" y="3365334"/>
                    </a:moveTo>
                    <a:lnTo>
                      <a:pt x="1462477" y="3330092"/>
                    </a:lnTo>
                    <a:cubicBezTo>
                      <a:pt x="1398945" y="3220935"/>
                      <a:pt x="1422824" y="3081928"/>
                      <a:pt x="1519151" y="3000241"/>
                    </a:cubicBezTo>
                    <a:lnTo>
                      <a:pt x="1812425" y="3472491"/>
                    </a:lnTo>
                    <a:cubicBezTo>
                      <a:pt x="1691315" y="3526555"/>
                      <a:pt x="1548935" y="3480273"/>
                      <a:pt x="1482765" y="3365334"/>
                    </a:cubicBezTo>
                    <a:close/>
                    <a:moveTo>
                      <a:pt x="2269625" y="3000336"/>
                    </a:moveTo>
                    <a:cubicBezTo>
                      <a:pt x="2366133" y="3081842"/>
                      <a:pt x="2390231" y="3220859"/>
                      <a:pt x="2326775" y="3330092"/>
                    </a:cubicBezTo>
                    <a:lnTo>
                      <a:pt x="2306201" y="3365239"/>
                    </a:lnTo>
                    <a:cubicBezTo>
                      <a:pt x="2240069" y="3480120"/>
                      <a:pt x="2097814" y="3526421"/>
                      <a:pt x="1976732" y="3472491"/>
                    </a:cubicBezTo>
                    <a:close/>
                    <a:moveTo>
                      <a:pt x="2171232" y="2943186"/>
                    </a:moveTo>
                    <a:lnTo>
                      <a:pt x="1894245" y="3389337"/>
                    </a:lnTo>
                    <a:lnTo>
                      <a:pt x="1617449" y="2943567"/>
                    </a:lnTo>
                    <a:cubicBezTo>
                      <a:pt x="1711079" y="2884779"/>
                      <a:pt x="1767925" y="2781995"/>
                      <a:pt x="1767944" y="2671438"/>
                    </a:cubicBezTo>
                    <a:lnTo>
                      <a:pt x="1767944" y="2660199"/>
                    </a:lnTo>
                    <a:cubicBezTo>
                      <a:pt x="1851764" y="2671505"/>
                      <a:pt x="1936727" y="2671505"/>
                      <a:pt x="2020547" y="2660199"/>
                    </a:cubicBezTo>
                    <a:lnTo>
                      <a:pt x="2020547" y="2671438"/>
                    </a:lnTo>
                    <a:cubicBezTo>
                      <a:pt x="2020623" y="2781985"/>
                      <a:pt x="2077449" y="2884741"/>
                      <a:pt x="2171042" y="2943567"/>
                    </a:cubicBezTo>
                    <a:close/>
                    <a:moveTo>
                      <a:pt x="2451934" y="2344731"/>
                    </a:moveTo>
                    <a:cubicBezTo>
                      <a:pt x="2331252" y="2443314"/>
                      <a:pt x="2202093" y="2507322"/>
                      <a:pt x="2066171" y="2536469"/>
                    </a:cubicBezTo>
                    <a:lnTo>
                      <a:pt x="2066171" y="2536469"/>
                    </a:lnTo>
                    <a:cubicBezTo>
                      <a:pt x="1953157" y="2560682"/>
                      <a:pt x="1836285" y="2560682"/>
                      <a:pt x="1723271" y="2536469"/>
                    </a:cubicBezTo>
                    <a:lnTo>
                      <a:pt x="1723271" y="2536469"/>
                    </a:lnTo>
                    <a:cubicBezTo>
                      <a:pt x="1587350" y="2507322"/>
                      <a:pt x="1458191" y="2443314"/>
                      <a:pt x="1337509" y="2344731"/>
                    </a:cubicBezTo>
                    <a:cubicBezTo>
                      <a:pt x="1241868" y="2266159"/>
                      <a:pt x="1172812" y="2159984"/>
                      <a:pt x="1139770" y="2040693"/>
                    </a:cubicBezTo>
                    <a:cubicBezTo>
                      <a:pt x="1139227" y="2037740"/>
                      <a:pt x="1138427" y="2034844"/>
                      <a:pt x="1137389" y="2032025"/>
                    </a:cubicBezTo>
                    <a:cubicBezTo>
                      <a:pt x="1123177" y="1978256"/>
                      <a:pt x="1116005" y="1922859"/>
                      <a:pt x="1116053" y="1867242"/>
                    </a:cubicBezTo>
                    <a:lnTo>
                      <a:pt x="1116053" y="1557870"/>
                    </a:lnTo>
                    <a:cubicBezTo>
                      <a:pt x="1231667" y="1637347"/>
                      <a:pt x="1389172" y="1613106"/>
                      <a:pt x="1475526" y="1502530"/>
                    </a:cubicBezTo>
                    <a:cubicBezTo>
                      <a:pt x="1565852" y="1618078"/>
                      <a:pt x="1732749" y="1638518"/>
                      <a:pt x="1848296" y="1548193"/>
                    </a:cubicBezTo>
                    <a:cubicBezTo>
                      <a:pt x="1865318" y="1534887"/>
                      <a:pt x="1880653" y="1519551"/>
                      <a:pt x="1893959" y="1502530"/>
                    </a:cubicBezTo>
                    <a:cubicBezTo>
                      <a:pt x="1984285" y="1618078"/>
                      <a:pt x="2151182" y="1638518"/>
                      <a:pt x="2266730" y="1548193"/>
                    </a:cubicBezTo>
                    <a:cubicBezTo>
                      <a:pt x="2283751" y="1534887"/>
                      <a:pt x="2299086" y="1519551"/>
                      <a:pt x="2312393" y="1502530"/>
                    </a:cubicBezTo>
                    <a:cubicBezTo>
                      <a:pt x="2399404" y="1614087"/>
                      <a:pt x="2558633" y="1637766"/>
                      <a:pt x="2674343" y="1556346"/>
                    </a:cubicBezTo>
                    <a:lnTo>
                      <a:pt x="2674343" y="1867623"/>
                    </a:lnTo>
                    <a:cubicBezTo>
                      <a:pt x="2674400" y="1923249"/>
                      <a:pt x="2667199" y="1978647"/>
                      <a:pt x="2652911" y="2032406"/>
                    </a:cubicBezTo>
                    <a:cubicBezTo>
                      <a:pt x="2651902" y="2035225"/>
                      <a:pt x="2651140" y="2038121"/>
                      <a:pt x="2650625" y="2041074"/>
                    </a:cubicBezTo>
                    <a:cubicBezTo>
                      <a:pt x="2617231" y="2160489"/>
                      <a:pt x="2547774" y="2266673"/>
                      <a:pt x="2451743" y="2345112"/>
                    </a:cubicBezTo>
                    <a:close/>
                    <a:moveTo>
                      <a:pt x="3407672" y="1965445"/>
                    </a:moveTo>
                    <a:lnTo>
                      <a:pt x="3406339" y="1966112"/>
                    </a:lnTo>
                    <a:lnTo>
                      <a:pt x="3403862" y="1967350"/>
                    </a:lnTo>
                    <a:lnTo>
                      <a:pt x="3401291" y="1968779"/>
                    </a:lnTo>
                    <a:lnTo>
                      <a:pt x="3399291" y="1970112"/>
                    </a:lnTo>
                    <a:lnTo>
                      <a:pt x="3396528" y="1972017"/>
                    </a:lnTo>
                    <a:lnTo>
                      <a:pt x="3395004" y="1973160"/>
                    </a:lnTo>
                    <a:lnTo>
                      <a:pt x="3392242" y="1975542"/>
                    </a:lnTo>
                    <a:lnTo>
                      <a:pt x="3391004" y="1976780"/>
                    </a:lnTo>
                    <a:cubicBezTo>
                      <a:pt x="3390070" y="1977618"/>
                      <a:pt x="3389175" y="1978513"/>
                      <a:pt x="3388337" y="1979447"/>
                    </a:cubicBezTo>
                    <a:cubicBezTo>
                      <a:pt x="3387956" y="1979866"/>
                      <a:pt x="3387613" y="1980314"/>
                      <a:pt x="3387289" y="1980780"/>
                    </a:cubicBezTo>
                    <a:lnTo>
                      <a:pt x="3384908" y="1983638"/>
                    </a:lnTo>
                    <a:cubicBezTo>
                      <a:pt x="3384527" y="1984152"/>
                      <a:pt x="3384174" y="1984695"/>
                      <a:pt x="3383860" y="1985257"/>
                    </a:cubicBezTo>
                    <a:lnTo>
                      <a:pt x="3381955" y="1988115"/>
                    </a:lnTo>
                    <a:lnTo>
                      <a:pt x="3380812" y="1990115"/>
                    </a:lnTo>
                    <a:lnTo>
                      <a:pt x="3379478" y="1992782"/>
                    </a:lnTo>
                    <a:cubicBezTo>
                      <a:pt x="3379040" y="1993582"/>
                      <a:pt x="3378659" y="1994411"/>
                      <a:pt x="3378335" y="1995258"/>
                    </a:cubicBezTo>
                    <a:lnTo>
                      <a:pt x="3377288" y="1997735"/>
                    </a:lnTo>
                    <a:lnTo>
                      <a:pt x="3376430" y="2000402"/>
                    </a:lnTo>
                    <a:cubicBezTo>
                      <a:pt x="3376135" y="2001250"/>
                      <a:pt x="3375878" y="2002107"/>
                      <a:pt x="3375668" y="2002974"/>
                    </a:cubicBezTo>
                    <a:lnTo>
                      <a:pt x="3375097" y="2005641"/>
                    </a:lnTo>
                    <a:lnTo>
                      <a:pt x="3374525" y="2008498"/>
                    </a:lnTo>
                    <a:lnTo>
                      <a:pt x="3374525" y="2010879"/>
                    </a:lnTo>
                    <a:cubicBezTo>
                      <a:pt x="3374430" y="2012022"/>
                      <a:pt x="3374430" y="2013165"/>
                      <a:pt x="3374525" y="2014308"/>
                    </a:cubicBezTo>
                    <a:cubicBezTo>
                      <a:pt x="3374478" y="2014947"/>
                      <a:pt x="3374478" y="2015575"/>
                      <a:pt x="3374525" y="2016213"/>
                    </a:cubicBezTo>
                    <a:lnTo>
                      <a:pt x="3374525" y="2020214"/>
                    </a:lnTo>
                    <a:cubicBezTo>
                      <a:pt x="3374525" y="2020214"/>
                      <a:pt x="3374525" y="2020214"/>
                      <a:pt x="3374525" y="2020976"/>
                    </a:cubicBezTo>
                    <a:cubicBezTo>
                      <a:pt x="3375097" y="2030977"/>
                      <a:pt x="3375383" y="2040883"/>
                      <a:pt x="3375383" y="2051075"/>
                    </a:cubicBezTo>
                    <a:cubicBezTo>
                      <a:pt x="3375259" y="2315365"/>
                      <a:pt x="3160908" y="2529506"/>
                      <a:pt x="2896618" y="2529382"/>
                    </a:cubicBezTo>
                    <a:cubicBezTo>
                      <a:pt x="2773308" y="2529325"/>
                      <a:pt x="2654788" y="2481672"/>
                      <a:pt x="2565758" y="2396356"/>
                    </a:cubicBezTo>
                    <a:cubicBezTo>
                      <a:pt x="2649225" y="2316413"/>
                      <a:pt x="2712043" y="2217410"/>
                      <a:pt x="2748828" y="2107844"/>
                    </a:cubicBezTo>
                    <a:lnTo>
                      <a:pt x="2848460" y="2107844"/>
                    </a:lnTo>
                    <a:cubicBezTo>
                      <a:pt x="2976209" y="2105253"/>
                      <a:pt x="3077669" y="1999583"/>
                      <a:pt x="3075078" y="1871833"/>
                    </a:cubicBezTo>
                    <a:cubicBezTo>
                      <a:pt x="3072564" y="1747732"/>
                      <a:pt x="2972561" y="1647729"/>
                      <a:pt x="2848460" y="1645215"/>
                    </a:cubicBezTo>
                    <a:lnTo>
                      <a:pt x="2787976" y="1645215"/>
                    </a:lnTo>
                    <a:lnTo>
                      <a:pt x="2787976" y="1338510"/>
                    </a:lnTo>
                    <a:cubicBezTo>
                      <a:pt x="2791615" y="1307153"/>
                      <a:pt x="2769145" y="1278788"/>
                      <a:pt x="2737798" y="1275149"/>
                    </a:cubicBezTo>
                    <a:cubicBezTo>
                      <a:pt x="2706442" y="1271511"/>
                      <a:pt x="2678076" y="1293980"/>
                      <a:pt x="2674438" y="1325337"/>
                    </a:cubicBezTo>
                    <a:cubicBezTo>
                      <a:pt x="2673933" y="1329709"/>
                      <a:pt x="2673933" y="1334128"/>
                      <a:pt x="2674438" y="1338510"/>
                    </a:cubicBezTo>
                    <a:cubicBezTo>
                      <a:pt x="2674438" y="1422682"/>
                      <a:pt x="2606210" y="1490910"/>
                      <a:pt x="2522038" y="1490910"/>
                    </a:cubicBezTo>
                    <a:cubicBezTo>
                      <a:pt x="2437866" y="1490910"/>
                      <a:pt x="2369638" y="1422682"/>
                      <a:pt x="2369638" y="1338510"/>
                    </a:cubicBezTo>
                    <a:cubicBezTo>
                      <a:pt x="2373276" y="1307153"/>
                      <a:pt x="2350807" y="1278788"/>
                      <a:pt x="2319460" y="1275149"/>
                    </a:cubicBezTo>
                    <a:cubicBezTo>
                      <a:pt x="2288104" y="1271511"/>
                      <a:pt x="2259739" y="1293980"/>
                      <a:pt x="2256100" y="1325337"/>
                    </a:cubicBezTo>
                    <a:cubicBezTo>
                      <a:pt x="2255595" y="1329709"/>
                      <a:pt x="2255595" y="1334128"/>
                      <a:pt x="2256100" y="1338510"/>
                    </a:cubicBezTo>
                    <a:cubicBezTo>
                      <a:pt x="2256100" y="1422682"/>
                      <a:pt x="2187872" y="1490910"/>
                      <a:pt x="2103700" y="1490910"/>
                    </a:cubicBezTo>
                    <a:cubicBezTo>
                      <a:pt x="2019527" y="1490910"/>
                      <a:pt x="1951300" y="1422682"/>
                      <a:pt x="1951300" y="1338510"/>
                    </a:cubicBezTo>
                    <a:cubicBezTo>
                      <a:pt x="1947899" y="1307134"/>
                      <a:pt x="1919696" y="1284455"/>
                      <a:pt x="1888321" y="1287856"/>
                    </a:cubicBezTo>
                    <a:cubicBezTo>
                      <a:pt x="1861632" y="1290751"/>
                      <a:pt x="1840562" y="1311830"/>
                      <a:pt x="1837667" y="1338510"/>
                    </a:cubicBezTo>
                    <a:cubicBezTo>
                      <a:pt x="1837667" y="1422682"/>
                      <a:pt x="1769439" y="1490910"/>
                      <a:pt x="1685267" y="1490910"/>
                    </a:cubicBezTo>
                    <a:cubicBezTo>
                      <a:pt x="1601094" y="1490910"/>
                      <a:pt x="1532867" y="1422682"/>
                      <a:pt x="1532867" y="1338510"/>
                    </a:cubicBezTo>
                    <a:cubicBezTo>
                      <a:pt x="1529466" y="1307134"/>
                      <a:pt x="1501263" y="1284455"/>
                      <a:pt x="1469887" y="1287856"/>
                    </a:cubicBezTo>
                    <a:cubicBezTo>
                      <a:pt x="1443198" y="1290751"/>
                      <a:pt x="1422129" y="1311830"/>
                      <a:pt x="1419233" y="1338510"/>
                    </a:cubicBezTo>
                    <a:cubicBezTo>
                      <a:pt x="1418652" y="1422672"/>
                      <a:pt x="1349949" y="1490433"/>
                      <a:pt x="1265776" y="1489852"/>
                    </a:cubicBezTo>
                    <a:cubicBezTo>
                      <a:pt x="1191938" y="1489338"/>
                      <a:pt x="1129092" y="1435960"/>
                      <a:pt x="1116624" y="1363179"/>
                    </a:cubicBezTo>
                    <a:lnTo>
                      <a:pt x="1116624" y="1338510"/>
                    </a:lnTo>
                    <a:cubicBezTo>
                      <a:pt x="1116624" y="1306944"/>
                      <a:pt x="1091040" y="1281360"/>
                      <a:pt x="1059474" y="1281360"/>
                    </a:cubicBezTo>
                    <a:lnTo>
                      <a:pt x="1057283" y="1281360"/>
                    </a:lnTo>
                    <a:cubicBezTo>
                      <a:pt x="1025717" y="1281360"/>
                      <a:pt x="1000133" y="1306944"/>
                      <a:pt x="1000133" y="1338510"/>
                    </a:cubicBezTo>
                    <a:cubicBezTo>
                      <a:pt x="1000191" y="1349692"/>
                      <a:pt x="1000914" y="1360855"/>
                      <a:pt x="1002324" y="1371942"/>
                    </a:cubicBezTo>
                    <a:lnTo>
                      <a:pt x="1002324" y="1645595"/>
                    </a:lnTo>
                    <a:lnTo>
                      <a:pt x="941840" y="1645595"/>
                    </a:lnTo>
                    <a:cubicBezTo>
                      <a:pt x="814091" y="1648186"/>
                      <a:pt x="712631" y="1753857"/>
                      <a:pt x="715222" y="1881606"/>
                    </a:cubicBezTo>
                    <a:cubicBezTo>
                      <a:pt x="717736" y="2005707"/>
                      <a:pt x="817739" y="2105710"/>
                      <a:pt x="941840" y="2108225"/>
                    </a:cubicBezTo>
                    <a:lnTo>
                      <a:pt x="1041472" y="2108225"/>
                    </a:lnTo>
                    <a:cubicBezTo>
                      <a:pt x="1079400" y="2220972"/>
                      <a:pt x="1144875" y="2322471"/>
                      <a:pt x="1231972" y="2403500"/>
                    </a:cubicBezTo>
                    <a:cubicBezTo>
                      <a:pt x="1070514" y="2554319"/>
                      <a:pt x="817368" y="2545698"/>
                      <a:pt x="666539" y="2384240"/>
                    </a:cubicBezTo>
                    <a:cubicBezTo>
                      <a:pt x="597073" y="2309869"/>
                      <a:pt x="558554" y="2211809"/>
                      <a:pt x="558840" y="2110035"/>
                    </a:cubicBezTo>
                    <a:cubicBezTo>
                      <a:pt x="558488" y="2077630"/>
                      <a:pt x="562393" y="2045312"/>
                      <a:pt x="570461" y="2013927"/>
                    </a:cubicBezTo>
                    <a:cubicBezTo>
                      <a:pt x="570461" y="2013927"/>
                      <a:pt x="570461" y="2013451"/>
                      <a:pt x="570461" y="2013165"/>
                    </a:cubicBezTo>
                    <a:lnTo>
                      <a:pt x="571032" y="2010594"/>
                    </a:lnTo>
                    <a:cubicBezTo>
                      <a:pt x="571032" y="2009546"/>
                      <a:pt x="571032" y="2008593"/>
                      <a:pt x="571508" y="2007641"/>
                    </a:cubicBezTo>
                    <a:lnTo>
                      <a:pt x="571508" y="2007641"/>
                    </a:lnTo>
                    <a:cubicBezTo>
                      <a:pt x="571461" y="2007193"/>
                      <a:pt x="571461" y="2006755"/>
                      <a:pt x="571508" y="2006307"/>
                    </a:cubicBezTo>
                    <a:cubicBezTo>
                      <a:pt x="571508" y="2004974"/>
                      <a:pt x="571508" y="2003545"/>
                      <a:pt x="571508" y="2002116"/>
                    </a:cubicBezTo>
                    <a:lnTo>
                      <a:pt x="571508" y="2000402"/>
                    </a:lnTo>
                    <a:cubicBezTo>
                      <a:pt x="571508" y="1999164"/>
                      <a:pt x="571508" y="1997830"/>
                      <a:pt x="571508" y="1996497"/>
                    </a:cubicBezTo>
                    <a:cubicBezTo>
                      <a:pt x="571556" y="1995801"/>
                      <a:pt x="571556" y="1995096"/>
                      <a:pt x="571508" y="1994401"/>
                    </a:cubicBezTo>
                    <a:cubicBezTo>
                      <a:pt x="571508" y="1993258"/>
                      <a:pt x="571508" y="1992210"/>
                      <a:pt x="571508" y="1991067"/>
                    </a:cubicBezTo>
                    <a:lnTo>
                      <a:pt x="570937" y="1988495"/>
                    </a:lnTo>
                    <a:cubicBezTo>
                      <a:pt x="570937" y="1987543"/>
                      <a:pt x="570937" y="1986686"/>
                      <a:pt x="570365" y="1985733"/>
                    </a:cubicBezTo>
                    <a:lnTo>
                      <a:pt x="569508" y="1982876"/>
                    </a:lnTo>
                    <a:cubicBezTo>
                      <a:pt x="569508" y="1982114"/>
                      <a:pt x="569508" y="1981352"/>
                      <a:pt x="568746" y="1980590"/>
                    </a:cubicBezTo>
                    <a:lnTo>
                      <a:pt x="567603" y="1977637"/>
                    </a:lnTo>
                    <a:cubicBezTo>
                      <a:pt x="567251" y="1976961"/>
                      <a:pt x="566927" y="1976256"/>
                      <a:pt x="566651" y="1975542"/>
                    </a:cubicBezTo>
                    <a:cubicBezTo>
                      <a:pt x="566651" y="1974589"/>
                      <a:pt x="565698" y="1973637"/>
                      <a:pt x="565127" y="1972684"/>
                    </a:cubicBezTo>
                    <a:cubicBezTo>
                      <a:pt x="564812" y="1971998"/>
                      <a:pt x="564469" y="1971332"/>
                      <a:pt x="564079" y="1970684"/>
                    </a:cubicBezTo>
                    <a:lnTo>
                      <a:pt x="562364" y="1968207"/>
                    </a:lnTo>
                    <a:cubicBezTo>
                      <a:pt x="562364" y="1967541"/>
                      <a:pt x="561507" y="1966779"/>
                      <a:pt x="561031" y="1966207"/>
                    </a:cubicBezTo>
                    <a:cubicBezTo>
                      <a:pt x="560555" y="1965636"/>
                      <a:pt x="559793" y="1964683"/>
                      <a:pt x="559221" y="1963921"/>
                    </a:cubicBezTo>
                    <a:lnTo>
                      <a:pt x="557507" y="1961921"/>
                    </a:lnTo>
                    <a:lnTo>
                      <a:pt x="555602" y="1959920"/>
                    </a:lnTo>
                    <a:lnTo>
                      <a:pt x="553697" y="1958016"/>
                    </a:lnTo>
                    <a:lnTo>
                      <a:pt x="551506" y="1956206"/>
                    </a:lnTo>
                    <a:cubicBezTo>
                      <a:pt x="550849" y="1955615"/>
                      <a:pt x="550153" y="1955072"/>
                      <a:pt x="549410" y="1954587"/>
                    </a:cubicBezTo>
                    <a:cubicBezTo>
                      <a:pt x="548658" y="1953958"/>
                      <a:pt x="547858" y="1953386"/>
                      <a:pt x="547029" y="1952872"/>
                    </a:cubicBezTo>
                    <a:lnTo>
                      <a:pt x="544362" y="1951062"/>
                    </a:lnTo>
                    <a:lnTo>
                      <a:pt x="541600" y="1949538"/>
                    </a:lnTo>
                    <a:lnTo>
                      <a:pt x="539409" y="1948395"/>
                    </a:lnTo>
                    <a:lnTo>
                      <a:pt x="536361" y="1947157"/>
                    </a:lnTo>
                    <a:lnTo>
                      <a:pt x="534266" y="1946205"/>
                    </a:lnTo>
                    <a:lnTo>
                      <a:pt x="531122" y="1945252"/>
                    </a:lnTo>
                    <a:lnTo>
                      <a:pt x="529122" y="1944681"/>
                    </a:lnTo>
                    <a:lnTo>
                      <a:pt x="529122" y="1944681"/>
                    </a:lnTo>
                    <a:lnTo>
                      <a:pt x="527312" y="1944681"/>
                    </a:lnTo>
                    <a:lnTo>
                      <a:pt x="522740" y="1943823"/>
                    </a:lnTo>
                    <a:cubicBezTo>
                      <a:pt x="263828" y="1909048"/>
                      <a:pt x="82127" y="1670970"/>
                      <a:pt x="116901" y="1412062"/>
                    </a:cubicBezTo>
                    <a:cubicBezTo>
                      <a:pt x="147790" y="1182061"/>
                      <a:pt x="340963" y="1008449"/>
                      <a:pt x="572937" y="1002182"/>
                    </a:cubicBezTo>
                    <a:cubicBezTo>
                      <a:pt x="577147" y="1002048"/>
                      <a:pt x="581329" y="1001477"/>
                      <a:pt x="585415" y="1000467"/>
                    </a:cubicBezTo>
                    <a:lnTo>
                      <a:pt x="585415" y="1000467"/>
                    </a:lnTo>
                    <a:cubicBezTo>
                      <a:pt x="587206" y="1000077"/>
                      <a:pt x="588958" y="999534"/>
                      <a:pt x="590654" y="998848"/>
                    </a:cubicBezTo>
                    <a:lnTo>
                      <a:pt x="591511" y="998848"/>
                    </a:lnTo>
                    <a:lnTo>
                      <a:pt x="595797" y="997038"/>
                    </a:lnTo>
                    <a:lnTo>
                      <a:pt x="597226" y="996276"/>
                    </a:lnTo>
                    <a:lnTo>
                      <a:pt x="600560" y="994467"/>
                    </a:lnTo>
                    <a:lnTo>
                      <a:pt x="602369" y="993228"/>
                    </a:lnTo>
                    <a:lnTo>
                      <a:pt x="605036" y="991514"/>
                    </a:lnTo>
                    <a:lnTo>
                      <a:pt x="606941" y="989895"/>
                    </a:lnTo>
                    <a:cubicBezTo>
                      <a:pt x="607760" y="989333"/>
                      <a:pt x="608532" y="988694"/>
                      <a:pt x="609227" y="987990"/>
                    </a:cubicBezTo>
                    <a:lnTo>
                      <a:pt x="611037" y="986275"/>
                    </a:lnTo>
                    <a:lnTo>
                      <a:pt x="613133" y="984180"/>
                    </a:lnTo>
                    <a:cubicBezTo>
                      <a:pt x="613704" y="983608"/>
                      <a:pt x="614180" y="982941"/>
                      <a:pt x="614657" y="982370"/>
                    </a:cubicBezTo>
                    <a:lnTo>
                      <a:pt x="616752" y="979893"/>
                    </a:lnTo>
                    <a:lnTo>
                      <a:pt x="617895" y="978274"/>
                    </a:lnTo>
                    <a:cubicBezTo>
                      <a:pt x="618562" y="977226"/>
                      <a:pt x="619229" y="976274"/>
                      <a:pt x="619800" y="975226"/>
                    </a:cubicBezTo>
                    <a:lnTo>
                      <a:pt x="620657" y="973797"/>
                    </a:lnTo>
                    <a:cubicBezTo>
                      <a:pt x="621324" y="972654"/>
                      <a:pt x="621896" y="971607"/>
                      <a:pt x="622467" y="970368"/>
                    </a:cubicBezTo>
                    <a:lnTo>
                      <a:pt x="623039" y="969035"/>
                    </a:lnTo>
                    <a:cubicBezTo>
                      <a:pt x="623629" y="967835"/>
                      <a:pt x="624134" y="966587"/>
                      <a:pt x="624563" y="965320"/>
                    </a:cubicBezTo>
                    <a:cubicBezTo>
                      <a:pt x="624601" y="964844"/>
                      <a:pt x="624601" y="964368"/>
                      <a:pt x="624563" y="963891"/>
                    </a:cubicBezTo>
                    <a:cubicBezTo>
                      <a:pt x="624563" y="962653"/>
                      <a:pt x="625420" y="961415"/>
                      <a:pt x="625801" y="960177"/>
                    </a:cubicBezTo>
                    <a:cubicBezTo>
                      <a:pt x="625753" y="959605"/>
                      <a:pt x="625753" y="959034"/>
                      <a:pt x="625801" y="958462"/>
                    </a:cubicBezTo>
                    <a:cubicBezTo>
                      <a:pt x="625801" y="957224"/>
                      <a:pt x="625801" y="956081"/>
                      <a:pt x="626468" y="954747"/>
                    </a:cubicBezTo>
                    <a:cubicBezTo>
                      <a:pt x="626515" y="954081"/>
                      <a:pt x="626515" y="953414"/>
                      <a:pt x="626468" y="952747"/>
                    </a:cubicBezTo>
                    <a:cubicBezTo>
                      <a:pt x="626468" y="951604"/>
                      <a:pt x="626468" y="950461"/>
                      <a:pt x="626468" y="949223"/>
                    </a:cubicBezTo>
                    <a:lnTo>
                      <a:pt x="626468" y="947127"/>
                    </a:lnTo>
                    <a:cubicBezTo>
                      <a:pt x="626468" y="946175"/>
                      <a:pt x="626468" y="945222"/>
                      <a:pt x="626468" y="944270"/>
                    </a:cubicBezTo>
                    <a:cubicBezTo>
                      <a:pt x="626468" y="943317"/>
                      <a:pt x="626468" y="943698"/>
                      <a:pt x="626468" y="943508"/>
                    </a:cubicBezTo>
                    <a:cubicBezTo>
                      <a:pt x="626515" y="943003"/>
                      <a:pt x="626515" y="942489"/>
                      <a:pt x="626468" y="941984"/>
                    </a:cubicBezTo>
                    <a:cubicBezTo>
                      <a:pt x="626468" y="940460"/>
                      <a:pt x="626468" y="939031"/>
                      <a:pt x="626468" y="937602"/>
                    </a:cubicBezTo>
                    <a:cubicBezTo>
                      <a:pt x="626468" y="936174"/>
                      <a:pt x="626468" y="937602"/>
                      <a:pt x="626468" y="936936"/>
                    </a:cubicBezTo>
                    <a:cubicBezTo>
                      <a:pt x="626468" y="935221"/>
                      <a:pt x="625896" y="933602"/>
                      <a:pt x="625515" y="932078"/>
                    </a:cubicBezTo>
                    <a:lnTo>
                      <a:pt x="625515" y="932078"/>
                    </a:lnTo>
                    <a:cubicBezTo>
                      <a:pt x="614304" y="890063"/>
                      <a:pt x="608570" y="846781"/>
                      <a:pt x="608465" y="803300"/>
                    </a:cubicBezTo>
                    <a:cubicBezTo>
                      <a:pt x="608837" y="507864"/>
                      <a:pt x="848238" y="268458"/>
                      <a:pt x="1143675" y="268090"/>
                    </a:cubicBezTo>
                    <a:cubicBezTo>
                      <a:pt x="1283959" y="267482"/>
                      <a:pt x="1418738" y="322607"/>
                      <a:pt x="1518389" y="421347"/>
                    </a:cubicBezTo>
                    <a:cubicBezTo>
                      <a:pt x="1518884" y="421873"/>
                      <a:pt x="1519427" y="422351"/>
                      <a:pt x="1520008" y="422776"/>
                    </a:cubicBezTo>
                    <a:cubicBezTo>
                      <a:pt x="1520532" y="423333"/>
                      <a:pt x="1521103" y="423844"/>
                      <a:pt x="1521722" y="424300"/>
                    </a:cubicBezTo>
                    <a:lnTo>
                      <a:pt x="1524675" y="426681"/>
                    </a:lnTo>
                    <a:lnTo>
                      <a:pt x="1526009" y="427634"/>
                    </a:lnTo>
                    <a:lnTo>
                      <a:pt x="1529723" y="430015"/>
                    </a:lnTo>
                    <a:lnTo>
                      <a:pt x="1530390" y="430015"/>
                    </a:lnTo>
                    <a:lnTo>
                      <a:pt x="1530390" y="430015"/>
                    </a:lnTo>
                    <a:lnTo>
                      <a:pt x="1534105" y="431825"/>
                    </a:lnTo>
                    <a:lnTo>
                      <a:pt x="1535724" y="432587"/>
                    </a:lnTo>
                    <a:lnTo>
                      <a:pt x="1538867" y="433825"/>
                    </a:lnTo>
                    <a:lnTo>
                      <a:pt x="1541249" y="434587"/>
                    </a:lnTo>
                    <a:lnTo>
                      <a:pt x="1543630" y="435254"/>
                    </a:lnTo>
                    <a:lnTo>
                      <a:pt x="1546773" y="436016"/>
                    </a:lnTo>
                    <a:lnTo>
                      <a:pt x="1548678" y="436016"/>
                    </a:lnTo>
                    <a:lnTo>
                      <a:pt x="1554012" y="436587"/>
                    </a:lnTo>
                    <a:lnTo>
                      <a:pt x="1561251" y="436587"/>
                    </a:lnTo>
                    <a:lnTo>
                      <a:pt x="1564775" y="436587"/>
                    </a:lnTo>
                    <a:lnTo>
                      <a:pt x="1566966" y="436587"/>
                    </a:lnTo>
                    <a:lnTo>
                      <a:pt x="1570109" y="436587"/>
                    </a:lnTo>
                    <a:lnTo>
                      <a:pt x="1572776" y="436016"/>
                    </a:lnTo>
                    <a:lnTo>
                      <a:pt x="1575348" y="435349"/>
                    </a:lnTo>
                    <a:lnTo>
                      <a:pt x="1578206" y="434397"/>
                    </a:lnTo>
                    <a:lnTo>
                      <a:pt x="1580396" y="433635"/>
                    </a:lnTo>
                    <a:lnTo>
                      <a:pt x="1583349" y="432301"/>
                    </a:lnTo>
                    <a:lnTo>
                      <a:pt x="1585445" y="431349"/>
                    </a:lnTo>
                    <a:lnTo>
                      <a:pt x="1588207" y="429825"/>
                    </a:lnTo>
                    <a:lnTo>
                      <a:pt x="1590302" y="428586"/>
                    </a:lnTo>
                    <a:cubicBezTo>
                      <a:pt x="1591169" y="428038"/>
                      <a:pt x="1591998" y="427433"/>
                      <a:pt x="1592779" y="426777"/>
                    </a:cubicBezTo>
                    <a:lnTo>
                      <a:pt x="1594874" y="425348"/>
                    </a:lnTo>
                    <a:lnTo>
                      <a:pt x="1597256" y="423252"/>
                    </a:lnTo>
                    <a:lnTo>
                      <a:pt x="1599065" y="421633"/>
                    </a:lnTo>
                    <a:lnTo>
                      <a:pt x="1600018" y="420776"/>
                    </a:lnTo>
                    <a:lnTo>
                      <a:pt x="1601447" y="419157"/>
                    </a:lnTo>
                    <a:lnTo>
                      <a:pt x="1602875" y="417537"/>
                    </a:lnTo>
                    <a:cubicBezTo>
                      <a:pt x="1603723" y="416563"/>
                      <a:pt x="1604514" y="415546"/>
                      <a:pt x="1605257" y="414489"/>
                    </a:cubicBezTo>
                    <a:lnTo>
                      <a:pt x="1606209" y="413156"/>
                    </a:lnTo>
                    <a:cubicBezTo>
                      <a:pt x="1607066" y="411961"/>
                      <a:pt x="1607867" y="410722"/>
                      <a:pt x="1608590" y="409441"/>
                    </a:cubicBezTo>
                    <a:lnTo>
                      <a:pt x="1609067" y="408774"/>
                    </a:lnTo>
                    <a:cubicBezTo>
                      <a:pt x="1766420" y="129897"/>
                      <a:pt x="2120054" y="31384"/>
                      <a:pt x="2398937" y="188738"/>
                    </a:cubicBezTo>
                    <a:cubicBezTo>
                      <a:pt x="2538545" y="267514"/>
                      <a:pt x="2639310" y="400577"/>
                      <a:pt x="2677295" y="556317"/>
                    </a:cubicBezTo>
                    <a:cubicBezTo>
                      <a:pt x="2677324" y="556538"/>
                      <a:pt x="2677324" y="556762"/>
                      <a:pt x="2677295" y="556983"/>
                    </a:cubicBezTo>
                    <a:cubicBezTo>
                      <a:pt x="2678019" y="559882"/>
                      <a:pt x="2678972" y="562716"/>
                      <a:pt x="2680153" y="565461"/>
                    </a:cubicBezTo>
                    <a:cubicBezTo>
                      <a:pt x="2680153" y="565461"/>
                      <a:pt x="2680153" y="565461"/>
                      <a:pt x="2680153" y="565461"/>
                    </a:cubicBezTo>
                    <a:cubicBezTo>
                      <a:pt x="2681286" y="567961"/>
                      <a:pt x="2682591" y="570380"/>
                      <a:pt x="2684058" y="572700"/>
                    </a:cubicBezTo>
                    <a:lnTo>
                      <a:pt x="2685201" y="574509"/>
                    </a:lnTo>
                    <a:cubicBezTo>
                      <a:pt x="2686449" y="576372"/>
                      <a:pt x="2687821" y="578154"/>
                      <a:pt x="2689297" y="579843"/>
                    </a:cubicBezTo>
                    <a:lnTo>
                      <a:pt x="2689964" y="580605"/>
                    </a:lnTo>
                    <a:lnTo>
                      <a:pt x="2691392" y="582129"/>
                    </a:lnTo>
                    <a:cubicBezTo>
                      <a:pt x="2693097" y="583958"/>
                      <a:pt x="2694945" y="585647"/>
                      <a:pt x="2696917" y="587178"/>
                    </a:cubicBezTo>
                    <a:lnTo>
                      <a:pt x="2697488" y="587654"/>
                    </a:lnTo>
                    <a:cubicBezTo>
                      <a:pt x="2699651" y="589321"/>
                      <a:pt x="2701946" y="590818"/>
                      <a:pt x="2704346" y="592131"/>
                    </a:cubicBezTo>
                    <a:lnTo>
                      <a:pt x="2705775" y="592988"/>
                    </a:lnTo>
                    <a:cubicBezTo>
                      <a:pt x="2708109" y="594212"/>
                      <a:pt x="2710528" y="595262"/>
                      <a:pt x="2713014" y="596131"/>
                    </a:cubicBezTo>
                    <a:cubicBezTo>
                      <a:pt x="2713595" y="596378"/>
                      <a:pt x="2714205" y="596569"/>
                      <a:pt x="2714824" y="596703"/>
                    </a:cubicBezTo>
                    <a:cubicBezTo>
                      <a:pt x="2717129" y="597482"/>
                      <a:pt x="2719482" y="598118"/>
                      <a:pt x="2721872" y="598608"/>
                    </a:cubicBezTo>
                    <a:lnTo>
                      <a:pt x="2723777" y="598608"/>
                    </a:lnTo>
                    <a:cubicBezTo>
                      <a:pt x="2726111" y="598940"/>
                      <a:pt x="2728464" y="599130"/>
                      <a:pt x="2730826" y="599179"/>
                    </a:cubicBezTo>
                    <a:lnTo>
                      <a:pt x="2733207" y="599179"/>
                    </a:lnTo>
                    <a:lnTo>
                      <a:pt x="2735588" y="599179"/>
                    </a:lnTo>
                    <a:cubicBezTo>
                      <a:pt x="2737408" y="599083"/>
                      <a:pt x="2739217" y="598892"/>
                      <a:pt x="2741018" y="598608"/>
                    </a:cubicBezTo>
                    <a:lnTo>
                      <a:pt x="2744637" y="598512"/>
                    </a:lnTo>
                    <a:lnTo>
                      <a:pt x="2745304" y="598512"/>
                    </a:lnTo>
                    <a:lnTo>
                      <a:pt x="2747971" y="597750"/>
                    </a:lnTo>
                    <a:lnTo>
                      <a:pt x="2750067" y="597179"/>
                    </a:lnTo>
                    <a:lnTo>
                      <a:pt x="2753305" y="595941"/>
                    </a:lnTo>
                    <a:lnTo>
                      <a:pt x="2755305" y="595083"/>
                    </a:lnTo>
                    <a:lnTo>
                      <a:pt x="2758639" y="593464"/>
                    </a:lnTo>
                    <a:lnTo>
                      <a:pt x="2760258" y="592607"/>
                    </a:lnTo>
                    <a:lnTo>
                      <a:pt x="2763687" y="590511"/>
                    </a:lnTo>
                    <a:cubicBezTo>
                      <a:pt x="2764116" y="590171"/>
                      <a:pt x="2764564" y="589854"/>
                      <a:pt x="2765021" y="589559"/>
                    </a:cubicBezTo>
                    <a:cubicBezTo>
                      <a:pt x="2766164" y="588784"/>
                      <a:pt x="2767249" y="587924"/>
                      <a:pt x="2768259" y="586987"/>
                    </a:cubicBezTo>
                    <a:cubicBezTo>
                      <a:pt x="2768621" y="586787"/>
                      <a:pt x="2768935" y="586530"/>
                      <a:pt x="2769212" y="586225"/>
                    </a:cubicBezTo>
                    <a:cubicBezTo>
                      <a:pt x="2919354" y="456975"/>
                      <a:pt x="3145840" y="473909"/>
                      <a:pt x="3275094" y="624049"/>
                    </a:cubicBezTo>
                    <a:cubicBezTo>
                      <a:pt x="3331130" y="689142"/>
                      <a:pt x="3361952" y="772179"/>
                      <a:pt x="3361952" y="858069"/>
                    </a:cubicBezTo>
                    <a:cubicBezTo>
                      <a:pt x="3362552" y="955090"/>
                      <a:pt x="3323214" y="1048092"/>
                      <a:pt x="3253177" y="1115244"/>
                    </a:cubicBezTo>
                    <a:cubicBezTo>
                      <a:pt x="3230746" y="1137446"/>
                      <a:pt x="3230555" y="1173632"/>
                      <a:pt x="3252758" y="1196063"/>
                    </a:cubicBezTo>
                    <a:cubicBezTo>
                      <a:pt x="3262245" y="1205645"/>
                      <a:pt x="3274808" y="1211560"/>
                      <a:pt x="3288229" y="1212780"/>
                    </a:cubicBezTo>
                    <a:lnTo>
                      <a:pt x="3288705" y="1212780"/>
                    </a:lnTo>
                    <a:cubicBezTo>
                      <a:pt x="3489425" y="1232106"/>
                      <a:pt x="3642435" y="1401079"/>
                      <a:pt x="3641797" y="1602733"/>
                    </a:cubicBezTo>
                    <a:cubicBezTo>
                      <a:pt x="3641073" y="1759067"/>
                      <a:pt x="3549633" y="1900751"/>
                      <a:pt x="3407482" y="1965826"/>
                    </a:cubicBezTo>
                    <a:close/>
                    <a:moveTo>
                      <a:pt x="2776355" y="1994020"/>
                    </a:moveTo>
                    <a:cubicBezTo>
                      <a:pt x="2783471" y="1952072"/>
                      <a:pt x="2787042" y="1909600"/>
                      <a:pt x="2787024" y="1867052"/>
                    </a:cubicBezTo>
                    <a:lnTo>
                      <a:pt x="2787024" y="1759134"/>
                    </a:lnTo>
                    <a:lnTo>
                      <a:pt x="2847507" y="1759134"/>
                    </a:lnTo>
                    <a:cubicBezTo>
                      <a:pt x="2912525" y="1759134"/>
                      <a:pt x="2965236" y="1811845"/>
                      <a:pt x="2965236" y="1876863"/>
                    </a:cubicBezTo>
                    <a:cubicBezTo>
                      <a:pt x="2965236" y="1941880"/>
                      <a:pt x="2912525" y="1994592"/>
                      <a:pt x="2847507" y="1994592"/>
                    </a:cubicBezTo>
                    <a:close/>
                    <a:moveTo>
                      <a:pt x="1012516" y="1994020"/>
                    </a:moveTo>
                    <a:lnTo>
                      <a:pt x="941364" y="1994020"/>
                    </a:lnTo>
                    <a:cubicBezTo>
                      <a:pt x="876346" y="1994020"/>
                      <a:pt x="823635" y="1941309"/>
                      <a:pt x="823635" y="1876291"/>
                    </a:cubicBezTo>
                    <a:cubicBezTo>
                      <a:pt x="823635" y="1811273"/>
                      <a:pt x="876346" y="1758562"/>
                      <a:pt x="941364" y="1758562"/>
                    </a:cubicBezTo>
                    <a:lnTo>
                      <a:pt x="1001562" y="1758562"/>
                    </a:lnTo>
                    <a:lnTo>
                      <a:pt x="1001562" y="1867052"/>
                    </a:lnTo>
                    <a:cubicBezTo>
                      <a:pt x="1001543" y="1909791"/>
                      <a:pt x="1005144" y="1952463"/>
                      <a:pt x="1012325" y="199459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5" name="Freeform 21">
                <a:extLst>
                  <a:ext uri="{FF2B5EF4-FFF2-40B4-BE49-F238E27FC236}">
                    <a16:creationId xmlns:a16="http://schemas.microsoft.com/office/drawing/2014/main" id="{1E74549D-3E1E-E494-DF92-659E4847C002}"/>
                  </a:ext>
                </a:extLst>
              </p:cNvPr>
              <p:cNvSpPr/>
              <p:nvPr/>
            </p:nvSpPr>
            <p:spPr>
              <a:xfrm>
                <a:off x="12502091" y="735985"/>
                <a:ext cx="1783245" cy="507341"/>
              </a:xfrm>
              <a:custGeom>
                <a:avLst/>
                <a:gdLst>
                  <a:gd name="connsiteX0" fmla="*/ 1762496 w 1783245"/>
                  <a:gd name="connsiteY0" fmla="*/ 405025 h 507341"/>
                  <a:gd name="connsiteX1" fmla="*/ 157962 w 1783245"/>
                  <a:gd name="connsiteY1" fmla="*/ 267913 h 507341"/>
                  <a:gd name="connsiteX2" fmla="*/ 20849 w 1783245"/>
                  <a:gd name="connsiteY2" fmla="*/ 405025 h 507341"/>
                  <a:gd name="connsiteX3" fmla="*/ 12467 w 1783245"/>
                  <a:gd name="connsiteY3" fmla="*/ 414550 h 507341"/>
                  <a:gd name="connsiteX4" fmla="*/ 21526 w 1783245"/>
                  <a:gd name="connsiteY4" fmla="*/ 494865 h 507341"/>
                  <a:gd name="connsiteX5" fmla="*/ 80000 w 1783245"/>
                  <a:gd name="connsiteY5" fmla="*/ 502561 h 507341"/>
                  <a:gd name="connsiteX6" fmla="*/ 88477 w 1783245"/>
                  <a:gd name="connsiteY6" fmla="*/ 498561 h 507341"/>
                  <a:gd name="connsiteX7" fmla="*/ 1694868 w 1783245"/>
                  <a:gd name="connsiteY7" fmla="*/ 498561 h 507341"/>
                  <a:gd name="connsiteX8" fmla="*/ 1703250 w 1783245"/>
                  <a:gd name="connsiteY8" fmla="*/ 502561 h 507341"/>
                  <a:gd name="connsiteX9" fmla="*/ 1778479 w 1783245"/>
                  <a:gd name="connsiteY9" fmla="*/ 473024 h 507341"/>
                  <a:gd name="connsiteX10" fmla="*/ 1770782 w 1783245"/>
                  <a:gd name="connsiteY10" fmla="*/ 414550 h 507341"/>
                  <a:gd name="connsiteX11" fmla="*/ 316886 w 1783245"/>
                  <a:gd name="connsiteY11" fmla="*/ 289678 h 507341"/>
                  <a:gd name="connsiteX12" fmla="*/ 1466363 w 1783245"/>
                  <a:gd name="connsiteY12" fmla="*/ 289678 h 507341"/>
                  <a:gd name="connsiteX13" fmla="*/ 316886 w 1783245"/>
                  <a:gd name="connsiteY13" fmla="*/ 289678 h 50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3245" h="507341">
                    <a:moveTo>
                      <a:pt x="1762496" y="405025"/>
                    </a:moveTo>
                    <a:cubicBezTo>
                      <a:pt x="1357274" y="-75917"/>
                      <a:pt x="638898" y="-137302"/>
                      <a:pt x="157962" y="267913"/>
                    </a:cubicBezTo>
                    <a:cubicBezTo>
                      <a:pt x="108441" y="309642"/>
                      <a:pt x="62569" y="355505"/>
                      <a:pt x="20849" y="405025"/>
                    </a:cubicBezTo>
                    <a:lnTo>
                      <a:pt x="12467" y="414550"/>
                    </a:lnTo>
                    <a:cubicBezTo>
                      <a:pt x="-7211" y="439230"/>
                      <a:pt x="-3154" y="475187"/>
                      <a:pt x="21526" y="494865"/>
                    </a:cubicBezTo>
                    <a:cubicBezTo>
                      <a:pt x="38090" y="508067"/>
                      <a:pt x="60588" y="511029"/>
                      <a:pt x="80000" y="502561"/>
                    </a:cubicBezTo>
                    <a:lnTo>
                      <a:pt x="88477" y="498561"/>
                    </a:lnTo>
                    <a:cubicBezTo>
                      <a:pt x="596845" y="257674"/>
                      <a:pt x="1186500" y="257674"/>
                      <a:pt x="1694868" y="498561"/>
                    </a:cubicBezTo>
                    <a:lnTo>
                      <a:pt x="1703250" y="502561"/>
                    </a:lnTo>
                    <a:cubicBezTo>
                      <a:pt x="1732178" y="515182"/>
                      <a:pt x="1765868" y="501952"/>
                      <a:pt x="1778479" y="473024"/>
                    </a:cubicBezTo>
                    <a:cubicBezTo>
                      <a:pt x="1786946" y="453612"/>
                      <a:pt x="1783984" y="431105"/>
                      <a:pt x="1770782" y="414550"/>
                    </a:cubicBezTo>
                    <a:close/>
                    <a:moveTo>
                      <a:pt x="316886" y="289678"/>
                    </a:moveTo>
                    <a:cubicBezTo>
                      <a:pt x="664111" y="54983"/>
                      <a:pt x="1119139" y="54983"/>
                      <a:pt x="1466363" y="289678"/>
                    </a:cubicBezTo>
                    <a:cubicBezTo>
                      <a:pt x="1091583" y="176333"/>
                      <a:pt x="691667" y="176333"/>
                      <a:pt x="316886" y="28967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6" name="Freeform 22">
                <a:extLst>
                  <a:ext uri="{FF2B5EF4-FFF2-40B4-BE49-F238E27FC236}">
                    <a16:creationId xmlns:a16="http://schemas.microsoft.com/office/drawing/2014/main" id="{EA214E10-9CFA-A5E1-0AB7-42105B4B6C63}"/>
                  </a:ext>
                </a:extLst>
              </p:cNvPr>
              <p:cNvSpPr/>
              <p:nvPr/>
            </p:nvSpPr>
            <p:spPr>
              <a:xfrm>
                <a:off x="13956523" y="3991647"/>
                <a:ext cx="564024" cy="114310"/>
              </a:xfrm>
              <a:custGeom>
                <a:avLst/>
                <a:gdLst>
                  <a:gd name="connsiteX0" fmla="*/ 500277 w 564024"/>
                  <a:gd name="connsiteY0" fmla="*/ 386 h 114310"/>
                  <a:gd name="connsiteX1" fmla="*/ 63747 w 564024"/>
                  <a:gd name="connsiteY1" fmla="*/ 386 h 114310"/>
                  <a:gd name="connsiteX2" fmla="*/ 386 w 564024"/>
                  <a:gd name="connsiteY2" fmla="*/ 50564 h 114310"/>
                  <a:gd name="connsiteX3" fmla="*/ 50574 w 564024"/>
                  <a:gd name="connsiteY3" fmla="*/ 113924 h 114310"/>
                  <a:gd name="connsiteX4" fmla="*/ 63747 w 564024"/>
                  <a:gd name="connsiteY4" fmla="*/ 113924 h 114310"/>
                  <a:gd name="connsiteX5" fmla="*/ 500277 w 564024"/>
                  <a:gd name="connsiteY5" fmla="*/ 113924 h 114310"/>
                  <a:gd name="connsiteX6" fmla="*/ 563638 w 564024"/>
                  <a:gd name="connsiteY6" fmla="*/ 63747 h 114310"/>
                  <a:gd name="connsiteX7" fmla="*/ 513451 w 564024"/>
                  <a:gd name="connsiteY7" fmla="*/ 386 h 114310"/>
                  <a:gd name="connsiteX8" fmla="*/ 500277 w 564024"/>
                  <a:gd name="connsiteY8" fmla="*/ 386 h 11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024" h="114310">
                    <a:moveTo>
                      <a:pt x="500277" y="386"/>
                    </a:moveTo>
                    <a:lnTo>
                      <a:pt x="63747" y="386"/>
                    </a:lnTo>
                    <a:cubicBezTo>
                      <a:pt x="32390" y="-3252"/>
                      <a:pt x="4025" y="19217"/>
                      <a:pt x="386" y="50564"/>
                    </a:cubicBezTo>
                    <a:cubicBezTo>
                      <a:pt x="-3252" y="81920"/>
                      <a:pt x="19217" y="110286"/>
                      <a:pt x="50574" y="113924"/>
                    </a:cubicBezTo>
                    <a:cubicBezTo>
                      <a:pt x="54946" y="114429"/>
                      <a:pt x="59365" y="114429"/>
                      <a:pt x="63747" y="113924"/>
                    </a:cubicBezTo>
                    <a:lnTo>
                      <a:pt x="500277" y="113924"/>
                    </a:lnTo>
                    <a:cubicBezTo>
                      <a:pt x="531634" y="117563"/>
                      <a:pt x="559999" y="95093"/>
                      <a:pt x="563638" y="63747"/>
                    </a:cubicBezTo>
                    <a:cubicBezTo>
                      <a:pt x="567276" y="32390"/>
                      <a:pt x="544807" y="4025"/>
                      <a:pt x="513451" y="386"/>
                    </a:cubicBezTo>
                    <a:cubicBezTo>
                      <a:pt x="509079" y="-119"/>
                      <a:pt x="504659" y="-119"/>
                      <a:pt x="500277" y="38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9" name="Freeform 23">
                <a:extLst>
                  <a:ext uri="{FF2B5EF4-FFF2-40B4-BE49-F238E27FC236}">
                    <a16:creationId xmlns:a16="http://schemas.microsoft.com/office/drawing/2014/main" id="{4963D48F-F569-E745-BD44-28C820A158C8}"/>
                  </a:ext>
                </a:extLst>
              </p:cNvPr>
              <p:cNvSpPr/>
              <p:nvPr/>
            </p:nvSpPr>
            <p:spPr>
              <a:xfrm>
                <a:off x="12998319" y="2165382"/>
                <a:ext cx="799155" cy="259612"/>
              </a:xfrm>
              <a:custGeom>
                <a:avLst/>
                <a:gdLst>
                  <a:gd name="connsiteX0" fmla="*/ 706769 w 799155"/>
                  <a:gd name="connsiteY0" fmla="*/ 21378 h 259612"/>
                  <a:gd name="connsiteX1" fmla="*/ 703435 w 799155"/>
                  <a:gd name="connsiteY1" fmla="*/ 24617 h 259612"/>
                  <a:gd name="connsiteX2" fmla="*/ 105074 w 799155"/>
                  <a:gd name="connsiteY2" fmla="*/ 24617 h 259612"/>
                  <a:gd name="connsiteX3" fmla="*/ 101645 w 799155"/>
                  <a:gd name="connsiteY3" fmla="*/ 21283 h 259612"/>
                  <a:gd name="connsiteX4" fmla="*/ 21283 w 799155"/>
                  <a:gd name="connsiteY4" fmla="*/ 12663 h 259612"/>
                  <a:gd name="connsiteX5" fmla="*/ 12663 w 799155"/>
                  <a:gd name="connsiteY5" fmla="*/ 93025 h 259612"/>
                  <a:gd name="connsiteX6" fmla="*/ 21921 w 799155"/>
                  <a:gd name="connsiteY6" fmla="*/ 102150 h 259612"/>
                  <a:gd name="connsiteX7" fmla="*/ 25445 w 799155"/>
                  <a:gd name="connsiteY7" fmla="*/ 105579 h 259612"/>
                  <a:gd name="connsiteX8" fmla="*/ 783159 w 799155"/>
                  <a:gd name="connsiteY8" fmla="*/ 105579 h 259612"/>
                  <a:gd name="connsiteX9" fmla="*/ 786493 w 799155"/>
                  <a:gd name="connsiteY9" fmla="*/ 102245 h 259612"/>
                  <a:gd name="connsiteX10" fmla="*/ 777873 w 799155"/>
                  <a:gd name="connsiteY10" fmla="*/ 21883 h 259612"/>
                  <a:gd name="connsiteX11" fmla="*/ 706769 w 799155"/>
                  <a:gd name="connsiteY11" fmla="*/ 21378 h 259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9155" h="259612">
                    <a:moveTo>
                      <a:pt x="706769" y="21378"/>
                    </a:moveTo>
                    <a:lnTo>
                      <a:pt x="703435" y="24617"/>
                    </a:lnTo>
                    <a:cubicBezTo>
                      <a:pt x="536852" y="186561"/>
                      <a:pt x="271657" y="186561"/>
                      <a:pt x="105074" y="24617"/>
                    </a:cubicBezTo>
                    <a:lnTo>
                      <a:pt x="101645" y="21283"/>
                    </a:lnTo>
                    <a:cubicBezTo>
                      <a:pt x="81833" y="-3292"/>
                      <a:pt x="45857" y="-7149"/>
                      <a:pt x="21283" y="12663"/>
                    </a:cubicBezTo>
                    <a:cubicBezTo>
                      <a:pt x="-3292" y="32475"/>
                      <a:pt x="-7149" y="68451"/>
                      <a:pt x="12663" y="93025"/>
                    </a:cubicBezTo>
                    <a:cubicBezTo>
                      <a:pt x="15387" y="96406"/>
                      <a:pt x="18502" y="99474"/>
                      <a:pt x="21921" y="102150"/>
                    </a:cubicBezTo>
                    <a:lnTo>
                      <a:pt x="25445" y="105579"/>
                    </a:lnTo>
                    <a:cubicBezTo>
                      <a:pt x="236262" y="310957"/>
                      <a:pt x="572342" y="310957"/>
                      <a:pt x="783159" y="105579"/>
                    </a:cubicBezTo>
                    <a:lnTo>
                      <a:pt x="786493" y="102245"/>
                    </a:lnTo>
                    <a:cubicBezTo>
                      <a:pt x="806305" y="77671"/>
                      <a:pt x="802447" y="41695"/>
                      <a:pt x="777873" y="21883"/>
                    </a:cubicBezTo>
                    <a:cubicBezTo>
                      <a:pt x="757175" y="5195"/>
                      <a:pt x="727705" y="4985"/>
                      <a:pt x="706769" y="2137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sp>
        <p:nvSpPr>
          <p:cNvPr id="31" name="TextBox 30">
            <a:extLst>
              <a:ext uri="{FF2B5EF4-FFF2-40B4-BE49-F238E27FC236}">
                <a16:creationId xmlns:a16="http://schemas.microsoft.com/office/drawing/2014/main" id="{5D64FEF1-8362-E3FA-C9C2-6FC10023A908}"/>
              </a:ext>
            </a:extLst>
          </p:cNvPr>
          <p:cNvSpPr txBox="1"/>
          <p:nvPr/>
        </p:nvSpPr>
        <p:spPr>
          <a:xfrm>
            <a:off x="4393547" y="3124827"/>
            <a:ext cx="3285037"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ea typeface="+mn-ea"/>
                <a:cs typeface="Segoe UI Semibold" panose="020B0502040204020203" pitchFamily="34" charset="0"/>
              </a:rPr>
              <a:t>More visibility, more </a:t>
            </a:r>
            <a:r>
              <a:rPr lang="en-US" sz="1200" b="1">
                <a:solidFill>
                  <a:prstClr val="black">
                    <a:lumMod val="75000"/>
                    <a:lumOff val="25000"/>
                  </a:prstClr>
                </a:solidFill>
                <a:cs typeface="Segoe UI Semibold" panose="020B0502040204020203" pitchFamily="34" charset="0"/>
              </a:rPr>
              <a:t>c</a:t>
            </a:r>
            <a:r>
              <a:rPr kumimoji="0" lang="en-US" sz="1200" b="1" i="0" u="none" strike="noStrike" kern="1200" cap="none" spc="0" normalizeH="0" baseline="0" noProof="0" err="1">
                <a:ln>
                  <a:noFill/>
                </a:ln>
                <a:solidFill>
                  <a:prstClr val="black">
                    <a:lumMod val="75000"/>
                    <a:lumOff val="25000"/>
                  </a:prstClr>
                </a:solidFill>
                <a:effectLst/>
                <a:uLnTx/>
                <a:uFillTx/>
                <a:ea typeface="+mn-ea"/>
                <a:cs typeface="Segoe UI Semibold" panose="020B0502040204020203" pitchFamily="34" charset="0"/>
              </a:rPr>
              <a:t>ontrol</a:t>
            </a:r>
            <a:r>
              <a:rPr kumimoji="0" lang="en-US" sz="1200" b="1" i="0" u="none" strike="noStrike" kern="1200" cap="none" spc="0" normalizeH="0" baseline="0" noProof="0">
                <a:ln>
                  <a:noFill/>
                </a:ln>
                <a:solidFill>
                  <a:prstClr val="black">
                    <a:lumMod val="75000"/>
                    <a:lumOff val="25000"/>
                  </a:prstClr>
                </a:solidFill>
                <a:effectLst/>
                <a:uLnTx/>
                <a:uFillTx/>
                <a:ea typeface="+mn-ea"/>
                <a:cs typeface="Segoe UI Semibold" panose="020B0502040204020203" pitchFamily="34" charset="0"/>
              </a:rPr>
              <a:t>, </a:t>
            </a:r>
            <a:br>
              <a:rPr kumimoji="0" lang="en-US" sz="1200" b="1" i="0" u="none" strike="noStrike" kern="1200" cap="none" spc="0" normalizeH="0" baseline="0" noProof="0">
                <a:ln>
                  <a:noFill/>
                </a:ln>
                <a:solidFill>
                  <a:prstClr val="black">
                    <a:lumMod val="75000"/>
                    <a:lumOff val="25000"/>
                  </a:prstClr>
                </a:solidFill>
                <a:effectLst/>
                <a:uLnTx/>
                <a:uFillTx/>
                <a:ea typeface="+mn-ea"/>
                <a:cs typeface="Segoe UI Semibold" panose="020B0502040204020203" pitchFamily="34" charset="0"/>
              </a:rPr>
            </a:br>
            <a:r>
              <a:rPr kumimoji="0" lang="en-US" sz="1200" b="1" i="0" u="none" strike="noStrike" kern="1200" cap="none" spc="0" normalizeH="0" baseline="0" noProof="0">
                <a:ln>
                  <a:noFill/>
                </a:ln>
                <a:solidFill>
                  <a:prstClr val="black">
                    <a:lumMod val="75000"/>
                    <a:lumOff val="25000"/>
                  </a:prstClr>
                </a:solidFill>
                <a:effectLst/>
                <a:uLnTx/>
                <a:uFillTx/>
                <a:ea typeface="+mn-ea"/>
                <a:cs typeface="Segoe UI Semibold" panose="020B0502040204020203" pitchFamily="34" charset="0"/>
              </a:rPr>
              <a:t>less effort</a:t>
            </a:r>
          </a:p>
        </p:txBody>
      </p:sp>
      <p:graphicFrame>
        <p:nvGraphicFramePr>
          <p:cNvPr id="32" name="Table 31">
            <a:extLst>
              <a:ext uri="{FF2B5EF4-FFF2-40B4-BE49-F238E27FC236}">
                <a16:creationId xmlns:a16="http://schemas.microsoft.com/office/drawing/2014/main" id="{D96A882A-00B1-D113-4252-2411FF144113}"/>
              </a:ext>
            </a:extLst>
          </p:cNvPr>
          <p:cNvGraphicFramePr>
            <a:graphicFrameLocks noGrp="1"/>
          </p:cNvGraphicFramePr>
          <p:nvPr>
            <p:extLst>
              <p:ext uri="{D42A27DB-BD31-4B8C-83A1-F6EECF244321}">
                <p14:modId xmlns:p14="http://schemas.microsoft.com/office/powerpoint/2010/main" val="2122228945"/>
              </p:ext>
            </p:extLst>
          </p:nvPr>
        </p:nvGraphicFramePr>
        <p:xfrm>
          <a:off x="4710266" y="3469254"/>
          <a:ext cx="2756263" cy="2286000"/>
        </p:xfrm>
        <a:graphic>
          <a:graphicData uri="http://schemas.openxmlformats.org/drawingml/2006/table">
            <a:tbl>
              <a:tblPr firstRow="1" bandRow="1">
                <a:tableStyleId>{5C22544A-7EE6-4342-B048-85BDC9FD1C3A}</a:tableStyleId>
              </a:tblPr>
              <a:tblGrid>
                <a:gridCol w="2756263">
                  <a:extLst>
                    <a:ext uri="{9D8B030D-6E8A-4147-A177-3AD203B41FA5}">
                      <a16:colId xmlns:a16="http://schemas.microsoft.com/office/drawing/2014/main" val="97731813"/>
                    </a:ext>
                  </a:extLst>
                </a:gridCol>
              </a:tblGrid>
              <a:tr h="370840">
                <a:tc>
                  <a:txBody>
                    <a:bodyPr/>
                    <a:lstStyle/>
                    <a:p>
                      <a:pPr algn="ctr"/>
                      <a:r>
                        <a:rPr lang="en-US" sz="1200" b="0" i="0">
                          <a:solidFill>
                            <a:schemeClr val="tx1">
                              <a:lumMod val="75000"/>
                              <a:lumOff val="25000"/>
                            </a:schemeClr>
                          </a:solidFill>
                          <a:latin typeface="Segoe UI" panose="020B0502040204020203" pitchFamily="34" charset="0"/>
                          <a:cs typeface="Segoe UI" panose="020B0502040204020203" pitchFamily="34" charset="0"/>
                        </a:rPr>
                        <a:t>Management at scale</a:t>
                      </a:r>
                    </a:p>
                  </a:txBody>
                  <a:tcPr marT="137160" marB="137160" anchor="ctr">
                    <a:lnL w="12700" cmpd="sng">
                      <a:noFill/>
                    </a:lnL>
                    <a:lnR w="12700" cmpd="sng">
                      <a:noFill/>
                    </a:lnR>
                    <a:lnT w="12700" cmpd="sng">
                      <a:noFill/>
                    </a:lnT>
                    <a:lnB w="19050" cap="flat" cmpd="sng" algn="ctr">
                      <a:solidFill>
                        <a:srgbClr val="347B9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7473342"/>
                  </a:ext>
                </a:extLst>
              </a:tr>
              <a:tr h="370840">
                <a:tc>
                  <a:txBody>
                    <a:bodyPr/>
                    <a:lstStyle/>
                    <a:p>
                      <a:pPr algn="ctr"/>
                      <a:r>
                        <a:rPr lang="en-US" sz="1200" b="0" i="0">
                          <a:solidFill>
                            <a:schemeClr val="tx1">
                              <a:lumMod val="75000"/>
                              <a:lumOff val="25000"/>
                            </a:schemeClr>
                          </a:solidFill>
                          <a:latin typeface="Segoe UI" panose="020B0502040204020203" pitchFamily="34" charset="0"/>
                          <a:cs typeface="Segoe UI" panose="020B0502040204020203" pitchFamily="34" charset="0"/>
                        </a:rPr>
                        <a:t>Environment strategy</a:t>
                      </a:r>
                    </a:p>
                  </a:txBody>
                  <a:tcPr marT="137160" marB="137160" anchor="ctr">
                    <a:lnL w="12700" cmpd="sng">
                      <a:noFill/>
                    </a:lnL>
                    <a:lnR w="12700" cmpd="sng">
                      <a:noFill/>
                    </a:lnR>
                    <a:lnT w="19050" cap="flat" cmpd="sng" algn="ctr">
                      <a:solidFill>
                        <a:srgbClr val="347B9B"/>
                      </a:solidFill>
                      <a:prstDash val="solid"/>
                      <a:round/>
                      <a:headEnd type="none" w="med" len="med"/>
                      <a:tailEnd type="none" w="med" len="med"/>
                    </a:lnT>
                    <a:lnB w="19050" cap="flat" cmpd="sng" algn="ctr">
                      <a:solidFill>
                        <a:srgbClr val="347B9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3465901"/>
                  </a:ext>
                </a:extLst>
              </a:tr>
              <a:tr h="370840">
                <a:tc>
                  <a:txBody>
                    <a:bodyPr/>
                    <a:lstStyle/>
                    <a:p>
                      <a:pPr algn="ctr"/>
                      <a:r>
                        <a:rPr lang="en-US" sz="1200" b="0" i="0">
                          <a:solidFill>
                            <a:schemeClr val="tx1">
                              <a:lumMod val="75000"/>
                              <a:lumOff val="25000"/>
                            </a:schemeClr>
                          </a:solidFill>
                          <a:latin typeface="Segoe UI" panose="020B0502040204020203" pitchFamily="34" charset="0"/>
                          <a:cs typeface="Segoe UI" panose="020B0502040204020203" pitchFamily="34" charset="0"/>
                        </a:rPr>
                        <a:t>Reactive governance</a:t>
                      </a:r>
                    </a:p>
                  </a:txBody>
                  <a:tcPr marT="137160" marB="137160" anchor="ctr">
                    <a:lnL w="12700" cmpd="sng">
                      <a:noFill/>
                    </a:lnL>
                    <a:lnR w="12700" cmpd="sng">
                      <a:noFill/>
                    </a:lnR>
                    <a:lnT w="19050" cap="flat" cmpd="sng" algn="ctr">
                      <a:solidFill>
                        <a:srgbClr val="347B9B"/>
                      </a:solidFill>
                      <a:prstDash val="solid"/>
                      <a:round/>
                      <a:headEnd type="none" w="med" len="med"/>
                      <a:tailEnd type="none" w="med" len="med"/>
                    </a:lnT>
                    <a:lnB w="19050" cap="flat" cmpd="sng" algn="ctr">
                      <a:solidFill>
                        <a:srgbClr val="347B9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4914936"/>
                  </a:ext>
                </a:extLst>
              </a:tr>
              <a:tr h="370840">
                <a:tc>
                  <a:txBody>
                    <a:bodyPr/>
                    <a:lstStyle/>
                    <a:p>
                      <a:pPr algn="ctr"/>
                      <a:r>
                        <a:rPr lang="en-US" sz="1200" b="0" i="0">
                          <a:solidFill>
                            <a:schemeClr val="tx1">
                              <a:lumMod val="75000"/>
                              <a:lumOff val="25000"/>
                            </a:schemeClr>
                          </a:solidFill>
                          <a:latin typeface="Segoe UI" panose="020B0502040204020203" pitchFamily="34" charset="0"/>
                          <a:cs typeface="Segoe UI" panose="020B0502040204020203" pitchFamily="34" charset="0"/>
                        </a:rPr>
                        <a:t>Full visibility</a:t>
                      </a:r>
                    </a:p>
                  </a:txBody>
                  <a:tcPr marT="137160" marB="137160" anchor="ctr">
                    <a:lnL w="12700" cmpd="sng">
                      <a:noFill/>
                    </a:lnL>
                    <a:lnR w="12700" cmpd="sng">
                      <a:noFill/>
                    </a:lnR>
                    <a:lnT w="19050" cap="flat" cmpd="sng" algn="ctr">
                      <a:solidFill>
                        <a:srgbClr val="347B9B"/>
                      </a:solidFill>
                      <a:prstDash val="solid"/>
                      <a:round/>
                      <a:headEnd type="none" w="med" len="med"/>
                      <a:tailEnd type="none" w="med" len="med"/>
                    </a:lnT>
                    <a:lnB w="19050" cap="flat" cmpd="sng" algn="ctr">
                      <a:solidFill>
                        <a:srgbClr val="347B9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7807352"/>
                  </a:ext>
                </a:extLst>
              </a:tr>
              <a:tr h="370840">
                <a:tc>
                  <a:txBody>
                    <a:bodyPr/>
                    <a:lstStyle/>
                    <a:p>
                      <a:pPr algn="ctr"/>
                      <a:r>
                        <a:rPr lang="en-US" sz="1200" b="0" i="0">
                          <a:solidFill>
                            <a:schemeClr val="tx1">
                              <a:lumMod val="75000"/>
                              <a:lumOff val="25000"/>
                            </a:schemeClr>
                          </a:solidFill>
                          <a:latin typeface="Segoe UI" panose="020B0502040204020203" pitchFamily="34" charset="0"/>
                          <a:cs typeface="Segoe UI" panose="020B0502040204020203" pitchFamily="34" charset="0"/>
                        </a:rPr>
                        <a:t>Capacity and cost management</a:t>
                      </a:r>
                    </a:p>
                  </a:txBody>
                  <a:tcPr marT="137160" marB="137160" anchor="ctr">
                    <a:lnL w="12700" cmpd="sng">
                      <a:noFill/>
                    </a:lnL>
                    <a:lnR w="12700" cmpd="sng">
                      <a:noFill/>
                    </a:lnR>
                    <a:lnT w="19050" cap="flat" cmpd="sng" algn="ctr">
                      <a:solidFill>
                        <a:srgbClr val="347B9B"/>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2840752"/>
                  </a:ext>
                </a:extLst>
              </a:tr>
            </a:tbl>
          </a:graphicData>
        </a:graphic>
      </p:graphicFrame>
      <p:sp>
        <p:nvSpPr>
          <p:cNvPr id="33" name="TextBox 32">
            <a:extLst>
              <a:ext uri="{FF2B5EF4-FFF2-40B4-BE49-F238E27FC236}">
                <a16:creationId xmlns:a16="http://schemas.microsoft.com/office/drawing/2014/main" id="{3737CEED-AF6E-6930-75CD-57C1B94562DF}"/>
              </a:ext>
            </a:extLst>
          </p:cNvPr>
          <p:cNvSpPr txBox="1"/>
          <p:nvPr/>
        </p:nvSpPr>
        <p:spPr>
          <a:xfrm>
            <a:off x="5198116" y="2543469"/>
            <a:ext cx="1745991"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ea typeface="+mn-ea"/>
                <a:cs typeface="Segoe UI" panose="020B0502040204020203" pitchFamily="34" charset="0"/>
              </a:rPr>
              <a:t>MANAGED</a:t>
            </a:r>
            <a:br>
              <a:rPr kumimoji="0" lang="en-US" sz="1800" b="1" i="0" u="none" strike="noStrike" kern="1200" cap="none" spc="0" normalizeH="0" baseline="0" noProof="0">
                <a:ln>
                  <a:noFill/>
                </a:ln>
                <a:solidFill>
                  <a:prstClr val="black">
                    <a:lumMod val="75000"/>
                    <a:lumOff val="25000"/>
                  </a:prstClr>
                </a:solidFill>
                <a:effectLst/>
                <a:uLnTx/>
                <a:uFillTx/>
                <a:ea typeface="+mn-ea"/>
                <a:cs typeface="Segoe UI" panose="020B0502040204020203" pitchFamily="34" charset="0"/>
              </a:rPr>
            </a:br>
            <a:r>
              <a:rPr kumimoji="0" lang="en-US" sz="1800" b="1" i="0" u="none" strike="noStrike" kern="1200" cap="none" spc="0" normalizeH="0" baseline="0" noProof="0">
                <a:ln>
                  <a:noFill/>
                </a:ln>
                <a:solidFill>
                  <a:prstClr val="black">
                    <a:lumMod val="75000"/>
                    <a:lumOff val="25000"/>
                  </a:prstClr>
                </a:solidFill>
                <a:effectLst/>
                <a:uLnTx/>
                <a:uFillTx/>
                <a:ea typeface="+mn-ea"/>
                <a:cs typeface="Segoe UI" panose="020B0502040204020203" pitchFamily="34" charset="0"/>
              </a:rPr>
              <a:t>GOVERNANCE</a:t>
            </a:r>
          </a:p>
        </p:txBody>
      </p:sp>
      <p:sp>
        <p:nvSpPr>
          <p:cNvPr id="35" name="TextBox 34">
            <a:extLst>
              <a:ext uri="{FF2B5EF4-FFF2-40B4-BE49-F238E27FC236}">
                <a16:creationId xmlns:a16="http://schemas.microsoft.com/office/drawing/2014/main" id="{AA8DF077-440F-1C39-7A5A-A5378576B792}"/>
              </a:ext>
            </a:extLst>
          </p:cNvPr>
          <p:cNvSpPr txBox="1"/>
          <p:nvPr/>
        </p:nvSpPr>
        <p:spPr>
          <a:xfrm>
            <a:off x="5738979" y="2420358"/>
            <a:ext cx="62228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E2841"/>
                </a:solidFill>
                <a:effectLst/>
                <a:uLnTx/>
                <a:uFillTx/>
                <a:ea typeface="+mn-ea"/>
                <a:cs typeface="Segoe UI Semibold" panose="020B0502040204020203" pitchFamily="34" charset="0"/>
              </a:rPr>
              <a:t>Govern</a:t>
            </a:r>
          </a:p>
        </p:txBody>
      </p:sp>
      <p:sp>
        <p:nvSpPr>
          <p:cNvPr id="36" name="Rounded Rectangle 9">
            <a:extLst>
              <a:ext uri="{FF2B5EF4-FFF2-40B4-BE49-F238E27FC236}">
                <a16:creationId xmlns:a16="http://schemas.microsoft.com/office/drawing/2014/main" id="{30464490-CCEB-FF2E-DCE3-D48EACBFB486}"/>
              </a:ext>
            </a:extLst>
          </p:cNvPr>
          <p:cNvSpPr/>
          <p:nvPr/>
        </p:nvSpPr>
        <p:spPr>
          <a:xfrm>
            <a:off x="8125579" y="1944161"/>
            <a:ext cx="3285036" cy="4001700"/>
          </a:xfrm>
          <a:prstGeom prst="roundRect">
            <a:avLst>
              <a:gd name="adj" fmla="val 3240"/>
            </a:avLst>
          </a:prstGeom>
          <a:solidFill>
            <a:schemeClr val="bg1">
              <a:alpha val="90000"/>
            </a:schemeClr>
          </a:solidFill>
          <a:ln w="6350">
            <a:solidFill>
              <a:schemeClr val="bg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7" name="TextBox 36">
            <a:extLst>
              <a:ext uri="{FF2B5EF4-FFF2-40B4-BE49-F238E27FC236}">
                <a16:creationId xmlns:a16="http://schemas.microsoft.com/office/drawing/2014/main" id="{D68BF80F-0392-AD37-445D-85E2FE4FC859}"/>
              </a:ext>
            </a:extLst>
          </p:cNvPr>
          <p:cNvSpPr txBox="1"/>
          <p:nvPr/>
        </p:nvSpPr>
        <p:spPr>
          <a:xfrm>
            <a:off x="9014096" y="1164204"/>
            <a:ext cx="1503327" cy="24622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accent2">
                    <a:lumMod val="75000"/>
                  </a:schemeClr>
                </a:solidFill>
                <a:effectLst/>
                <a:uLnTx/>
                <a:uFillTx/>
                <a:ea typeface="+mn-ea"/>
                <a:cs typeface="Segoe UI Semibold"/>
              </a:rPr>
              <a:t>Head of Operations</a:t>
            </a:r>
            <a:endParaRPr kumimoji="0" lang="en-US" sz="1800" b="0" i="0" u="none" strike="noStrike" kern="1200" cap="none" spc="0" normalizeH="0" baseline="0" noProof="0">
              <a:ln>
                <a:noFill/>
              </a:ln>
              <a:solidFill>
                <a:schemeClr val="accent2">
                  <a:lumMod val="75000"/>
                </a:schemeClr>
              </a:solidFill>
              <a:effectLst/>
              <a:uLnTx/>
              <a:uFillTx/>
              <a:ea typeface="+mn-ea"/>
              <a:cs typeface="+mn-cs"/>
            </a:endParaRPr>
          </a:p>
        </p:txBody>
      </p:sp>
      <p:grpSp>
        <p:nvGrpSpPr>
          <p:cNvPr id="38" name="Group 37">
            <a:extLst>
              <a:ext uri="{FF2B5EF4-FFF2-40B4-BE49-F238E27FC236}">
                <a16:creationId xmlns:a16="http://schemas.microsoft.com/office/drawing/2014/main" id="{7B39D7A0-39FB-8CB8-DD58-E2671FA72531}"/>
              </a:ext>
            </a:extLst>
          </p:cNvPr>
          <p:cNvGrpSpPr/>
          <p:nvPr/>
        </p:nvGrpSpPr>
        <p:grpSpPr>
          <a:xfrm>
            <a:off x="9267374" y="1441704"/>
            <a:ext cx="996772" cy="996772"/>
            <a:chOff x="5316785" y="1592557"/>
            <a:chExt cx="1744133" cy="1744133"/>
          </a:xfrm>
        </p:grpSpPr>
        <p:sp>
          <p:nvSpPr>
            <p:cNvPr id="39" name="Oval 38">
              <a:extLst>
                <a:ext uri="{FF2B5EF4-FFF2-40B4-BE49-F238E27FC236}">
                  <a16:creationId xmlns:a16="http://schemas.microsoft.com/office/drawing/2014/main" id="{5C9BC620-C9B4-8BF5-125B-02C8F96E3205}"/>
                </a:ext>
              </a:extLst>
            </p:cNvPr>
            <p:cNvSpPr/>
            <p:nvPr/>
          </p:nvSpPr>
          <p:spPr>
            <a:xfrm>
              <a:off x="5316785" y="1592557"/>
              <a:ext cx="1744133" cy="1744133"/>
            </a:xfrm>
            <a:prstGeom prst="ellipse">
              <a:avLst/>
            </a:prstGeom>
            <a:solidFill>
              <a:srgbClr val="347B9B"/>
            </a:solidFill>
            <a:ln w="12700">
              <a:solidFill>
                <a:schemeClr val="bg1"/>
              </a:solidFill>
            </a:ln>
            <a:effectLst>
              <a:outerShdw blurRad="190500" dist="38100" dir="5400000" algn="t" rotWithShape="0">
                <a:schemeClr val="accent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40" name="Group 39">
              <a:extLst>
                <a:ext uri="{FF2B5EF4-FFF2-40B4-BE49-F238E27FC236}">
                  <a16:creationId xmlns:a16="http://schemas.microsoft.com/office/drawing/2014/main" id="{4878BE47-CEC3-0DAC-99EC-148BF2F279B6}"/>
                </a:ext>
              </a:extLst>
            </p:cNvPr>
            <p:cNvGrpSpPr/>
            <p:nvPr/>
          </p:nvGrpSpPr>
          <p:grpSpPr>
            <a:xfrm>
              <a:off x="5781949" y="1888067"/>
              <a:ext cx="813807" cy="1041024"/>
              <a:chOff x="11708342" y="457383"/>
              <a:chExt cx="3372040" cy="4313518"/>
            </a:xfrm>
            <a:solidFill>
              <a:schemeClr val="bg1"/>
            </a:solidFill>
          </p:grpSpPr>
          <p:sp>
            <p:nvSpPr>
              <p:cNvPr id="41" name="Freeform 55">
                <a:extLst>
                  <a:ext uri="{FF2B5EF4-FFF2-40B4-BE49-F238E27FC236}">
                    <a16:creationId xmlns:a16="http://schemas.microsoft.com/office/drawing/2014/main" id="{B28921B3-6BB5-B357-2A03-F46408049490}"/>
                  </a:ext>
                </a:extLst>
              </p:cNvPr>
              <p:cNvSpPr/>
              <p:nvPr/>
            </p:nvSpPr>
            <p:spPr>
              <a:xfrm>
                <a:off x="11708342" y="457383"/>
                <a:ext cx="3372040" cy="4313518"/>
              </a:xfrm>
              <a:custGeom>
                <a:avLst/>
                <a:gdLst>
                  <a:gd name="connsiteX0" fmla="*/ 2659856 w 3372040"/>
                  <a:gd name="connsiteY0" fmla="*/ 2738965 h 4313518"/>
                  <a:gd name="connsiteX1" fmla="*/ 2659856 w 3372040"/>
                  <a:gd name="connsiteY1" fmla="*/ 2738965 h 4313518"/>
                  <a:gd name="connsiteX2" fmla="*/ 2527173 w 3372040"/>
                  <a:gd name="connsiteY2" fmla="*/ 2728487 h 4313518"/>
                  <a:gd name="connsiteX3" fmla="*/ 2266950 w 3372040"/>
                  <a:gd name="connsiteY3" fmla="*/ 2728487 h 4313518"/>
                  <a:gd name="connsiteX4" fmla="*/ 2224754 w 3372040"/>
                  <a:gd name="connsiteY4" fmla="*/ 2725439 h 4313518"/>
                  <a:gd name="connsiteX5" fmla="*/ 2217706 w 3372040"/>
                  <a:gd name="connsiteY5" fmla="*/ 2724392 h 4313518"/>
                  <a:gd name="connsiteX6" fmla="*/ 2217706 w 3372040"/>
                  <a:gd name="connsiteY6" fmla="*/ 2724392 h 4313518"/>
                  <a:gd name="connsiteX7" fmla="*/ 2170843 w 3372040"/>
                  <a:gd name="connsiteY7" fmla="*/ 2712581 h 4313518"/>
                  <a:gd name="connsiteX8" fmla="*/ 2131219 w 3372040"/>
                  <a:gd name="connsiteY8" fmla="*/ 2696007 h 4313518"/>
                  <a:gd name="connsiteX9" fmla="*/ 1968246 w 3372040"/>
                  <a:gd name="connsiteY9" fmla="*/ 2468645 h 4313518"/>
                  <a:gd name="connsiteX10" fmla="*/ 2228183 w 3372040"/>
                  <a:gd name="connsiteY10" fmla="*/ 2375205 h 4313518"/>
                  <a:gd name="connsiteX11" fmla="*/ 2624899 w 3372040"/>
                  <a:gd name="connsiteY11" fmla="*/ 1820850 h 4313518"/>
                  <a:gd name="connsiteX12" fmla="*/ 2727293 w 3372040"/>
                  <a:gd name="connsiteY12" fmla="*/ 1820850 h 4313518"/>
                  <a:gd name="connsiteX13" fmla="*/ 2977315 w 3372040"/>
                  <a:gd name="connsiteY13" fmla="*/ 1564932 h 4313518"/>
                  <a:gd name="connsiteX14" fmla="*/ 2948559 w 3372040"/>
                  <a:gd name="connsiteY14" fmla="*/ 1450709 h 4313518"/>
                  <a:gd name="connsiteX15" fmla="*/ 2948559 w 3372040"/>
                  <a:gd name="connsiteY15" fmla="*/ 1003034 h 4313518"/>
                  <a:gd name="connsiteX16" fmla="*/ 2112550 w 3372040"/>
                  <a:gd name="connsiteY16" fmla="*/ 167215 h 4313518"/>
                  <a:gd name="connsiteX17" fmla="*/ 983171 w 3372040"/>
                  <a:gd name="connsiteY17" fmla="*/ 167215 h 4313518"/>
                  <a:gd name="connsiteX18" fmla="*/ 657225 w 3372040"/>
                  <a:gd name="connsiteY18" fmla="*/ 84347 h 4313518"/>
                  <a:gd name="connsiteX19" fmla="*/ 515017 w 3372040"/>
                  <a:gd name="connsiteY19" fmla="*/ 6718 h 4313518"/>
                  <a:gd name="connsiteX20" fmla="*/ 437712 w 3372040"/>
                  <a:gd name="connsiteY20" fmla="*/ 30297 h 4313518"/>
                  <a:gd name="connsiteX21" fmla="*/ 431006 w 3372040"/>
                  <a:gd name="connsiteY21" fmla="*/ 56534 h 4313518"/>
                  <a:gd name="connsiteX22" fmla="*/ 431006 w 3372040"/>
                  <a:gd name="connsiteY22" fmla="*/ 498018 h 4313518"/>
                  <a:gd name="connsiteX23" fmla="*/ 738283 w 3372040"/>
                  <a:gd name="connsiteY23" fmla="*/ 955694 h 4313518"/>
                  <a:gd name="connsiteX24" fmla="*/ 738283 w 3372040"/>
                  <a:gd name="connsiteY24" fmla="*/ 1317073 h 4313518"/>
                  <a:gd name="connsiteX25" fmla="*/ 645319 w 3372040"/>
                  <a:gd name="connsiteY25" fmla="*/ 1317073 h 4313518"/>
                  <a:gd name="connsiteX26" fmla="*/ 393383 w 3372040"/>
                  <a:gd name="connsiteY26" fmla="*/ 1569009 h 4313518"/>
                  <a:gd name="connsiteX27" fmla="*/ 645319 w 3372040"/>
                  <a:gd name="connsiteY27" fmla="*/ 1820945 h 4313518"/>
                  <a:gd name="connsiteX28" fmla="*/ 747713 w 3372040"/>
                  <a:gd name="connsiteY28" fmla="*/ 1820945 h 4313518"/>
                  <a:gd name="connsiteX29" fmla="*/ 1138238 w 3372040"/>
                  <a:gd name="connsiteY29" fmla="*/ 2371871 h 4313518"/>
                  <a:gd name="connsiteX30" fmla="*/ 1404938 w 3372040"/>
                  <a:gd name="connsiteY30" fmla="*/ 2468741 h 4313518"/>
                  <a:gd name="connsiteX31" fmla="*/ 1241870 w 3372040"/>
                  <a:gd name="connsiteY31" fmla="*/ 2696198 h 4313518"/>
                  <a:gd name="connsiteX32" fmla="*/ 1202341 w 3372040"/>
                  <a:gd name="connsiteY32" fmla="*/ 2712676 h 4313518"/>
                  <a:gd name="connsiteX33" fmla="*/ 1105948 w 3372040"/>
                  <a:gd name="connsiteY33" fmla="*/ 2728583 h 4313518"/>
                  <a:gd name="connsiteX34" fmla="*/ 844868 w 3372040"/>
                  <a:gd name="connsiteY34" fmla="*/ 2728583 h 4313518"/>
                  <a:gd name="connsiteX35" fmla="*/ 712184 w 3372040"/>
                  <a:gd name="connsiteY35" fmla="*/ 2739060 h 4313518"/>
                  <a:gd name="connsiteX36" fmla="*/ 711232 w 3372040"/>
                  <a:gd name="connsiteY36" fmla="*/ 2739060 h 4313518"/>
                  <a:gd name="connsiteX37" fmla="*/ 0 w 3372040"/>
                  <a:gd name="connsiteY37" fmla="*/ 3573641 h 4313518"/>
                  <a:gd name="connsiteX38" fmla="*/ 0 w 3372040"/>
                  <a:gd name="connsiteY38" fmla="*/ 4259441 h 4313518"/>
                  <a:gd name="connsiteX39" fmla="*/ 62980 w 3372040"/>
                  <a:gd name="connsiteY39" fmla="*/ 4310095 h 4313518"/>
                  <a:gd name="connsiteX40" fmla="*/ 113633 w 3372040"/>
                  <a:gd name="connsiteY40" fmla="*/ 4259441 h 4313518"/>
                  <a:gd name="connsiteX41" fmla="*/ 113633 w 3372040"/>
                  <a:gd name="connsiteY41" fmla="*/ 3573641 h 4313518"/>
                  <a:gd name="connsiteX42" fmla="*/ 674846 w 3372040"/>
                  <a:gd name="connsiteY42" fmla="*/ 2862218 h 4313518"/>
                  <a:gd name="connsiteX43" fmla="*/ 1479233 w 3372040"/>
                  <a:gd name="connsiteY43" fmla="*/ 4307161 h 4313518"/>
                  <a:gd name="connsiteX44" fmla="*/ 1479233 w 3372040"/>
                  <a:gd name="connsiteY44" fmla="*/ 4307161 h 4313518"/>
                  <a:gd name="connsiteX45" fmla="*/ 1479233 w 3372040"/>
                  <a:gd name="connsiteY45" fmla="*/ 4307161 h 4313518"/>
                  <a:gd name="connsiteX46" fmla="*/ 1479233 w 3372040"/>
                  <a:gd name="connsiteY46" fmla="*/ 4307161 h 4313518"/>
                  <a:gd name="connsiteX47" fmla="*/ 1479233 w 3372040"/>
                  <a:gd name="connsiteY47" fmla="*/ 4307161 h 4313518"/>
                  <a:gd name="connsiteX48" fmla="*/ 1481328 w 3372040"/>
                  <a:gd name="connsiteY48" fmla="*/ 4308399 h 4313518"/>
                  <a:gd name="connsiteX49" fmla="*/ 1484376 w 3372040"/>
                  <a:gd name="connsiteY49" fmla="*/ 4309923 h 4313518"/>
                  <a:gd name="connsiteX50" fmla="*/ 1485710 w 3372040"/>
                  <a:gd name="connsiteY50" fmla="*/ 4310590 h 4313518"/>
                  <a:gd name="connsiteX51" fmla="*/ 1486567 w 3372040"/>
                  <a:gd name="connsiteY51" fmla="*/ 4310590 h 4313518"/>
                  <a:gd name="connsiteX52" fmla="*/ 1489901 w 3372040"/>
                  <a:gd name="connsiteY52" fmla="*/ 4311828 h 4313518"/>
                  <a:gd name="connsiteX53" fmla="*/ 1491710 w 3372040"/>
                  <a:gd name="connsiteY53" fmla="*/ 4312495 h 4313518"/>
                  <a:gd name="connsiteX54" fmla="*/ 1493139 w 3372040"/>
                  <a:gd name="connsiteY54" fmla="*/ 4312971 h 4313518"/>
                  <a:gd name="connsiteX55" fmla="*/ 1494377 w 3372040"/>
                  <a:gd name="connsiteY55" fmla="*/ 4312971 h 4313518"/>
                  <a:gd name="connsiteX56" fmla="*/ 1495806 w 3372040"/>
                  <a:gd name="connsiteY56" fmla="*/ 4312971 h 4313518"/>
                  <a:gd name="connsiteX57" fmla="*/ 1497235 w 3372040"/>
                  <a:gd name="connsiteY57" fmla="*/ 4312971 h 4313518"/>
                  <a:gd name="connsiteX58" fmla="*/ 1499997 w 3372040"/>
                  <a:gd name="connsiteY58" fmla="*/ 4313447 h 4313518"/>
                  <a:gd name="connsiteX59" fmla="*/ 1501902 w 3372040"/>
                  <a:gd name="connsiteY59" fmla="*/ 4313447 h 4313518"/>
                  <a:gd name="connsiteX60" fmla="*/ 1501902 w 3372040"/>
                  <a:gd name="connsiteY60" fmla="*/ 4313447 h 4313518"/>
                  <a:gd name="connsiteX61" fmla="*/ 1502759 w 3372040"/>
                  <a:gd name="connsiteY61" fmla="*/ 4313447 h 4313518"/>
                  <a:gd name="connsiteX62" fmla="*/ 1508570 w 3372040"/>
                  <a:gd name="connsiteY62" fmla="*/ 4313447 h 4313518"/>
                  <a:gd name="connsiteX63" fmla="*/ 1514475 w 3372040"/>
                  <a:gd name="connsiteY63" fmla="*/ 4313447 h 4313518"/>
                  <a:gd name="connsiteX64" fmla="*/ 2697099 w 3372040"/>
                  <a:gd name="connsiteY64" fmla="*/ 2862218 h 4313518"/>
                  <a:gd name="connsiteX65" fmla="*/ 3258407 w 3372040"/>
                  <a:gd name="connsiteY65" fmla="*/ 3573641 h 4313518"/>
                  <a:gd name="connsiteX66" fmla="*/ 3258407 w 3372040"/>
                  <a:gd name="connsiteY66" fmla="*/ 4259441 h 4313518"/>
                  <a:gd name="connsiteX67" fmla="*/ 3321387 w 3372040"/>
                  <a:gd name="connsiteY67" fmla="*/ 4310095 h 4313518"/>
                  <a:gd name="connsiteX68" fmla="*/ 3372041 w 3372040"/>
                  <a:gd name="connsiteY68" fmla="*/ 4259441 h 4313518"/>
                  <a:gd name="connsiteX69" fmla="*/ 3372041 w 3372040"/>
                  <a:gd name="connsiteY69" fmla="*/ 3573641 h 4313518"/>
                  <a:gd name="connsiteX70" fmla="*/ 2659856 w 3372040"/>
                  <a:gd name="connsiteY70" fmla="*/ 2738965 h 4313518"/>
                  <a:gd name="connsiteX71" fmla="*/ 2094929 w 3372040"/>
                  <a:gd name="connsiteY71" fmla="*/ 2807545 h 4313518"/>
                  <a:gd name="connsiteX72" fmla="*/ 2098548 w 3372040"/>
                  <a:gd name="connsiteY72" fmla="*/ 2806497 h 4313518"/>
                  <a:gd name="connsiteX73" fmla="*/ 2114169 w 3372040"/>
                  <a:gd name="connsiteY73" fmla="*/ 2813069 h 4313518"/>
                  <a:gd name="connsiteX74" fmla="*/ 2117122 w 3372040"/>
                  <a:gd name="connsiteY74" fmla="*/ 2823547 h 4313518"/>
                  <a:gd name="connsiteX75" fmla="*/ 2098072 w 3372040"/>
                  <a:gd name="connsiteY75" fmla="*/ 3093009 h 4313518"/>
                  <a:gd name="connsiteX76" fmla="*/ 2091976 w 3372040"/>
                  <a:gd name="connsiteY76" fmla="*/ 3117584 h 4313518"/>
                  <a:gd name="connsiteX77" fmla="*/ 2087880 w 3372040"/>
                  <a:gd name="connsiteY77" fmla="*/ 3120441 h 4313518"/>
                  <a:gd name="connsiteX78" fmla="*/ 2071688 w 3372040"/>
                  <a:gd name="connsiteY78" fmla="*/ 3119012 h 4313518"/>
                  <a:gd name="connsiteX79" fmla="*/ 1802797 w 3372040"/>
                  <a:gd name="connsiteY79" fmla="*/ 2927560 h 4313518"/>
                  <a:gd name="connsiteX80" fmla="*/ 2060543 w 3372040"/>
                  <a:gd name="connsiteY80" fmla="*/ 3234265 h 4313518"/>
                  <a:gd name="connsiteX81" fmla="*/ 1686973 w 3372040"/>
                  <a:gd name="connsiteY81" fmla="*/ 3990741 h 4313518"/>
                  <a:gd name="connsiteX82" fmla="*/ 1313402 w 3372040"/>
                  <a:gd name="connsiteY82" fmla="*/ 3233789 h 4313518"/>
                  <a:gd name="connsiteX83" fmla="*/ 1365599 w 3372040"/>
                  <a:gd name="connsiteY83" fmla="*/ 3211691 h 4313518"/>
                  <a:gd name="connsiteX84" fmla="*/ 1685925 w 3372040"/>
                  <a:gd name="connsiteY84" fmla="*/ 2983757 h 4313518"/>
                  <a:gd name="connsiteX85" fmla="*/ 2006251 w 3372040"/>
                  <a:gd name="connsiteY85" fmla="*/ 3211595 h 4313518"/>
                  <a:gd name="connsiteX86" fmla="*/ 2060543 w 3372040"/>
                  <a:gd name="connsiteY86" fmla="*/ 3234265 h 4313518"/>
                  <a:gd name="connsiteX87" fmla="*/ 2519934 w 3372040"/>
                  <a:gd name="connsiteY87" fmla="*/ 1699597 h 4313518"/>
                  <a:gd name="connsiteX88" fmla="*/ 2519934 w 3372040"/>
                  <a:gd name="connsiteY88" fmla="*/ 1710836 h 4313518"/>
                  <a:gd name="connsiteX89" fmla="*/ 2500027 w 3372040"/>
                  <a:gd name="connsiteY89" fmla="*/ 1723219 h 4313518"/>
                  <a:gd name="connsiteX90" fmla="*/ 1898999 w 3372040"/>
                  <a:gd name="connsiteY90" fmla="*/ 1723219 h 4313518"/>
                  <a:gd name="connsiteX91" fmla="*/ 1853279 w 3372040"/>
                  <a:gd name="connsiteY91" fmla="*/ 1677499 h 4313518"/>
                  <a:gd name="connsiteX92" fmla="*/ 1853279 w 3372040"/>
                  <a:gd name="connsiteY92" fmla="*/ 1401274 h 4313518"/>
                  <a:gd name="connsiteX93" fmla="*/ 1898999 w 3372040"/>
                  <a:gd name="connsiteY93" fmla="*/ 1355554 h 4313518"/>
                  <a:gd name="connsiteX94" fmla="*/ 2520124 w 3372040"/>
                  <a:gd name="connsiteY94" fmla="*/ 1355554 h 4313518"/>
                  <a:gd name="connsiteX95" fmla="*/ 2519934 w 3372040"/>
                  <a:gd name="connsiteY95" fmla="*/ 1242397 h 4313518"/>
                  <a:gd name="connsiteX96" fmla="*/ 1898809 w 3372040"/>
                  <a:gd name="connsiteY96" fmla="*/ 1242397 h 4313518"/>
                  <a:gd name="connsiteX97" fmla="*/ 1739551 w 3372040"/>
                  <a:gd name="connsiteY97" fmla="*/ 1401655 h 4313518"/>
                  <a:gd name="connsiteX98" fmla="*/ 1739551 w 3372040"/>
                  <a:gd name="connsiteY98" fmla="*/ 1488713 h 4313518"/>
                  <a:gd name="connsiteX99" fmla="*/ 1632299 w 3372040"/>
                  <a:gd name="connsiteY99" fmla="*/ 1488713 h 4313518"/>
                  <a:gd name="connsiteX100" fmla="*/ 1632299 w 3372040"/>
                  <a:gd name="connsiteY100" fmla="*/ 1401655 h 4313518"/>
                  <a:gd name="connsiteX101" fmla="*/ 1473041 w 3372040"/>
                  <a:gd name="connsiteY101" fmla="*/ 1242397 h 4313518"/>
                  <a:gd name="connsiteX102" fmla="*/ 851916 w 3372040"/>
                  <a:gd name="connsiteY102" fmla="*/ 1242397 h 4313518"/>
                  <a:gd name="connsiteX103" fmla="*/ 851916 w 3372040"/>
                  <a:gd name="connsiteY103" fmla="*/ 987127 h 4313518"/>
                  <a:gd name="connsiteX104" fmla="*/ 925639 w 3372040"/>
                  <a:gd name="connsiteY104" fmla="*/ 992651 h 4313518"/>
                  <a:gd name="connsiteX105" fmla="*/ 2519934 w 3372040"/>
                  <a:gd name="connsiteY105" fmla="*/ 992651 h 4313518"/>
                  <a:gd name="connsiteX106" fmla="*/ 2726531 w 3372040"/>
                  <a:gd name="connsiteY106" fmla="*/ 1707503 h 4313518"/>
                  <a:gd name="connsiteX107" fmla="*/ 2633472 w 3372040"/>
                  <a:gd name="connsiteY107" fmla="*/ 1707503 h 4313518"/>
                  <a:gd name="connsiteX108" fmla="*/ 2633472 w 3372040"/>
                  <a:gd name="connsiteY108" fmla="*/ 1699692 h 4313518"/>
                  <a:gd name="connsiteX109" fmla="*/ 2633472 w 3372040"/>
                  <a:gd name="connsiteY109" fmla="*/ 1430706 h 4313518"/>
                  <a:gd name="connsiteX110" fmla="*/ 2726436 w 3372040"/>
                  <a:gd name="connsiteY110" fmla="*/ 1430706 h 4313518"/>
                  <a:gd name="connsiteX111" fmla="*/ 2857291 w 3372040"/>
                  <a:gd name="connsiteY111" fmla="*/ 1576077 h 4313518"/>
                  <a:gd name="connsiteX112" fmla="*/ 2726436 w 3372040"/>
                  <a:gd name="connsiteY112" fmla="*/ 1706931 h 4313518"/>
                  <a:gd name="connsiteX113" fmla="*/ 645319 w 3372040"/>
                  <a:gd name="connsiteY113" fmla="*/ 1707503 h 4313518"/>
                  <a:gd name="connsiteX114" fmla="*/ 514464 w 3372040"/>
                  <a:gd name="connsiteY114" fmla="*/ 1562132 h 4313518"/>
                  <a:gd name="connsiteX115" fmla="*/ 645319 w 3372040"/>
                  <a:gd name="connsiteY115" fmla="*/ 1431278 h 4313518"/>
                  <a:gd name="connsiteX116" fmla="*/ 738283 w 3372040"/>
                  <a:gd name="connsiteY116" fmla="*/ 1431278 h 4313518"/>
                  <a:gd name="connsiteX117" fmla="*/ 738283 w 3372040"/>
                  <a:gd name="connsiteY117" fmla="*/ 1700073 h 4313518"/>
                  <a:gd name="connsiteX118" fmla="*/ 738283 w 3372040"/>
                  <a:gd name="connsiteY118" fmla="*/ 1707884 h 4313518"/>
                  <a:gd name="connsiteX119" fmla="*/ 544544 w 3372040"/>
                  <a:gd name="connsiteY119" fmla="*/ 497828 h 4313518"/>
                  <a:gd name="connsiteX120" fmla="*/ 544544 w 3372040"/>
                  <a:gd name="connsiteY120" fmla="*/ 152261 h 4313518"/>
                  <a:gd name="connsiteX121" fmla="*/ 602742 w 3372040"/>
                  <a:gd name="connsiteY121" fmla="*/ 184074 h 4313518"/>
                  <a:gd name="connsiteX122" fmla="*/ 983171 w 3372040"/>
                  <a:gd name="connsiteY122" fmla="*/ 281515 h 4313518"/>
                  <a:gd name="connsiteX123" fmla="*/ 2112550 w 3372040"/>
                  <a:gd name="connsiteY123" fmla="*/ 281515 h 4313518"/>
                  <a:gd name="connsiteX124" fmla="*/ 2834164 w 3372040"/>
                  <a:gd name="connsiteY124" fmla="*/ 1003129 h 4313518"/>
                  <a:gd name="connsiteX125" fmla="*/ 2834164 w 3372040"/>
                  <a:gd name="connsiteY125" fmla="*/ 1341743 h 4313518"/>
                  <a:gd name="connsiteX126" fmla="*/ 2726531 w 3372040"/>
                  <a:gd name="connsiteY126" fmla="*/ 1317359 h 4313518"/>
                  <a:gd name="connsiteX127" fmla="*/ 2633567 w 3372040"/>
                  <a:gd name="connsiteY127" fmla="*/ 1317359 h 4313518"/>
                  <a:gd name="connsiteX128" fmla="*/ 2633567 w 3372040"/>
                  <a:gd name="connsiteY128" fmla="*/ 936359 h 4313518"/>
                  <a:gd name="connsiteX129" fmla="*/ 2576417 w 3372040"/>
                  <a:gd name="connsiteY129" fmla="*/ 879209 h 4313518"/>
                  <a:gd name="connsiteX130" fmla="*/ 925639 w 3372040"/>
                  <a:gd name="connsiteY130" fmla="*/ 879209 h 4313518"/>
                  <a:gd name="connsiteX131" fmla="*/ 544544 w 3372040"/>
                  <a:gd name="connsiteY131" fmla="*/ 498018 h 4313518"/>
                  <a:gd name="connsiteX132" fmla="*/ 851916 w 3372040"/>
                  <a:gd name="connsiteY132" fmla="*/ 1699311 h 4313518"/>
                  <a:gd name="connsiteX133" fmla="*/ 851916 w 3372040"/>
                  <a:gd name="connsiteY133" fmla="*/ 1355744 h 4313518"/>
                  <a:gd name="connsiteX134" fmla="*/ 1473041 w 3372040"/>
                  <a:gd name="connsiteY134" fmla="*/ 1355744 h 4313518"/>
                  <a:gd name="connsiteX135" fmla="*/ 1518761 w 3372040"/>
                  <a:gd name="connsiteY135" fmla="*/ 1401464 h 4313518"/>
                  <a:gd name="connsiteX136" fmla="*/ 1518761 w 3372040"/>
                  <a:gd name="connsiteY136" fmla="*/ 1677689 h 4313518"/>
                  <a:gd name="connsiteX137" fmla="*/ 1473041 w 3372040"/>
                  <a:gd name="connsiteY137" fmla="*/ 1723409 h 4313518"/>
                  <a:gd name="connsiteX138" fmla="*/ 872014 w 3372040"/>
                  <a:gd name="connsiteY138" fmla="*/ 1723409 h 4313518"/>
                  <a:gd name="connsiteX139" fmla="*/ 852107 w 3372040"/>
                  <a:gd name="connsiteY139" fmla="*/ 1711027 h 4313518"/>
                  <a:gd name="connsiteX140" fmla="*/ 851916 w 3372040"/>
                  <a:gd name="connsiteY140" fmla="*/ 1699502 h 4313518"/>
                  <a:gd name="connsiteX141" fmla="*/ 1190435 w 3372040"/>
                  <a:gd name="connsiteY141" fmla="*/ 2270811 h 4313518"/>
                  <a:gd name="connsiteX142" fmla="*/ 865918 w 3372040"/>
                  <a:gd name="connsiteY142" fmla="*/ 1836281 h 4313518"/>
                  <a:gd name="connsiteX143" fmla="*/ 1473041 w 3372040"/>
                  <a:gd name="connsiteY143" fmla="*/ 1836281 h 4313518"/>
                  <a:gd name="connsiteX144" fmla="*/ 1632299 w 3372040"/>
                  <a:gd name="connsiteY144" fmla="*/ 1677023 h 4313518"/>
                  <a:gd name="connsiteX145" fmla="*/ 1632299 w 3372040"/>
                  <a:gd name="connsiteY145" fmla="*/ 1601775 h 4313518"/>
                  <a:gd name="connsiteX146" fmla="*/ 1739551 w 3372040"/>
                  <a:gd name="connsiteY146" fmla="*/ 1601775 h 4313518"/>
                  <a:gd name="connsiteX147" fmla="*/ 1739551 w 3372040"/>
                  <a:gd name="connsiteY147" fmla="*/ 1677023 h 4313518"/>
                  <a:gd name="connsiteX148" fmla="*/ 1898809 w 3372040"/>
                  <a:gd name="connsiteY148" fmla="*/ 1836281 h 4313518"/>
                  <a:gd name="connsiteX149" fmla="*/ 2505837 w 3372040"/>
                  <a:gd name="connsiteY149" fmla="*/ 1836281 h 4313518"/>
                  <a:gd name="connsiteX150" fmla="*/ 2175510 w 3372040"/>
                  <a:gd name="connsiteY150" fmla="*/ 2273859 h 4313518"/>
                  <a:gd name="connsiteX151" fmla="*/ 1685925 w 3372040"/>
                  <a:gd name="connsiteY151" fmla="*/ 2385302 h 4313518"/>
                  <a:gd name="connsiteX152" fmla="*/ 1190625 w 3372040"/>
                  <a:gd name="connsiteY152" fmla="*/ 2271192 h 4313518"/>
                  <a:gd name="connsiteX153" fmla="*/ 1516380 w 3372040"/>
                  <a:gd name="connsiteY153" fmla="*/ 2487886 h 4313518"/>
                  <a:gd name="connsiteX154" fmla="*/ 1855470 w 3372040"/>
                  <a:gd name="connsiteY154" fmla="*/ 2487886 h 4313518"/>
                  <a:gd name="connsiteX155" fmla="*/ 1983486 w 3372040"/>
                  <a:gd name="connsiteY155" fmla="*/ 2730202 h 4313518"/>
                  <a:gd name="connsiteX156" fmla="*/ 1685925 w 3372040"/>
                  <a:gd name="connsiteY156" fmla="*/ 2852693 h 4313518"/>
                  <a:gd name="connsiteX157" fmla="*/ 1388364 w 3372040"/>
                  <a:gd name="connsiteY157" fmla="*/ 2730583 h 4313518"/>
                  <a:gd name="connsiteX158" fmla="*/ 1516380 w 3372040"/>
                  <a:gd name="connsiteY158" fmla="*/ 2488267 h 4313518"/>
                  <a:gd name="connsiteX159" fmla="*/ 1257300 w 3372040"/>
                  <a:gd name="connsiteY159" fmla="*/ 2813165 h 4313518"/>
                  <a:gd name="connsiteX160" fmla="*/ 1273016 w 3372040"/>
                  <a:gd name="connsiteY160" fmla="*/ 2806592 h 4313518"/>
                  <a:gd name="connsiteX161" fmla="*/ 1276636 w 3372040"/>
                  <a:gd name="connsiteY161" fmla="*/ 2807640 h 4313518"/>
                  <a:gd name="connsiteX162" fmla="*/ 1568672 w 3372040"/>
                  <a:gd name="connsiteY162" fmla="*/ 2927560 h 4313518"/>
                  <a:gd name="connsiteX163" fmla="*/ 1299401 w 3372040"/>
                  <a:gd name="connsiteY163" fmla="*/ 3119108 h 4313518"/>
                  <a:gd name="connsiteX164" fmla="*/ 1283208 w 3372040"/>
                  <a:gd name="connsiteY164" fmla="*/ 3120536 h 4313518"/>
                  <a:gd name="connsiteX165" fmla="*/ 1281875 w 3372040"/>
                  <a:gd name="connsiteY165" fmla="*/ 3119679 h 4313518"/>
                  <a:gd name="connsiteX166" fmla="*/ 1272350 w 3372040"/>
                  <a:gd name="connsiteY166" fmla="*/ 3079865 h 4313518"/>
                  <a:gd name="connsiteX167" fmla="*/ 1254633 w 3372040"/>
                  <a:gd name="connsiteY167" fmla="*/ 2823642 h 4313518"/>
                  <a:gd name="connsiteX168" fmla="*/ 1257300 w 3372040"/>
                  <a:gd name="connsiteY168" fmla="*/ 2813165 h 4313518"/>
                  <a:gd name="connsiteX169" fmla="*/ 1504950 w 3372040"/>
                  <a:gd name="connsiteY169" fmla="*/ 4188099 h 4313518"/>
                  <a:gd name="connsiteX170" fmla="*/ 787813 w 3372040"/>
                  <a:gd name="connsiteY170" fmla="*/ 2844407 h 4313518"/>
                  <a:gd name="connsiteX171" fmla="*/ 844963 w 3372040"/>
                  <a:gd name="connsiteY171" fmla="*/ 2842216 h 4313518"/>
                  <a:gd name="connsiteX172" fmla="*/ 1105472 w 3372040"/>
                  <a:gd name="connsiteY172" fmla="*/ 2842216 h 4313518"/>
                  <a:gd name="connsiteX173" fmla="*/ 1111758 w 3372040"/>
                  <a:gd name="connsiteY173" fmla="*/ 2842216 h 4313518"/>
                  <a:gd name="connsiteX174" fmla="*/ 1160431 w 3372040"/>
                  <a:gd name="connsiteY174" fmla="*/ 3104725 h 4313518"/>
                  <a:gd name="connsiteX175" fmla="*/ 1161098 w 3372040"/>
                  <a:gd name="connsiteY175" fmla="*/ 3115107 h 4313518"/>
                  <a:gd name="connsiteX176" fmla="*/ 1175671 w 3372040"/>
                  <a:gd name="connsiteY176" fmla="*/ 3166733 h 4313518"/>
                  <a:gd name="connsiteX177" fmla="*/ 1612583 w 3372040"/>
                  <a:gd name="connsiteY177" fmla="*/ 4079704 h 4313518"/>
                  <a:gd name="connsiteX178" fmla="*/ 1504950 w 3372040"/>
                  <a:gd name="connsiteY178" fmla="*/ 4188099 h 4313518"/>
                  <a:gd name="connsiteX179" fmla="*/ 1680020 w 3372040"/>
                  <a:gd name="connsiteY179" fmla="*/ 4174763 h 4313518"/>
                  <a:gd name="connsiteX180" fmla="*/ 2202371 w 3372040"/>
                  <a:gd name="connsiteY180" fmla="*/ 3153017 h 4313518"/>
                  <a:gd name="connsiteX181" fmla="*/ 2210181 w 3372040"/>
                  <a:gd name="connsiteY181" fmla="*/ 3121394 h 4313518"/>
                  <a:gd name="connsiteX182" fmla="*/ 2262569 w 3372040"/>
                  <a:gd name="connsiteY182" fmla="*/ 2842025 h 4313518"/>
                  <a:gd name="connsiteX183" fmla="*/ 2266474 w 3372040"/>
                  <a:gd name="connsiteY183" fmla="*/ 2842025 h 4313518"/>
                  <a:gd name="connsiteX184" fmla="*/ 2526983 w 3372040"/>
                  <a:gd name="connsiteY184" fmla="*/ 2842025 h 4313518"/>
                  <a:gd name="connsiteX185" fmla="*/ 2585085 w 3372040"/>
                  <a:gd name="connsiteY185" fmla="*/ 2844311 h 4313518"/>
                  <a:gd name="connsiteX186" fmla="*/ 1679543 w 3372040"/>
                  <a:gd name="connsiteY186" fmla="*/ 4174763 h 431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3372040" h="4313518">
                    <a:moveTo>
                      <a:pt x="2659856" y="2738965"/>
                    </a:moveTo>
                    <a:lnTo>
                      <a:pt x="2659856" y="2738965"/>
                    </a:lnTo>
                    <a:cubicBezTo>
                      <a:pt x="2615975" y="2731993"/>
                      <a:pt x="2571607" y="2728487"/>
                      <a:pt x="2527173" y="2728487"/>
                    </a:cubicBezTo>
                    <a:lnTo>
                      <a:pt x="2266950" y="2728487"/>
                    </a:lnTo>
                    <a:cubicBezTo>
                      <a:pt x="2252834" y="2728487"/>
                      <a:pt x="2238727" y="2727468"/>
                      <a:pt x="2224754" y="2725439"/>
                    </a:cubicBezTo>
                    <a:cubicBezTo>
                      <a:pt x="2222430" y="2724944"/>
                      <a:pt x="2220078" y="2724592"/>
                      <a:pt x="2217706" y="2724392"/>
                    </a:cubicBezTo>
                    <a:lnTo>
                      <a:pt x="2217706" y="2724392"/>
                    </a:lnTo>
                    <a:cubicBezTo>
                      <a:pt x="2201790" y="2721734"/>
                      <a:pt x="2186111" y="2717791"/>
                      <a:pt x="2170843" y="2712581"/>
                    </a:cubicBezTo>
                    <a:cubicBezTo>
                      <a:pt x="2158651" y="2704875"/>
                      <a:pt x="2145259" y="2699274"/>
                      <a:pt x="2131219" y="2696007"/>
                    </a:cubicBezTo>
                    <a:cubicBezTo>
                      <a:pt x="2043046" y="2651364"/>
                      <a:pt x="1982210" y="2566486"/>
                      <a:pt x="1968246" y="2468645"/>
                    </a:cubicBezTo>
                    <a:cubicBezTo>
                      <a:pt x="2058495" y="2448614"/>
                      <a:pt x="2145840" y="2417220"/>
                      <a:pt x="2228183" y="2375205"/>
                    </a:cubicBezTo>
                    <a:cubicBezTo>
                      <a:pt x="2441762" y="2264839"/>
                      <a:pt x="2589333" y="2058613"/>
                      <a:pt x="2624899" y="1820850"/>
                    </a:cubicBezTo>
                    <a:lnTo>
                      <a:pt x="2727293" y="1820850"/>
                    </a:lnTo>
                    <a:cubicBezTo>
                      <a:pt x="2867006" y="1819221"/>
                      <a:pt x="2978944" y="1704645"/>
                      <a:pt x="2977315" y="1564932"/>
                    </a:cubicBezTo>
                    <a:cubicBezTo>
                      <a:pt x="2976848" y="1525127"/>
                      <a:pt x="2967000" y="1485989"/>
                      <a:pt x="2948559" y="1450709"/>
                    </a:cubicBezTo>
                    <a:lnTo>
                      <a:pt x="2948559" y="1003034"/>
                    </a:lnTo>
                    <a:cubicBezTo>
                      <a:pt x="2948350" y="541437"/>
                      <a:pt x="2574151" y="167320"/>
                      <a:pt x="2112550" y="167215"/>
                    </a:cubicBezTo>
                    <a:lnTo>
                      <a:pt x="983171" y="167215"/>
                    </a:lnTo>
                    <a:cubicBezTo>
                      <a:pt x="869299" y="167271"/>
                      <a:pt x="757238" y="138780"/>
                      <a:pt x="657225" y="84347"/>
                    </a:cubicBezTo>
                    <a:lnTo>
                      <a:pt x="515017" y="6718"/>
                    </a:lnTo>
                    <a:cubicBezTo>
                      <a:pt x="487156" y="-8118"/>
                      <a:pt x="452542" y="2439"/>
                      <a:pt x="437712" y="30297"/>
                    </a:cubicBezTo>
                    <a:cubicBezTo>
                      <a:pt x="433407" y="38380"/>
                      <a:pt x="431111" y="47378"/>
                      <a:pt x="431006" y="56534"/>
                    </a:cubicBezTo>
                    <a:lnTo>
                      <a:pt x="431006" y="498018"/>
                    </a:lnTo>
                    <a:cubicBezTo>
                      <a:pt x="431225" y="698748"/>
                      <a:pt x="552583" y="879494"/>
                      <a:pt x="738283" y="955694"/>
                    </a:cubicBezTo>
                    <a:lnTo>
                      <a:pt x="738283" y="1317073"/>
                    </a:lnTo>
                    <a:lnTo>
                      <a:pt x="645319" y="1317073"/>
                    </a:lnTo>
                    <a:cubicBezTo>
                      <a:pt x="506178" y="1317073"/>
                      <a:pt x="393383" y="1429868"/>
                      <a:pt x="393383" y="1569009"/>
                    </a:cubicBezTo>
                    <a:cubicBezTo>
                      <a:pt x="393383" y="1708150"/>
                      <a:pt x="506178" y="1820945"/>
                      <a:pt x="645319" y="1820945"/>
                    </a:cubicBezTo>
                    <a:lnTo>
                      <a:pt x="747713" y="1820945"/>
                    </a:lnTo>
                    <a:cubicBezTo>
                      <a:pt x="782707" y="2056308"/>
                      <a:pt x="927745" y="2260915"/>
                      <a:pt x="1138238" y="2371871"/>
                    </a:cubicBezTo>
                    <a:cubicBezTo>
                      <a:pt x="1222543" y="2415620"/>
                      <a:pt x="1312202" y="2448186"/>
                      <a:pt x="1404938" y="2468741"/>
                    </a:cubicBezTo>
                    <a:cubicBezTo>
                      <a:pt x="1391012" y="2566648"/>
                      <a:pt x="1330128" y="2651582"/>
                      <a:pt x="1241870" y="2696198"/>
                    </a:cubicBezTo>
                    <a:cubicBezTo>
                      <a:pt x="1227877" y="2699493"/>
                      <a:pt x="1214523" y="2705056"/>
                      <a:pt x="1202341" y="2712676"/>
                    </a:cubicBezTo>
                    <a:cubicBezTo>
                      <a:pt x="1171299" y="2723230"/>
                      <a:pt x="1138733" y="2728602"/>
                      <a:pt x="1105948" y="2728583"/>
                    </a:cubicBezTo>
                    <a:lnTo>
                      <a:pt x="844868" y="2728583"/>
                    </a:lnTo>
                    <a:cubicBezTo>
                      <a:pt x="800433" y="2728583"/>
                      <a:pt x="756066" y="2732088"/>
                      <a:pt x="712184" y="2739060"/>
                    </a:cubicBezTo>
                    <a:lnTo>
                      <a:pt x="711232" y="2739060"/>
                    </a:lnTo>
                    <a:cubicBezTo>
                      <a:pt x="301657" y="2805354"/>
                      <a:pt x="505" y="3158741"/>
                      <a:pt x="0" y="3573641"/>
                    </a:cubicBezTo>
                    <a:lnTo>
                      <a:pt x="0" y="4259441"/>
                    </a:lnTo>
                    <a:cubicBezTo>
                      <a:pt x="3404" y="4290816"/>
                      <a:pt x="31601" y="4313495"/>
                      <a:pt x="62980" y="4310095"/>
                    </a:cubicBezTo>
                    <a:cubicBezTo>
                      <a:pt x="89665" y="4307199"/>
                      <a:pt x="110739" y="4286120"/>
                      <a:pt x="113633" y="4259441"/>
                    </a:cubicBezTo>
                    <a:lnTo>
                      <a:pt x="113633" y="3573641"/>
                    </a:lnTo>
                    <a:cubicBezTo>
                      <a:pt x="114048" y="3235379"/>
                      <a:pt x="345977" y="2941371"/>
                      <a:pt x="674846" y="2862218"/>
                    </a:cubicBezTo>
                    <a:cubicBezTo>
                      <a:pt x="710279" y="3097295"/>
                      <a:pt x="875443" y="3930447"/>
                      <a:pt x="1479233" y="4307161"/>
                    </a:cubicBezTo>
                    <a:lnTo>
                      <a:pt x="1479233" y="4307161"/>
                    </a:lnTo>
                    <a:lnTo>
                      <a:pt x="1479233" y="4307161"/>
                    </a:lnTo>
                    <a:lnTo>
                      <a:pt x="1479233" y="4307161"/>
                    </a:lnTo>
                    <a:lnTo>
                      <a:pt x="1479233" y="4307161"/>
                    </a:lnTo>
                    <a:lnTo>
                      <a:pt x="1481328" y="4308399"/>
                    </a:lnTo>
                    <a:lnTo>
                      <a:pt x="1484376" y="4309923"/>
                    </a:lnTo>
                    <a:lnTo>
                      <a:pt x="1485710" y="4310590"/>
                    </a:lnTo>
                    <a:lnTo>
                      <a:pt x="1486567" y="4310590"/>
                    </a:lnTo>
                    <a:lnTo>
                      <a:pt x="1489901" y="4311828"/>
                    </a:lnTo>
                    <a:lnTo>
                      <a:pt x="1491710" y="4312495"/>
                    </a:lnTo>
                    <a:lnTo>
                      <a:pt x="1493139" y="4312971"/>
                    </a:lnTo>
                    <a:lnTo>
                      <a:pt x="1494377" y="4312971"/>
                    </a:lnTo>
                    <a:lnTo>
                      <a:pt x="1495806" y="4312971"/>
                    </a:lnTo>
                    <a:lnTo>
                      <a:pt x="1497235" y="4312971"/>
                    </a:lnTo>
                    <a:lnTo>
                      <a:pt x="1499997" y="4313447"/>
                    </a:lnTo>
                    <a:lnTo>
                      <a:pt x="1501902" y="4313447"/>
                    </a:lnTo>
                    <a:lnTo>
                      <a:pt x="1501902" y="4313447"/>
                    </a:lnTo>
                    <a:lnTo>
                      <a:pt x="1502759" y="4313447"/>
                    </a:lnTo>
                    <a:cubicBezTo>
                      <a:pt x="1504693" y="4313543"/>
                      <a:pt x="1506636" y="4313543"/>
                      <a:pt x="1508570" y="4313447"/>
                    </a:cubicBezTo>
                    <a:lnTo>
                      <a:pt x="1514475" y="4313447"/>
                    </a:lnTo>
                    <a:cubicBezTo>
                      <a:pt x="2431923" y="4251726"/>
                      <a:pt x="2655570" y="3139015"/>
                      <a:pt x="2697099" y="2862218"/>
                    </a:cubicBezTo>
                    <a:cubicBezTo>
                      <a:pt x="3026007" y="2941333"/>
                      <a:pt x="3257979" y="3235351"/>
                      <a:pt x="3258407" y="3573641"/>
                    </a:cubicBezTo>
                    <a:lnTo>
                      <a:pt x="3258407" y="4259441"/>
                    </a:lnTo>
                    <a:cubicBezTo>
                      <a:pt x="3261808" y="4290816"/>
                      <a:pt x="3290011" y="4313495"/>
                      <a:pt x="3321387" y="4310095"/>
                    </a:cubicBezTo>
                    <a:cubicBezTo>
                      <a:pt x="3348076" y="4307199"/>
                      <a:pt x="3369145" y="4286120"/>
                      <a:pt x="3372041" y="4259441"/>
                    </a:cubicBezTo>
                    <a:lnTo>
                      <a:pt x="3372041" y="3573641"/>
                    </a:lnTo>
                    <a:cubicBezTo>
                      <a:pt x="3371545" y="3158379"/>
                      <a:pt x="3069860" y="2804811"/>
                      <a:pt x="2659856" y="2738965"/>
                    </a:cubicBezTo>
                    <a:close/>
                    <a:moveTo>
                      <a:pt x="2094929" y="2807545"/>
                    </a:moveTo>
                    <a:cubicBezTo>
                      <a:pt x="2096081" y="2807030"/>
                      <a:pt x="2097300" y="2806678"/>
                      <a:pt x="2098548" y="2806497"/>
                    </a:cubicBezTo>
                    <a:cubicBezTo>
                      <a:pt x="2103691" y="2808783"/>
                      <a:pt x="2108930" y="2810974"/>
                      <a:pt x="2114169" y="2813069"/>
                    </a:cubicBezTo>
                    <a:cubicBezTo>
                      <a:pt x="2116398" y="2816079"/>
                      <a:pt x="2117455" y="2819813"/>
                      <a:pt x="2117122" y="2823547"/>
                    </a:cubicBezTo>
                    <a:lnTo>
                      <a:pt x="2098072" y="3093009"/>
                    </a:lnTo>
                    <a:cubicBezTo>
                      <a:pt x="2096072" y="3101105"/>
                      <a:pt x="2094071" y="3109297"/>
                      <a:pt x="2091976" y="3117584"/>
                    </a:cubicBezTo>
                    <a:cubicBezTo>
                      <a:pt x="2090766" y="3118746"/>
                      <a:pt x="2089385" y="3119708"/>
                      <a:pt x="2087880" y="3120441"/>
                    </a:cubicBezTo>
                    <a:cubicBezTo>
                      <a:pt x="2082660" y="3123127"/>
                      <a:pt x="2076355" y="3122565"/>
                      <a:pt x="2071688" y="3119012"/>
                    </a:cubicBezTo>
                    <a:lnTo>
                      <a:pt x="1802797" y="2927560"/>
                    </a:lnTo>
                    <a:close/>
                    <a:moveTo>
                      <a:pt x="2060543" y="3234265"/>
                    </a:moveTo>
                    <a:cubicBezTo>
                      <a:pt x="1992154" y="3465246"/>
                      <a:pt x="1877187" y="3747281"/>
                      <a:pt x="1686973" y="3990741"/>
                    </a:cubicBezTo>
                    <a:cubicBezTo>
                      <a:pt x="1496473" y="3747472"/>
                      <a:pt x="1381697" y="3465056"/>
                      <a:pt x="1313402" y="3233789"/>
                    </a:cubicBezTo>
                    <a:cubicBezTo>
                      <a:pt x="1332224" y="3230379"/>
                      <a:pt x="1350045" y="3222825"/>
                      <a:pt x="1365599" y="3211691"/>
                    </a:cubicBezTo>
                    <a:lnTo>
                      <a:pt x="1685925" y="2983757"/>
                    </a:lnTo>
                    <a:lnTo>
                      <a:pt x="2006251" y="3211595"/>
                    </a:lnTo>
                    <a:cubicBezTo>
                      <a:pt x="2022367" y="3223225"/>
                      <a:pt x="2040941" y="3230988"/>
                      <a:pt x="2060543" y="3234265"/>
                    </a:cubicBezTo>
                    <a:close/>
                    <a:moveTo>
                      <a:pt x="2519934" y="1699597"/>
                    </a:moveTo>
                    <a:cubicBezTo>
                      <a:pt x="2519934" y="1703407"/>
                      <a:pt x="2519934" y="1707122"/>
                      <a:pt x="2519934" y="1710836"/>
                    </a:cubicBezTo>
                    <a:cubicBezTo>
                      <a:pt x="2512533" y="1713580"/>
                      <a:pt x="2505761" y="1717790"/>
                      <a:pt x="2500027" y="1723219"/>
                    </a:cubicBezTo>
                    <a:lnTo>
                      <a:pt x="1898999" y="1723219"/>
                    </a:lnTo>
                    <a:cubicBezTo>
                      <a:pt x="1873748" y="1723219"/>
                      <a:pt x="1853279" y="1702750"/>
                      <a:pt x="1853279" y="1677499"/>
                    </a:cubicBezTo>
                    <a:lnTo>
                      <a:pt x="1853279" y="1401274"/>
                    </a:lnTo>
                    <a:cubicBezTo>
                      <a:pt x="1853279" y="1376023"/>
                      <a:pt x="1873748" y="1355554"/>
                      <a:pt x="1898999" y="1355554"/>
                    </a:cubicBezTo>
                    <a:lnTo>
                      <a:pt x="2520124" y="1355554"/>
                    </a:lnTo>
                    <a:close/>
                    <a:moveTo>
                      <a:pt x="2519934" y="1242397"/>
                    </a:moveTo>
                    <a:lnTo>
                      <a:pt x="1898809" y="1242397"/>
                    </a:lnTo>
                    <a:cubicBezTo>
                      <a:pt x="1810893" y="1242502"/>
                      <a:pt x="1739656" y="1313739"/>
                      <a:pt x="1739551" y="1401655"/>
                    </a:cubicBezTo>
                    <a:lnTo>
                      <a:pt x="1739551" y="1488713"/>
                    </a:lnTo>
                    <a:lnTo>
                      <a:pt x="1632299" y="1488713"/>
                    </a:lnTo>
                    <a:lnTo>
                      <a:pt x="1632299" y="1401655"/>
                    </a:lnTo>
                    <a:cubicBezTo>
                      <a:pt x="1632194" y="1313739"/>
                      <a:pt x="1560957" y="1242502"/>
                      <a:pt x="1473041" y="1242397"/>
                    </a:cubicBezTo>
                    <a:lnTo>
                      <a:pt x="851916" y="1242397"/>
                    </a:lnTo>
                    <a:lnTo>
                      <a:pt x="851916" y="987127"/>
                    </a:lnTo>
                    <a:cubicBezTo>
                      <a:pt x="876319" y="990803"/>
                      <a:pt x="900960" y="992651"/>
                      <a:pt x="925639" y="992651"/>
                    </a:cubicBezTo>
                    <a:lnTo>
                      <a:pt x="2519934" y="992651"/>
                    </a:lnTo>
                    <a:close/>
                    <a:moveTo>
                      <a:pt x="2726531" y="1707503"/>
                    </a:moveTo>
                    <a:lnTo>
                      <a:pt x="2633472" y="1707503"/>
                    </a:lnTo>
                    <a:cubicBezTo>
                      <a:pt x="2633472" y="1704931"/>
                      <a:pt x="2633472" y="1702359"/>
                      <a:pt x="2633472" y="1699692"/>
                    </a:cubicBezTo>
                    <a:lnTo>
                      <a:pt x="2633472" y="1430706"/>
                    </a:lnTo>
                    <a:lnTo>
                      <a:pt x="2726436" y="1430706"/>
                    </a:lnTo>
                    <a:cubicBezTo>
                      <a:pt x="2802712" y="1434716"/>
                      <a:pt x="2861300" y="1499800"/>
                      <a:pt x="2857291" y="1576077"/>
                    </a:cubicBezTo>
                    <a:cubicBezTo>
                      <a:pt x="2853576" y="1646752"/>
                      <a:pt x="2797112" y="1703216"/>
                      <a:pt x="2726436" y="1706931"/>
                    </a:cubicBezTo>
                    <a:close/>
                    <a:moveTo>
                      <a:pt x="645319" y="1707503"/>
                    </a:moveTo>
                    <a:cubicBezTo>
                      <a:pt x="569043" y="1703493"/>
                      <a:pt x="510454" y="1638408"/>
                      <a:pt x="514464" y="1562132"/>
                    </a:cubicBezTo>
                    <a:cubicBezTo>
                      <a:pt x="518179" y="1491457"/>
                      <a:pt x="574643" y="1434992"/>
                      <a:pt x="645319" y="1431278"/>
                    </a:cubicBezTo>
                    <a:lnTo>
                      <a:pt x="738283" y="1431278"/>
                    </a:lnTo>
                    <a:lnTo>
                      <a:pt x="738283" y="1700073"/>
                    </a:lnTo>
                    <a:cubicBezTo>
                      <a:pt x="738283" y="1702645"/>
                      <a:pt x="738283" y="1705312"/>
                      <a:pt x="738283" y="1707884"/>
                    </a:cubicBezTo>
                    <a:close/>
                    <a:moveTo>
                      <a:pt x="544544" y="497828"/>
                    </a:moveTo>
                    <a:lnTo>
                      <a:pt x="544544" y="152261"/>
                    </a:lnTo>
                    <a:lnTo>
                      <a:pt x="602742" y="184074"/>
                    </a:lnTo>
                    <a:cubicBezTo>
                      <a:pt x="719423" y="247824"/>
                      <a:pt x="850211" y="281324"/>
                      <a:pt x="983171" y="281515"/>
                    </a:cubicBezTo>
                    <a:lnTo>
                      <a:pt x="2112550" y="281515"/>
                    </a:lnTo>
                    <a:cubicBezTo>
                      <a:pt x="2510914" y="281935"/>
                      <a:pt x="2833745" y="604767"/>
                      <a:pt x="2834164" y="1003129"/>
                    </a:cubicBezTo>
                    <a:lnTo>
                      <a:pt x="2834164" y="1341743"/>
                    </a:lnTo>
                    <a:cubicBezTo>
                      <a:pt x="2800569" y="1325645"/>
                      <a:pt x="2763784" y="1317311"/>
                      <a:pt x="2726531" y="1317359"/>
                    </a:cubicBezTo>
                    <a:lnTo>
                      <a:pt x="2633567" y="1317359"/>
                    </a:lnTo>
                    <a:lnTo>
                      <a:pt x="2633567" y="936359"/>
                    </a:lnTo>
                    <a:cubicBezTo>
                      <a:pt x="2633567" y="904793"/>
                      <a:pt x="2607983" y="879209"/>
                      <a:pt x="2576417" y="879209"/>
                    </a:cubicBezTo>
                    <a:lnTo>
                      <a:pt x="925639" y="879209"/>
                    </a:lnTo>
                    <a:cubicBezTo>
                      <a:pt x="715242" y="878942"/>
                      <a:pt x="544754" y="708416"/>
                      <a:pt x="544544" y="498018"/>
                    </a:cubicBezTo>
                    <a:close/>
                    <a:moveTo>
                      <a:pt x="851916" y="1699311"/>
                    </a:moveTo>
                    <a:lnTo>
                      <a:pt x="851916" y="1355744"/>
                    </a:lnTo>
                    <a:lnTo>
                      <a:pt x="1473041" y="1355744"/>
                    </a:lnTo>
                    <a:cubicBezTo>
                      <a:pt x="1498292" y="1355744"/>
                      <a:pt x="1518761" y="1376214"/>
                      <a:pt x="1518761" y="1401464"/>
                    </a:cubicBezTo>
                    <a:lnTo>
                      <a:pt x="1518761" y="1677689"/>
                    </a:lnTo>
                    <a:cubicBezTo>
                      <a:pt x="1518761" y="1702940"/>
                      <a:pt x="1498292" y="1723409"/>
                      <a:pt x="1473041" y="1723409"/>
                    </a:cubicBezTo>
                    <a:lnTo>
                      <a:pt x="872014" y="1723409"/>
                    </a:lnTo>
                    <a:cubicBezTo>
                      <a:pt x="866280" y="1717980"/>
                      <a:pt x="859507" y="1713770"/>
                      <a:pt x="852107" y="1711027"/>
                    </a:cubicBezTo>
                    <a:cubicBezTo>
                      <a:pt x="852011" y="1707026"/>
                      <a:pt x="851916" y="1703312"/>
                      <a:pt x="851916" y="1699502"/>
                    </a:cubicBezTo>
                    <a:close/>
                    <a:moveTo>
                      <a:pt x="1190435" y="2270811"/>
                    </a:moveTo>
                    <a:cubicBezTo>
                      <a:pt x="1022471" y="2182076"/>
                      <a:pt x="903313" y="2022523"/>
                      <a:pt x="865918" y="1836281"/>
                    </a:cubicBezTo>
                    <a:lnTo>
                      <a:pt x="1473041" y="1836281"/>
                    </a:lnTo>
                    <a:cubicBezTo>
                      <a:pt x="1560957" y="1836176"/>
                      <a:pt x="1632194" y="1764938"/>
                      <a:pt x="1632299" y="1677023"/>
                    </a:cubicBezTo>
                    <a:lnTo>
                      <a:pt x="1632299" y="1601775"/>
                    </a:lnTo>
                    <a:lnTo>
                      <a:pt x="1739551" y="1601775"/>
                    </a:lnTo>
                    <a:lnTo>
                      <a:pt x="1739551" y="1677023"/>
                    </a:lnTo>
                    <a:cubicBezTo>
                      <a:pt x="1739656" y="1764938"/>
                      <a:pt x="1810893" y="1836176"/>
                      <a:pt x="1898809" y="1836281"/>
                    </a:cubicBezTo>
                    <a:lnTo>
                      <a:pt x="2505837" y="1836281"/>
                    </a:lnTo>
                    <a:cubicBezTo>
                      <a:pt x="2467747" y="2024676"/>
                      <a:pt x="2346255" y="2185610"/>
                      <a:pt x="2175510" y="2273859"/>
                    </a:cubicBezTo>
                    <a:cubicBezTo>
                      <a:pt x="2031873" y="2348440"/>
                      <a:pt x="1866900" y="2385302"/>
                      <a:pt x="1685925" y="2385302"/>
                    </a:cubicBezTo>
                    <a:cubicBezTo>
                      <a:pt x="1502283" y="2385302"/>
                      <a:pt x="1335500" y="2346916"/>
                      <a:pt x="1190625" y="2271192"/>
                    </a:cubicBezTo>
                    <a:close/>
                    <a:moveTo>
                      <a:pt x="1516380" y="2487886"/>
                    </a:moveTo>
                    <a:cubicBezTo>
                      <a:pt x="1628966" y="2502107"/>
                      <a:pt x="1742885" y="2502107"/>
                      <a:pt x="1855470" y="2487886"/>
                    </a:cubicBezTo>
                    <a:cubicBezTo>
                      <a:pt x="1869519" y="2580812"/>
                      <a:pt x="1914649" y="2666223"/>
                      <a:pt x="1983486" y="2730202"/>
                    </a:cubicBezTo>
                    <a:lnTo>
                      <a:pt x="1685925" y="2852693"/>
                    </a:lnTo>
                    <a:lnTo>
                      <a:pt x="1388364" y="2730583"/>
                    </a:lnTo>
                    <a:cubicBezTo>
                      <a:pt x="1457239" y="2666632"/>
                      <a:pt x="1502369" y="2581202"/>
                      <a:pt x="1516380" y="2488267"/>
                    </a:cubicBezTo>
                    <a:close/>
                    <a:moveTo>
                      <a:pt x="1257300" y="2813165"/>
                    </a:moveTo>
                    <a:lnTo>
                      <a:pt x="1273016" y="2806592"/>
                    </a:lnTo>
                    <a:cubicBezTo>
                      <a:pt x="1274264" y="2806792"/>
                      <a:pt x="1275474" y="2807145"/>
                      <a:pt x="1276636" y="2807640"/>
                    </a:cubicBezTo>
                    <a:lnTo>
                      <a:pt x="1568672" y="2927560"/>
                    </a:lnTo>
                    <a:lnTo>
                      <a:pt x="1299401" y="3119108"/>
                    </a:lnTo>
                    <a:cubicBezTo>
                      <a:pt x="1294733" y="3122660"/>
                      <a:pt x="1288428" y="3123223"/>
                      <a:pt x="1283208" y="3120536"/>
                    </a:cubicBezTo>
                    <a:cubicBezTo>
                      <a:pt x="1282732" y="3120308"/>
                      <a:pt x="1282284" y="3120022"/>
                      <a:pt x="1281875" y="3119679"/>
                    </a:cubicBezTo>
                    <a:cubicBezTo>
                      <a:pt x="1278446" y="3106154"/>
                      <a:pt x="1275207" y="3092914"/>
                      <a:pt x="1272350" y="3079865"/>
                    </a:cubicBezTo>
                    <a:lnTo>
                      <a:pt x="1254633" y="2823642"/>
                    </a:lnTo>
                    <a:cubicBezTo>
                      <a:pt x="1254224" y="2819947"/>
                      <a:pt x="1255166" y="2816222"/>
                      <a:pt x="1257300" y="2813165"/>
                    </a:cubicBezTo>
                    <a:close/>
                    <a:moveTo>
                      <a:pt x="1504950" y="4188099"/>
                    </a:moveTo>
                    <a:cubicBezTo>
                      <a:pt x="976122" y="3829768"/>
                      <a:pt x="821246" y="3057862"/>
                      <a:pt x="787813" y="2844407"/>
                    </a:cubicBezTo>
                    <a:cubicBezTo>
                      <a:pt x="806863" y="2842978"/>
                      <a:pt x="825913" y="2842216"/>
                      <a:pt x="844963" y="2842216"/>
                    </a:cubicBezTo>
                    <a:lnTo>
                      <a:pt x="1105472" y="2842216"/>
                    </a:lnTo>
                    <a:lnTo>
                      <a:pt x="1111758" y="2842216"/>
                    </a:lnTo>
                    <a:cubicBezTo>
                      <a:pt x="1118997" y="2897556"/>
                      <a:pt x="1133475" y="2989949"/>
                      <a:pt x="1160431" y="3104725"/>
                    </a:cubicBezTo>
                    <a:lnTo>
                      <a:pt x="1161098" y="3115107"/>
                    </a:lnTo>
                    <a:cubicBezTo>
                      <a:pt x="1162345" y="3133138"/>
                      <a:pt x="1167298" y="3150712"/>
                      <a:pt x="1175671" y="3166733"/>
                    </a:cubicBezTo>
                    <a:cubicBezTo>
                      <a:pt x="1242917" y="3428099"/>
                      <a:pt x="1371410" y="3780143"/>
                      <a:pt x="1612583" y="4079704"/>
                    </a:cubicBezTo>
                    <a:cubicBezTo>
                      <a:pt x="1578559" y="4117632"/>
                      <a:pt x="1542631" y="4153808"/>
                      <a:pt x="1504950" y="4188099"/>
                    </a:cubicBezTo>
                    <a:close/>
                    <a:moveTo>
                      <a:pt x="1680020" y="4174763"/>
                    </a:moveTo>
                    <a:cubicBezTo>
                      <a:pt x="1979486" y="3853390"/>
                      <a:pt x="2129219" y="3443815"/>
                      <a:pt x="2202371" y="3153017"/>
                    </a:cubicBezTo>
                    <a:cubicBezTo>
                      <a:pt x="2206257" y="3142834"/>
                      <a:pt x="2208876" y="3132214"/>
                      <a:pt x="2210181" y="3121394"/>
                    </a:cubicBezTo>
                    <a:cubicBezTo>
                      <a:pt x="2232460" y="3029239"/>
                      <a:pt x="2249948" y="2935989"/>
                      <a:pt x="2262569" y="2842025"/>
                    </a:cubicBezTo>
                    <a:lnTo>
                      <a:pt x="2266474" y="2842025"/>
                    </a:lnTo>
                    <a:lnTo>
                      <a:pt x="2526983" y="2842025"/>
                    </a:lnTo>
                    <a:cubicBezTo>
                      <a:pt x="2546509" y="2842025"/>
                      <a:pt x="2565940" y="2842787"/>
                      <a:pt x="2585085" y="2844311"/>
                    </a:cubicBezTo>
                    <a:cubicBezTo>
                      <a:pt x="2550319" y="3079769"/>
                      <a:pt x="2371725" y="3996265"/>
                      <a:pt x="1679543" y="417476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42" name="Freeform 56">
                <a:extLst>
                  <a:ext uri="{FF2B5EF4-FFF2-40B4-BE49-F238E27FC236}">
                    <a16:creationId xmlns:a16="http://schemas.microsoft.com/office/drawing/2014/main" id="{20684A61-1C02-73E3-88C5-45131ACF7D57}"/>
                  </a:ext>
                </a:extLst>
              </p:cNvPr>
              <p:cNvSpPr/>
              <p:nvPr/>
            </p:nvSpPr>
            <p:spPr>
              <a:xfrm>
                <a:off x="12993333" y="2403286"/>
                <a:ext cx="808816" cy="259594"/>
              </a:xfrm>
              <a:custGeom>
                <a:avLst/>
                <a:gdLst>
                  <a:gd name="connsiteX0" fmla="*/ 783267 w 808816"/>
                  <a:gd name="connsiteY0" fmla="*/ 105833 h 259594"/>
                  <a:gd name="connsiteX1" fmla="*/ 786696 w 808816"/>
                  <a:gd name="connsiteY1" fmla="*/ 102404 h 259594"/>
                  <a:gd name="connsiteX2" fmla="*/ 796821 w 808816"/>
                  <a:gd name="connsiteY2" fmla="*/ 22222 h 259594"/>
                  <a:gd name="connsiteX3" fmla="*/ 716639 w 808816"/>
                  <a:gd name="connsiteY3" fmla="*/ 12087 h 259594"/>
                  <a:gd name="connsiteX4" fmla="*/ 706971 w 808816"/>
                  <a:gd name="connsiteY4" fmla="*/ 21631 h 259594"/>
                  <a:gd name="connsiteX5" fmla="*/ 703638 w 808816"/>
                  <a:gd name="connsiteY5" fmla="*/ 24870 h 259594"/>
                  <a:gd name="connsiteX6" fmla="*/ 105277 w 808816"/>
                  <a:gd name="connsiteY6" fmla="*/ 24870 h 259594"/>
                  <a:gd name="connsiteX7" fmla="*/ 101848 w 808816"/>
                  <a:gd name="connsiteY7" fmla="*/ 21536 h 259594"/>
                  <a:gd name="connsiteX8" fmla="*/ 21533 w 808816"/>
                  <a:gd name="connsiteY8" fmla="*/ 12459 h 259594"/>
                  <a:gd name="connsiteX9" fmla="*/ 12456 w 808816"/>
                  <a:gd name="connsiteY9" fmla="*/ 92764 h 259594"/>
                  <a:gd name="connsiteX10" fmla="*/ 22124 w 808816"/>
                  <a:gd name="connsiteY10" fmla="*/ 102308 h 259594"/>
                  <a:gd name="connsiteX11" fmla="*/ 25648 w 808816"/>
                  <a:gd name="connsiteY11" fmla="*/ 105833 h 259594"/>
                  <a:gd name="connsiteX12" fmla="*/ 783267 w 808816"/>
                  <a:gd name="connsiteY12" fmla="*/ 105833 h 2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8816" h="259594">
                    <a:moveTo>
                      <a:pt x="783267" y="105833"/>
                    </a:moveTo>
                    <a:lnTo>
                      <a:pt x="786696" y="102404"/>
                    </a:lnTo>
                    <a:cubicBezTo>
                      <a:pt x="811632" y="83058"/>
                      <a:pt x="816166" y="47159"/>
                      <a:pt x="796821" y="22222"/>
                    </a:cubicBezTo>
                    <a:cubicBezTo>
                      <a:pt x="777476" y="-2724"/>
                      <a:pt x="741576" y="-7258"/>
                      <a:pt x="716639" y="12087"/>
                    </a:cubicBezTo>
                    <a:cubicBezTo>
                      <a:pt x="713048" y="14878"/>
                      <a:pt x="709800" y="18079"/>
                      <a:pt x="706971" y="21631"/>
                    </a:cubicBezTo>
                    <a:lnTo>
                      <a:pt x="703638" y="24870"/>
                    </a:lnTo>
                    <a:cubicBezTo>
                      <a:pt x="537036" y="186766"/>
                      <a:pt x="271879" y="186766"/>
                      <a:pt x="105277" y="24870"/>
                    </a:cubicBezTo>
                    <a:lnTo>
                      <a:pt x="101848" y="21536"/>
                    </a:lnTo>
                    <a:cubicBezTo>
                      <a:pt x="82179" y="-3152"/>
                      <a:pt x="46222" y="-7210"/>
                      <a:pt x="21533" y="12459"/>
                    </a:cubicBezTo>
                    <a:cubicBezTo>
                      <a:pt x="-3146" y="32128"/>
                      <a:pt x="-7213" y="68085"/>
                      <a:pt x="12456" y="92764"/>
                    </a:cubicBezTo>
                    <a:cubicBezTo>
                      <a:pt x="15294" y="96317"/>
                      <a:pt x="18533" y="99527"/>
                      <a:pt x="22124" y="102308"/>
                    </a:cubicBezTo>
                    <a:lnTo>
                      <a:pt x="25648" y="105833"/>
                    </a:lnTo>
                    <a:cubicBezTo>
                      <a:pt x="236579" y="310849"/>
                      <a:pt x="572335" y="310849"/>
                      <a:pt x="783267" y="10583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43" name="Freeform 57">
                <a:extLst>
                  <a:ext uri="{FF2B5EF4-FFF2-40B4-BE49-F238E27FC236}">
                    <a16:creationId xmlns:a16="http://schemas.microsoft.com/office/drawing/2014/main" id="{FD2C1E3F-49EA-676D-3D35-20BA58529F7F}"/>
                  </a:ext>
                </a:extLst>
              </p:cNvPr>
              <p:cNvSpPr/>
              <p:nvPr/>
            </p:nvSpPr>
            <p:spPr>
              <a:xfrm>
                <a:off x="12914921" y="1929142"/>
                <a:ext cx="131695" cy="136302"/>
              </a:xfrm>
              <a:custGeom>
                <a:avLst/>
                <a:gdLst>
                  <a:gd name="connsiteX0" fmla="*/ 65865 w 131695"/>
                  <a:gd name="connsiteY0" fmla="*/ 136303 h 136302"/>
                  <a:gd name="connsiteX1" fmla="*/ 65865 w 131695"/>
                  <a:gd name="connsiteY1" fmla="*/ 0 h 136302"/>
                  <a:gd name="connsiteX2" fmla="*/ 65865 w 131695"/>
                  <a:gd name="connsiteY2" fmla="*/ 136303 h 136302"/>
                </a:gdLst>
                <a:ahLst/>
                <a:cxnLst>
                  <a:cxn ang="0">
                    <a:pos x="connsiteX0" y="connsiteY0"/>
                  </a:cxn>
                  <a:cxn ang="0">
                    <a:pos x="connsiteX1" y="connsiteY1"/>
                  </a:cxn>
                  <a:cxn ang="0">
                    <a:pos x="connsiteX2" y="connsiteY2"/>
                  </a:cxn>
                </a:cxnLst>
                <a:rect l="l" t="t" r="r" b="b"/>
                <a:pathLst>
                  <a:path w="131695" h="136302">
                    <a:moveTo>
                      <a:pt x="65865" y="136303"/>
                    </a:moveTo>
                    <a:cubicBezTo>
                      <a:pt x="153591" y="136303"/>
                      <a:pt x="153686" y="0"/>
                      <a:pt x="65865" y="0"/>
                    </a:cubicBezTo>
                    <a:cubicBezTo>
                      <a:pt x="-21955" y="0"/>
                      <a:pt x="-21955" y="136303"/>
                      <a:pt x="65865"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44" name="Freeform 58">
                <a:extLst>
                  <a:ext uri="{FF2B5EF4-FFF2-40B4-BE49-F238E27FC236}">
                    <a16:creationId xmlns:a16="http://schemas.microsoft.com/office/drawing/2014/main" id="{607B91AC-2EF2-0503-442C-42FDB2224C2B}"/>
                  </a:ext>
                </a:extLst>
              </p:cNvPr>
              <p:cNvSpPr/>
              <p:nvPr/>
            </p:nvSpPr>
            <p:spPr>
              <a:xfrm>
                <a:off x="13748799" y="1929142"/>
                <a:ext cx="131730" cy="136302"/>
              </a:xfrm>
              <a:custGeom>
                <a:avLst/>
                <a:gdLst>
                  <a:gd name="connsiteX0" fmla="*/ 65901 w 131730"/>
                  <a:gd name="connsiteY0" fmla="*/ 136303 h 136302"/>
                  <a:gd name="connsiteX1" fmla="*/ 65901 w 131730"/>
                  <a:gd name="connsiteY1" fmla="*/ 0 h 136302"/>
                  <a:gd name="connsiteX2" fmla="*/ 65901 w 131730"/>
                  <a:gd name="connsiteY2" fmla="*/ 136303 h 136302"/>
                </a:gdLst>
                <a:ahLst/>
                <a:cxnLst>
                  <a:cxn ang="0">
                    <a:pos x="connsiteX0" y="connsiteY0"/>
                  </a:cxn>
                  <a:cxn ang="0">
                    <a:pos x="connsiteX1" y="connsiteY1"/>
                  </a:cxn>
                  <a:cxn ang="0">
                    <a:pos x="connsiteX2" y="connsiteY2"/>
                  </a:cxn>
                </a:cxnLst>
                <a:rect l="l" t="t" r="r" b="b"/>
                <a:pathLst>
                  <a:path w="131730" h="136302">
                    <a:moveTo>
                      <a:pt x="65901" y="136303"/>
                    </a:moveTo>
                    <a:cubicBezTo>
                      <a:pt x="153626" y="136303"/>
                      <a:pt x="153721" y="0"/>
                      <a:pt x="65901" y="0"/>
                    </a:cubicBezTo>
                    <a:cubicBezTo>
                      <a:pt x="-21919" y="0"/>
                      <a:pt x="-22015" y="136303"/>
                      <a:pt x="65901"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sp>
        <p:nvSpPr>
          <p:cNvPr id="45" name="TextBox 44">
            <a:extLst>
              <a:ext uri="{FF2B5EF4-FFF2-40B4-BE49-F238E27FC236}">
                <a16:creationId xmlns:a16="http://schemas.microsoft.com/office/drawing/2014/main" id="{D8A1A3ED-962E-1ED7-2E58-F460567B05A3}"/>
              </a:ext>
            </a:extLst>
          </p:cNvPr>
          <p:cNvSpPr txBox="1"/>
          <p:nvPr/>
        </p:nvSpPr>
        <p:spPr>
          <a:xfrm>
            <a:off x="8338435" y="3128394"/>
            <a:ext cx="2937350" cy="646331"/>
          </a:xfrm>
          <a:prstGeom prst="rect">
            <a:avLst/>
          </a:prstGeom>
          <a:noFill/>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prstClr val="black">
                    <a:lumMod val="75000"/>
                    <a:lumOff val="25000"/>
                  </a:prstClr>
                </a:solidFill>
                <a:effectLst/>
                <a:uLnTx/>
                <a:uFillTx/>
                <a:latin typeface="Segoe UI Semibold" panose="020B0502040204020203" pitchFamily="34" charset="0"/>
                <a:cs typeface="Segoe UI Semibold"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mn-lt"/>
                <a:ea typeface="+mn-ea"/>
                <a:cs typeface="Segoe UI Semibold" panose="020B0502040204020203" pitchFamily="34" charset="0"/>
              </a:rPr>
              <a:t>Operational excellence for mission critical applicatio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black">
                  <a:lumMod val="75000"/>
                  <a:lumOff val="25000"/>
                </a:prstClr>
              </a:solidFill>
              <a:effectLst/>
              <a:uLnTx/>
              <a:uFillTx/>
              <a:latin typeface="+mn-lt"/>
              <a:ea typeface="+mn-ea"/>
              <a:cs typeface="Segoe UI Semibold" panose="020B0502040204020203" pitchFamily="34" charset="0"/>
            </a:endParaRPr>
          </a:p>
        </p:txBody>
      </p:sp>
      <p:graphicFrame>
        <p:nvGraphicFramePr>
          <p:cNvPr id="46" name="Table 45">
            <a:extLst>
              <a:ext uri="{FF2B5EF4-FFF2-40B4-BE49-F238E27FC236}">
                <a16:creationId xmlns:a16="http://schemas.microsoft.com/office/drawing/2014/main" id="{BF648C8F-770C-70B6-B060-670BE6497D85}"/>
              </a:ext>
            </a:extLst>
          </p:cNvPr>
          <p:cNvGraphicFramePr>
            <a:graphicFrameLocks noGrp="1"/>
          </p:cNvGraphicFramePr>
          <p:nvPr>
            <p:extLst>
              <p:ext uri="{D42A27DB-BD31-4B8C-83A1-F6EECF244321}">
                <p14:modId xmlns:p14="http://schemas.microsoft.com/office/powerpoint/2010/main" val="4141593598"/>
              </p:ext>
            </p:extLst>
          </p:nvPr>
        </p:nvGraphicFramePr>
        <p:xfrm>
          <a:off x="8424037" y="3528719"/>
          <a:ext cx="2756263" cy="1371600"/>
        </p:xfrm>
        <a:graphic>
          <a:graphicData uri="http://schemas.openxmlformats.org/drawingml/2006/table">
            <a:tbl>
              <a:tblPr firstRow="1" bandRow="1">
                <a:tableStyleId>{5C22544A-7EE6-4342-B048-85BDC9FD1C3A}</a:tableStyleId>
              </a:tblPr>
              <a:tblGrid>
                <a:gridCol w="2756263">
                  <a:extLst>
                    <a:ext uri="{9D8B030D-6E8A-4147-A177-3AD203B41FA5}">
                      <a16:colId xmlns:a16="http://schemas.microsoft.com/office/drawing/2014/main" val="97731813"/>
                    </a:ext>
                  </a:extLst>
                </a:gridCol>
              </a:tblGrid>
              <a:tr h="370840">
                <a:tc>
                  <a:txBody>
                    <a:bodyPr/>
                    <a:lstStyle/>
                    <a:p>
                      <a:pPr lvl="0" algn="ctr">
                        <a:buNone/>
                      </a:pPr>
                      <a:r>
                        <a:rPr lang="en-US" sz="1200" b="0" i="0" u="none" strike="noStrike" noProof="0">
                          <a:solidFill>
                            <a:schemeClr val="tx1">
                              <a:lumMod val="75000"/>
                              <a:lumOff val="25000"/>
                            </a:schemeClr>
                          </a:solidFill>
                          <a:latin typeface="Segoe UI"/>
                        </a:rPr>
                        <a:t>App lifecycle management</a:t>
                      </a:r>
                      <a:endParaRPr lang="en-US" sz="1200"/>
                    </a:p>
                  </a:txBody>
                  <a:tcPr marT="137160" marB="137160" anchor="ctr">
                    <a:lnL w="12700" cmpd="sng">
                      <a:noFill/>
                    </a:lnL>
                    <a:lnR w="12700" cmpd="sng">
                      <a:noFill/>
                    </a:lnR>
                    <a:lnT w="12700" cmpd="sng">
                      <a:noFill/>
                    </a:lnT>
                    <a:lnB w="19050" cap="flat" cmpd="sng" algn="ctr">
                      <a:solidFill>
                        <a:srgbClr val="347B9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7473342"/>
                  </a:ext>
                </a:extLst>
              </a:tr>
              <a:tr h="370840">
                <a:tc>
                  <a:txBody>
                    <a:bodyPr/>
                    <a:lstStyle/>
                    <a:p>
                      <a:pPr lvl="0" algn="ctr">
                        <a:buNone/>
                      </a:pPr>
                      <a:r>
                        <a:rPr lang="en-US" sz="1200" b="0" i="0" u="none" strike="noStrike" noProof="0">
                          <a:solidFill>
                            <a:schemeClr val="tx1">
                              <a:lumMod val="75000"/>
                              <a:lumOff val="25000"/>
                            </a:schemeClr>
                          </a:solidFill>
                          <a:latin typeface="Segoe UI"/>
                        </a:rPr>
                        <a:t>Observability </a:t>
                      </a:r>
                    </a:p>
                  </a:txBody>
                  <a:tcPr marT="137160" marB="137160" anchor="ctr">
                    <a:lnL w="12700" cmpd="sng">
                      <a:noFill/>
                    </a:lnL>
                    <a:lnR w="12700" cmpd="sng">
                      <a:noFill/>
                    </a:lnR>
                    <a:lnT w="19050" cap="flat" cmpd="sng" algn="ctr">
                      <a:solidFill>
                        <a:srgbClr val="347B9B"/>
                      </a:solidFill>
                      <a:prstDash val="solid"/>
                      <a:round/>
                      <a:headEnd type="none" w="med" len="med"/>
                      <a:tailEnd type="none" w="med" len="med"/>
                    </a:lnT>
                    <a:lnB w="19050" cap="flat" cmpd="sng" algn="ctr">
                      <a:solidFill>
                        <a:srgbClr val="347B9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9993044"/>
                  </a:ext>
                </a:extLst>
              </a:tr>
              <a:tr h="370840">
                <a:tc>
                  <a:txBody>
                    <a:bodyPr/>
                    <a:lstStyle/>
                    <a:p>
                      <a:pPr lvl="0" algn="ctr">
                        <a:buNone/>
                      </a:pPr>
                      <a:r>
                        <a:rPr lang="en-US" sz="1200" b="0" i="0" u="none" strike="noStrike" kern="1200">
                          <a:solidFill>
                            <a:schemeClr val="tx1">
                              <a:lumMod val="75000"/>
                              <a:lumOff val="25000"/>
                            </a:schemeClr>
                          </a:solidFill>
                          <a:latin typeface="Segoe UI"/>
                          <a:ea typeface="+mn-ea"/>
                          <a:cs typeface="+mn-cs"/>
                        </a:rPr>
                        <a:t>Data Resilience</a:t>
                      </a:r>
                    </a:p>
                  </a:txBody>
                  <a:tcPr marT="137160" marB="137160" anchor="ctr">
                    <a:lnL w="12700" cmpd="sng">
                      <a:noFill/>
                    </a:lnL>
                    <a:lnR w="12700" cmpd="sng">
                      <a:noFill/>
                    </a:lnR>
                    <a:lnT w="19050" cap="flat" cmpd="sng" algn="ctr">
                      <a:solidFill>
                        <a:srgbClr val="347B9B"/>
                      </a:solidFill>
                      <a:prstDash val="solid"/>
                      <a:round/>
                      <a:headEnd type="none" w="med" len="med"/>
                      <a:tailEnd type="none" w="med" len="med"/>
                    </a:lnT>
                    <a:lnB w="19050" cap="flat" cmpd="sng" algn="ctr">
                      <a:solidFill>
                        <a:srgbClr val="347B9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1206453"/>
                  </a:ext>
                </a:extLst>
              </a:tr>
            </a:tbl>
          </a:graphicData>
        </a:graphic>
      </p:graphicFrame>
      <p:sp>
        <p:nvSpPr>
          <p:cNvPr id="47" name="TextBox 46">
            <a:extLst>
              <a:ext uri="{FF2B5EF4-FFF2-40B4-BE49-F238E27FC236}">
                <a16:creationId xmlns:a16="http://schemas.microsoft.com/office/drawing/2014/main" id="{CDB08212-8FE4-29DC-70DA-F95746396AD4}"/>
              </a:ext>
            </a:extLst>
          </p:cNvPr>
          <p:cNvSpPr txBox="1"/>
          <p:nvPr/>
        </p:nvSpPr>
        <p:spPr>
          <a:xfrm>
            <a:off x="8960958" y="2547036"/>
            <a:ext cx="1616084"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ea typeface="+mn-ea"/>
                <a:cs typeface="Segoe UI" panose="020B0502040204020203" pitchFamily="34" charset="0"/>
              </a:rPr>
              <a:t>MANAGED</a:t>
            </a:r>
            <a:br>
              <a:rPr kumimoji="0" lang="en-US" sz="1800" b="1" i="0" u="none" strike="noStrike" kern="1200" cap="none" spc="0" normalizeH="0" baseline="0" noProof="0">
                <a:ln>
                  <a:noFill/>
                </a:ln>
                <a:solidFill>
                  <a:prstClr val="black">
                    <a:lumMod val="75000"/>
                    <a:lumOff val="25000"/>
                  </a:prstClr>
                </a:solidFill>
                <a:effectLst/>
                <a:uLnTx/>
                <a:uFillTx/>
                <a:ea typeface="+mn-ea"/>
                <a:cs typeface="Segoe UI" panose="020B0502040204020203" pitchFamily="34" charset="0"/>
              </a:rPr>
            </a:br>
            <a:r>
              <a:rPr kumimoji="0" lang="en-US" sz="1800" b="1" i="0" u="none" strike="noStrike" kern="1200" cap="none" spc="0" normalizeH="0" baseline="0" noProof="0">
                <a:ln>
                  <a:noFill/>
                </a:ln>
                <a:solidFill>
                  <a:prstClr val="black">
                    <a:lumMod val="75000"/>
                    <a:lumOff val="25000"/>
                  </a:prstClr>
                </a:solidFill>
                <a:effectLst/>
                <a:uLnTx/>
                <a:uFillTx/>
                <a:ea typeface="+mn-ea"/>
                <a:cs typeface="Segoe UI" panose="020B0502040204020203" pitchFamily="34" charset="0"/>
              </a:rPr>
              <a:t>OPERATIONS</a:t>
            </a:r>
          </a:p>
        </p:txBody>
      </p:sp>
      <p:sp>
        <p:nvSpPr>
          <p:cNvPr id="48" name="TextBox 47">
            <a:extLst>
              <a:ext uri="{FF2B5EF4-FFF2-40B4-BE49-F238E27FC236}">
                <a16:creationId xmlns:a16="http://schemas.microsoft.com/office/drawing/2014/main" id="{C17036C0-0D44-9B65-AFE1-4FCC6F72E6ED}"/>
              </a:ext>
            </a:extLst>
          </p:cNvPr>
          <p:cNvSpPr txBox="1"/>
          <p:nvPr/>
        </p:nvSpPr>
        <p:spPr>
          <a:xfrm>
            <a:off x="9017336" y="2399459"/>
            <a:ext cx="150332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E2841"/>
                </a:solidFill>
                <a:effectLst/>
                <a:uLnTx/>
                <a:uFillTx/>
                <a:ea typeface="+mn-ea"/>
                <a:cs typeface="Segoe UI Semibold" panose="020B0502040204020203" pitchFamily="34" charset="0"/>
              </a:rPr>
              <a:t>Operate</a:t>
            </a:r>
          </a:p>
        </p:txBody>
      </p:sp>
      <p:sp>
        <p:nvSpPr>
          <p:cNvPr id="51" name="Title 8">
            <a:extLst>
              <a:ext uri="{FF2B5EF4-FFF2-40B4-BE49-F238E27FC236}">
                <a16:creationId xmlns:a16="http://schemas.microsoft.com/office/drawing/2014/main" id="{93FB7260-1E01-3276-5358-F334166F373B}"/>
              </a:ext>
              <a:ext uri="{C183D7F6-B498-43B3-948B-1728B52AA6E4}">
                <adec:decorative xmlns:adec="http://schemas.microsoft.com/office/drawing/2017/decorative" val="1"/>
              </a:ext>
            </a:extLst>
          </p:cNvPr>
          <p:cNvSpPr txBox="1">
            <a:spLocks/>
          </p:cNvSpPr>
          <p:nvPr/>
        </p:nvSpPr>
        <p:spPr bwMode="auto">
          <a:xfrm>
            <a:off x="461246" y="6094787"/>
            <a:ext cx="11167009" cy="423327"/>
          </a:xfrm>
          <a:prstGeom prst="round2SameRect">
            <a:avLst>
              <a:gd name="adj1" fmla="val 0"/>
              <a:gd name="adj2" fmla="val 18201"/>
            </a:avLst>
          </a:prstGeom>
          <a:gradFill flip="none" rotWithShape="1">
            <a:gsLst>
              <a:gs pos="0">
                <a:srgbClr val="FF5C39"/>
              </a:gs>
              <a:gs pos="32000">
                <a:srgbClr val="C03BC4"/>
              </a:gs>
              <a:gs pos="68000">
                <a:srgbClr val="0078D4"/>
              </a:gs>
              <a:gs pos="100000">
                <a:srgbClr val="399A91"/>
              </a:gs>
            </a:gsLst>
            <a:path path="circle">
              <a:fillToRect l="100000" t="100000"/>
            </a:path>
            <a:tileRect r="-100000" b="-100000"/>
          </a:gradFill>
          <a:ln w="19050" cap="rnd" cmpd="sng" algn="ctr">
            <a:noFill/>
            <a:prstDash val="solid"/>
            <a:miter lim="800000"/>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ctr" defTabSz="914400" rtl="0" eaLnBrk="1" latinLnBrk="0" hangingPunct="1">
              <a:lnSpc>
                <a:spcPct val="90000"/>
              </a:lnSpc>
              <a:spcBef>
                <a:spcPct val="0"/>
              </a:spcBef>
              <a:buNone/>
              <a:defRPr sz="42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defTabSz="932486" rtl="0" eaLnBrk="1" fontAlgn="base" latinLnBrk="0" hangingPunct="1">
              <a:lnSpc>
                <a:spcPct val="100000"/>
              </a:lnSpc>
              <a:spcBef>
                <a:spcPts val="600"/>
              </a:spcBef>
              <a:spcAft>
                <a:spcPct val="0"/>
              </a:spcAft>
              <a:buClrTx/>
              <a:buSzTx/>
              <a:buFontTx/>
              <a:buNone/>
              <a:tabLst>
                <a:tab pos="1487158" algn="l"/>
              </a:tabLst>
              <a:defRPr/>
            </a:pPr>
            <a:r>
              <a:rPr kumimoji="0" lang="en-US" sz="2000" b="1" i="0" u="none" strike="noStrike" kern="1200" cap="none" spc="0" normalizeH="0" baseline="0" noProof="0">
                <a:ln>
                  <a:noFill/>
                </a:ln>
                <a:solidFill>
                  <a:srgbClr val="FFFFFF"/>
                </a:solidFill>
                <a:effectLst/>
                <a:uLnTx/>
                <a:uFillTx/>
                <a:latin typeface="Segoe UI Semibold"/>
                <a:ea typeface="+mn-ea"/>
                <a:cs typeface="+mn-cs"/>
              </a:rPr>
              <a:t>DSPM for AI: Oversharing </a:t>
            </a:r>
            <a:r>
              <a:rPr lang="en-US" sz="2000" b="1">
                <a:solidFill>
                  <a:srgbClr val="FFFFFF"/>
                </a:solidFill>
                <a:latin typeface="Segoe UI Semibold"/>
              </a:rPr>
              <a:t>Risk </a:t>
            </a:r>
            <a:r>
              <a:rPr kumimoji="0" lang="en-US" sz="2000" b="1" i="0" u="none" strike="noStrike" kern="1200" cap="none" spc="0" normalizeH="0" baseline="0" noProof="0">
                <a:ln>
                  <a:noFill/>
                </a:ln>
                <a:solidFill>
                  <a:srgbClr val="FFFFFF"/>
                </a:solidFill>
                <a:effectLst/>
                <a:uLnTx/>
                <a:uFillTx/>
                <a:latin typeface="Segoe UI Semibold"/>
                <a:ea typeface="+mn-ea"/>
                <a:cs typeface="+mn-cs"/>
              </a:rPr>
              <a:t>Assessment</a:t>
            </a:r>
          </a:p>
        </p:txBody>
      </p:sp>
    </p:spTree>
    <p:extLst>
      <p:ext uri="{BB962C8B-B14F-4D97-AF65-F5344CB8AC3E}">
        <p14:creationId xmlns:p14="http://schemas.microsoft.com/office/powerpoint/2010/main" val="268564105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A9DC08-91C0-A9B3-AF5D-7DDD8CDC94FF}"/>
              </a:ext>
            </a:extLst>
          </p:cNvPr>
          <p:cNvSpPr>
            <a:spLocks noGrp="1"/>
          </p:cNvSpPr>
          <p:nvPr>
            <p:ph type="title"/>
          </p:nvPr>
        </p:nvSpPr>
        <p:spPr/>
        <p:txBody>
          <a:bodyPr>
            <a:noAutofit/>
          </a:bodyPr>
          <a:lstStyle/>
          <a:p>
            <a:r>
              <a:rPr lang="en-US" sz="3600"/>
              <a:t>Ten Steps for Getting Tenant Data Governance Right with Microsoft 365 Copilot</a:t>
            </a:r>
          </a:p>
        </p:txBody>
      </p:sp>
      <p:sp>
        <p:nvSpPr>
          <p:cNvPr id="4" name="Rounded Rectangle 3">
            <a:extLst>
              <a:ext uri="{FF2B5EF4-FFF2-40B4-BE49-F238E27FC236}">
                <a16:creationId xmlns:a16="http://schemas.microsoft.com/office/drawing/2014/main" id="{B87006F9-A1EF-50A7-E0C6-8681C08D8B06}"/>
              </a:ext>
              <a:ext uri="{C183D7F6-B498-43B3-948B-1728B52AA6E4}">
                <adec:decorative xmlns:adec="http://schemas.microsoft.com/office/drawing/2017/decorative" val="1"/>
              </a:ext>
            </a:extLst>
          </p:cNvPr>
          <p:cNvSpPr/>
          <p:nvPr/>
        </p:nvSpPr>
        <p:spPr>
          <a:xfrm>
            <a:off x="996043" y="1500477"/>
            <a:ext cx="4816929" cy="780419"/>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sp>
        <p:nvSpPr>
          <p:cNvPr id="5" name="Rounded Rectangle 5">
            <a:extLst>
              <a:ext uri="{FF2B5EF4-FFF2-40B4-BE49-F238E27FC236}">
                <a16:creationId xmlns:a16="http://schemas.microsoft.com/office/drawing/2014/main" id="{F1713D54-3C93-187A-FF8A-D587974AD07F}"/>
              </a:ext>
              <a:ext uri="{C183D7F6-B498-43B3-948B-1728B52AA6E4}">
                <adec:decorative xmlns:adec="http://schemas.microsoft.com/office/drawing/2017/decorative" val="1"/>
              </a:ext>
            </a:extLst>
          </p:cNvPr>
          <p:cNvSpPr/>
          <p:nvPr/>
        </p:nvSpPr>
        <p:spPr>
          <a:xfrm>
            <a:off x="996043" y="2429755"/>
            <a:ext cx="4816929" cy="77783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sp>
        <p:nvSpPr>
          <p:cNvPr id="6" name="Rounded Rectangle 8">
            <a:extLst>
              <a:ext uri="{FF2B5EF4-FFF2-40B4-BE49-F238E27FC236}">
                <a16:creationId xmlns:a16="http://schemas.microsoft.com/office/drawing/2014/main" id="{27FE8320-25F6-B8BD-9D19-2B4F91DBB413}"/>
              </a:ext>
              <a:ext uri="{C183D7F6-B498-43B3-948B-1728B52AA6E4}">
                <adec:decorative xmlns:adec="http://schemas.microsoft.com/office/drawing/2017/decorative" val="1"/>
              </a:ext>
            </a:extLst>
          </p:cNvPr>
          <p:cNvSpPr/>
          <p:nvPr/>
        </p:nvSpPr>
        <p:spPr>
          <a:xfrm>
            <a:off x="6584539" y="1503065"/>
            <a:ext cx="4865554" cy="77783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sp>
        <p:nvSpPr>
          <p:cNvPr id="7" name="Oval 6">
            <a:extLst>
              <a:ext uri="{FF2B5EF4-FFF2-40B4-BE49-F238E27FC236}">
                <a16:creationId xmlns:a16="http://schemas.microsoft.com/office/drawing/2014/main" id="{02D3627A-B6F8-25CE-B2DF-E4263D48C607}"/>
              </a:ext>
              <a:ext uri="{C183D7F6-B498-43B3-948B-1728B52AA6E4}">
                <adec:decorative xmlns:adec="http://schemas.microsoft.com/office/drawing/2017/decorative" val="1"/>
              </a:ext>
            </a:extLst>
          </p:cNvPr>
          <p:cNvSpPr/>
          <p:nvPr/>
        </p:nvSpPr>
        <p:spPr>
          <a:xfrm>
            <a:off x="749029" y="1656371"/>
            <a:ext cx="494028" cy="494028"/>
          </a:xfrm>
          <a:prstGeom prst="ellipse">
            <a:avLst/>
          </a:prstGeom>
          <a:solidFill>
            <a:srgbClr val="221B59"/>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sp>
        <p:nvSpPr>
          <p:cNvPr id="8" name="TextBox 7">
            <a:extLst>
              <a:ext uri="{FF2B5EF4-FFF2-40B4-BE49-F238E27FC236}">
                <a16:creationId xmlns:a16="http://schemas.microsoft.com/office/drawing/2014/main" id="{462C46A9-8393-D483-BBD5-37A8FB399007}"/>
              </a:ext>
            </a:extLst>
          </p:cNvPr>
          <p:cNvSpPr txBox="1"/>
          <p:nvPr/>
        </p:nvSpPr>
        <p:spPr>
          <a:xfrm>
            <a:off x="815563" y="1672456"/>
            <a:ext cx="329239"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rPr>
              <a:t>1</a:t>
            </a:r>
          </a:p>
        </p:txBody>
      </p:sp>
      <p:sp>
        <p:nvSpPr>
          <p:cNvPr id="9" name="Rounded Rectangle 6">
            <a:extLst>
              <a:ext uri="{FF2B5EF4-FFF2-40B4-BE49-F238E27FC236}">
                <a16:creationId xmlns:a16="http://schemas.microsoft.com/office/drawing/2014/main" id="{323FADA6-0B04-17C0-A683-60BAF51A48D6}"/>
              </a:ext>
              <a:ext uri="{C183D7F6-B498-43B3-948B-1728B52AA6E4}">
                <adec:decorative xmlns:adec="http://schemas.microsoft.com/office/drawing/2017/decorative" val="1"/>
              </a:ext>
            </a:extLst>
          </p:cNvPr>
          <p:cNvSpPr/>
          <p:nvPr/>
        </p:nvSpPr>
        <p:spPr>
          <a:xfrm>
            <a:off x="989823" y="3356446"/>
            <a:ext cx="4816929" cy="77555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sp>
        <p:nvSpPr>
          <p:cNvPr id="10" name="TextBox 9">
            <a:extLst>
              <a:ext uri="{FF2B5EF4-FFF2-40B4-BE49-F238E27FC236}">
                <a16:creationId xmlns:a16="http://schemas.microsoft.com/office/drawing/2014/main" id="{AE575DD8-1FFA-D9E4-807E-B9F380CD9997}"/>
              </a:ext>
            </a:extLst>
          </p:cNvPr>
          <p:cNvSpPr txBox="1"/>
          <p:nvPr/>
        </p:nvSpPr>
        <p:spPr>
          <a:xfrm>
            <a:off x="1293917" y="1626735"/>
            <a:ext cx="3714008" cy="58477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7194D"/>
                </a:solidFill>
                <a:effectLst/>
                <a:uLnTx/>
                <a:uFillTx/>
                <a:latin typeface="Segoe Sans Text" pitchFamily="2" charset="0"/>
                <a:ea typeface="+mn-ea"/>
                <a:cs typeface="Segoe Sans Text" pitchFamily="2" charset="0"/>
              </a:rPr>
              <a:t>Enable Self Service: </a:t>
            </a:r>
            <a:r>
              <a:rPr kumimoji="0" lang="en-US" sz="1600" b="0" i="0" u="none" strike="noStrike" kern="1200" cap="none" spc="0" normalizeH="0" baseline="0" noProof="0">
                <a:ln>
                  <a:noFill/>
                </a:ln>
                <a:solidFill>
                  <a:srgbClr val="17194D"/>
                </a:solidFill>
                <a:effectLst/>
                <a:uLnTx/>
                <a:uFillTx/>
                <a:latin typeface="Segoe Sans Text" pitchFamily="2" charset="0"/>
                <a:ea typeface="+mn-ea"/>
                <a:cs typeface="Segoe Sans Text" pitchFamily="2" charset="0"/>
              </a:rPr>
              <a:t>Self service new workspaces with guardrails</a:t>
            </a:r>
          </a:p>
        </p:txBody>
      </p:sp>
      <p:pic>
        <p:nvPicPr>
          <p:cNvPr id="11" name="Picture 10">
            <a:extLst>
              <a:ext uri="{FF2B5EF4-FFF2-40B4-BE49-F238E27FC236}">
                <a16:creationId xmlns:a16="http://schemas.microsoft.com/office/drawing/2014/main" id="{0B1F2F3B-82CF-32FD-D839-4F79705FF954}"/>
              </a:ext>
              <a:ext uri="{C183D7F6-B498-43B3-948B-1728B52AA6E4}">
                <adec:decorative xmlns:adec="http://schemas.microsoft.com/office/drawing/2017/decorative" val="1"/>
              </a:ext>
            </a:extLst>
          </p:cNvPr>
          <p:cNvPicPr>
            <a:picLocks noChangeAspect="1"/>
          </p:cNvPicPr>
          <p:nvPr/>
        </p:nvPicPr>
        <p:blipFill>
          <a:blip r:embed="rId3">
            <a:biLevel thresh="75000"/>
            <a:lum bright="-40000" contrast="40000"/>
          </a:blip>
          <a:stretch>
            <a:fillRect/>
          </a:stretch>
        </p:blipFill>
        <p:spPr>
          <a:xfrm>
            <a:off x="5172099" y="1613722"/>
            <a:ext cx="586148" cy="567240"/>
          </a:xfrm>
          <a:prstGeom prst="rect">
            <a:avLst/>
          </a:prstGeom>
        </p:spPr>
      </p:pic>
      <p:cxnSp>
        <p:nvCxnSpPr>
          <p:cNvPr id="12" name="Straight Connector 11">
            <a:extLst>
              <a:ext uri="{FF2B5EF4-FFF2-40B4-BE49-F238E27FC236}">
                <a16:creationId xmlns:a16="http://schemas.microsoft.com/office/drawing/2014/main" id="{997B88FF-062E-A9A9-DFD2-DD82D12FCACD}"/>
              </a:ext>
              <a:ext uri="{C183D7F6-B498-43B3-948B-1728B52AA6E4}">
                <adec:decorative xmlns:adec="http://schemas.microsoft.com/office/drawing/2017/decorative" val="1"/>
              </a:ext>
            </a:extLst>
          </p:cNvPr>
          <p:cNvCxnSpPr>
            <a:cxnSpLocks/>
          </p:cNvCxnSpPr>
          <p:nvPr/>
        </p:nvCxnSpPr>
        <p:spPr>
          <a:xfrm>
            <a:off x="5126430" y="1500477"/>
            <a:ext cx="0" cy="780419"/>
          </a:xfrm>
          <a:prstGeom prst="line">
            <a:avLst/>
          </a:prstGeom>
          <a:ln w="9525">
            <a:solidFill>
              <a:srgbClr val="3A3A3A"/>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1EC00D4-BF8D-0FCB-8F3B-C4018FEB86B7}"/>
              </a:ext>
              <a:ext uri="{C183D7F6-B498-43B3-948B-1728B52AA6E4}">
                <adec:decorative xmlns:adec="http://schemas.microsoft.com/office/drawing/2017/decorative" val="1"/>
              </a:ext>
            </a:extLst>
          </p:cNvPr>
          <p:cNvCxnSpPr>
            <a:cxnSpLocks/>
          </p:cNvCxnSpPr>
          <p:nvPr/>
        </p:nvCxnSpPr>
        <p:spPr>
          <a:xfrm>
            <a:off x="5126430" y="2414390"/>
            <a:ext cx="0" cy="793197"/>
          </a:xfrm>
          <a:prstGeom prst="line">
            <a:avLst/>
          </a:prstGeom>
          <a:ln w="9525">
            <a:solidFill>
              <a:srgbClr val="3A3A3A"/>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6987B1CC-BD62-BDFE-6872-693826854557}"/>
              </a:ext>
              <a:ext uri="{C183D7F6-B498-43B3-948B-1728B52AA6E4}">
                <adec:decorative xmlns:adec="http://schemas.microsoft.com/office/drawing/2017/decorative" val="1"/>
              </a:ext>
            </a:extLst>
          </p:cNvPr>
          <p:cNvPicPr>
            <a:picLocks noChangeAspect="1"/>
          </p:cNvPicPr>
          <p:nvPr/>
        </p:nvPicPr>
        <p:blipFill>
          <a:blip r:embed="rId4">
            <a:biLevel thresh="75000"/>
          </a:blip>
          <a:stretch>
            <a:fillRect/>
          </a:stretch>
        </p:blipFill>
        <p:spPr>
          <a:xfrm>
            <a:off x="5239156" y="2542166"/>
            <a:ext cx="487883" cy="558705"/>
          </a:xfrm>
          <a:prstGeom prst="rect">
            <a:avLst/>
          </a:prstGeom>
        </p:spPr>
      </p:pic>
      <p:cxnSp>
        <p:nvCxnSpPr>
          <p:cNvPr id="15" name="Straight Connector 14">
            <a:extLst>
              <a:ext uri="{FF2B5EF4-FFF2-40B4-BE49-F238E27FC236}">
                <a16:creationId xmlns:a16="http://schemas.microsoft.com/office/drawing/2014/main" id="{8AE7052C-3D1B-DCF8-8E32-757FF83D4104}"/>
              </a:ext>
              <a:ext uri="{C183D7F6-B498-43B3-948B-1728B52AA6E4}">
                <adec:decorative xmlns:adec="http://schemas.microsoft.com/office/drawing/2017/decorative" val="1"/>
              </a:ext>
            </a:extLst>
          </p:cNvPr>
          <p:cNvCxnSpPr>
            <a:cxnSpLocks/>
          </p:cNvCxnSpPr>
          <p:nvPr/>
        </p:nvCxnSpPr>
        <p:spPr>
          <a:xfrm>
            <a:off x="5126430" y="3345685"/>
            <a:ext cx="0" cy="786313"/>
          </a:xfrm>
          <a:prstGeom prst="line">
            <a:avLst/>
          </a:prstGeom>
          <a:ln w="9525">
            <a:solidFill>
              <a:srgbClr val="3A3A3A"/>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E2294FF0-01C0-FF48-701B-D5ECE40AA625}"/>
              </a:ext>
              <a:ext uri="{C183D7F6-B498-43B3-948B-1728B52AA6E4}">
                <adec:decorative xmlns:adec="http://schemas.microsoft.com/office/drawing/2017/decorative" val="1"/>
              </a:ext>
            </a:extLst>
          </p:cNvPr>
          <p:cNvPicPr>
            <a:picLocks noChangeAspect="1"/>
          </p:cNvPicPr>
          <p:nvPr/>
        </p:nvPicPr>
        <p:blipFill>
          <a:blip r:embed="rId5">
            <a:biLevel thresh="75000"/>
          </a:blip>
          <a:stretch>
            <a:fillRect/>
          </a:stretch>
        </p:blipFill>
        <p:spPr>
          <a:xfrm>
            <a:off x="10830587" y="1677809"/>
            <a:ext cx="406630" cy="451151"/>
          </a:xfrm>
          <a:prstGeom prst="rect">
            <a:avLst/>
          </a:prstGeom>
        </p:spPr>
      </p:pic>
      <p:sp>
        <p:nvSpPr>
          <p:cNvPr id="17" name="TextBox 16">
            <a:extLst>
              <a:ext uri="{FF2B5EF4-FFF2-40B4-BE49-F238E27FC236}">
                <a16:creationId xmlns:a16="http://schemas.microsoft.com/office/drawing/2014/main" id="{8FDED96E-8631-A419-582E-B3AA0891E586}"/>
              </a:ext>
            </a:extLst>
          </p:cNvPr>
          <p:cNvSpPr txBox="1"/>
          <p:nvPr/>
        </p:nvSpPr>
        <p:spPr>
          <a:xfrm>
            <a:off x="6891031" y="1629076"/>
            <a:ext cx="3488791" cy="58477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7194D"/>
                </a:solidFill>
                <a:effectLst/>
                <a:uLnTx/>
                <a:uFillTx/>
                <a:latin typeface="Segoe Sans Text" pitchFamily="2" charset="0"/>
                <a:ea typeface="+mn-ea"/>
                <a:cs typeface="Segoe Sans Text" pitchFamily="2" charset="0"/>
              </a:rPr>
              <a:t>Limit your number of Information Protection labels: </a:t>
            </a:r>
            <a:r>
              <a:rPr kumimoji="0" lang="en-US" sz="1600" b="0" i="0" u="none" strike="noStrike" kern="1200" cap="none" spc="0" normalizeH="0" baseline="0" noProof="0">
                <a:ln>
                  <a:noFill/>
                </a:ln>
                <a:solidFill>
                  <a:srgbClr val="17194D"/>
                </a:solidFill>
                <a:effectLst/>
                <a:uLnTx/>
                <a:uFillTx/>
                <a:latin typeface="Segoe Sans Text" pitchFamily="2" charset="0"/>
                <a:ea typeface="+mn-ea"/>
                <a:cs typeface="Segoe Sans Text" pitchFamily="2" charset="0"/>
              </a:rPr>
              <a:t>5 x 5</a:t>
            </a:r>
          </a:p>
        </p:txBody>
      </p:sp>
      <p:sp>
        <p:nvSpPr>
          <p:cNvPr id="18" name="Oval 17">
            <a:extLst>
              <a:ext uri="{FF2B5EF4-FFF2-40B4-BE49-F238E27FC236}">
                <a16:creationId xmlns:a16="http://schemas.microsoft.com/office/drawing/2014/main" id="{DF1A9226-AA8F-6883-779C-BA1F21E25CEA}"/>
              </a:ext>
              <a:ext uri="{C183D7F6-B498-43B3-948B-1728B52AA6E4}">
                <adec:decorative xmlns:adec="http://schemas.microsoft.com/office/drawing/2017/decorative" val="1"/>
              </a:ext>
            </a:extLst>
          </p:cNvPr>
          <p:cNvSpPr/>
          <p:nvPr/>
        </p:nvSpPr>
        <p:spPr>
          <a:xfrm>
            <a:off x="6335609" y="1656371"/>
            <a:ext cx="494028" cy="494028"/>
          </a:xfrm>
          <a:prstGeom prst="ellipse">
            <a:avLst/>
          </a:prstGeom>
          <a:solidFill>
            <a:srgbClr val="221B59"/>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sp>
        <p:nvSpPr>
          <p:cNvPr id="19" name="TextBox 18">
            <a:extLst>
              <a:ext uri="{FF2B5EF4-FFF2-40B4-BE49-F238E27FC236}">
                <a16:creationId xmlns:a16="http://schemas.microsoft.com/office/drawing/2014/main" id="{5962E12A-8755-2350-695B-0E06E2CA7AE7}"/>
              </a:ext>
            </a:extLst>
          </p:cNvPr>
          <p:cNvSpPr txBox="1"/>
          <p:nvPr/>
        </p:nvSpPr>
        <p:spPr>
          <a:xfrm>
            <a:off x="6415906" y="1653426"/>
            <a:ext cx="329239"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rPr>
              <a:t>2</a:t>
            </a:r>
          </a:p>
        </p:txBody>
      </p:sp>
      <p:cxnSp>
        <p:nvCxnSpPr>
          <p:cNvPr id="20" name="Straight Connector 19">
            <a:extLst>
              <a:ext uri="{FF2B5EF4-FFF2-40B4-BE49-F238E27FC236}">
                <a16:creationId xmlns:a16="http://schemas.microsoft.com/office/drawing/2014/main" id="{48EBFF5A-829C-F050-F7B7-F4A484EF7C2B}"/>
              </a:ext>
              <a:ext uri="{C183D7F6-B498-43B3-948B-1728B52AA6E4}">
                <adec:decorative xmlns:adec="http://schemas.microsoft.com/office/drawing/2017/decorative" val="1"/>
              </a:ext>
            </a:extLst>
          </p:cNvPr>
          <p:cNvCxnSpPr>
            <a:cxnSpLocks/>
          </p:cNvCxnSpPr>
          <p:nvPr/>
        </p:nvCxnSpPr>
        <p:spPr>
          <a:xfrm>
            <a:off x="10702956" y="1502744"/>
            <a:ext cx="0" cy="778152"/>
          </a:xfrm>
          <a:prstGeom prst="line">
            <a:avLst/>
          </a:prstGeom>
          <a:ln w="9525">
            <a:solidFill>
              <a:srgbClr val="3A3A3A"/>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6E0F95F-7855-830A-42FA-926A3FCD818B}"/>
              </a:ext>
            </a:extLst>
          </p:cNvPr>
          <p:cNvSpPr txBox="1"/>
          <p:nvPr/>
        </p:nvSpPr>
        <p:spPr>
          <a:xfrm>
            <a:off x="1314690" y="2556503"/>
            <a:ext cx="3714008" cy="58477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7194D"/>
                </a:solidFill>
                <a:effectLst/>
                <a:uLnTx/>
                <a:uFillTx/>
                <a:latin typeface="Segoe Sans Text" pitchFamily="2" charset="0"/>
                <a:ea typeface="+mn-ea"/>
                <a:cs typeface="Segoe Sans Text" pitchFamily="2" charset="0"/>
              </a:rPr>
              <a:t>Intuitive labels: </a:t>
            </a:r>
            <a:r>
              <a:rPr kumimoji="0" lang="en-US" sz="1600" b="0" i="0" u="none" strike="noStrike" kern="1200" cap="none" spc="0" normalizeH="0" baseline="0" noProof="0">
                <a:ln>
                  <a:noFill/>
                </a:ln>
                <a:solidFill>
                  <a:srgbClr val="17194D"/>
                </a:solidFill>
                <a:effectLst/>
                <a:uLnTx/>
                <a:uFillTx/>
                <a:latin typeface="Segoe Sans Text" pitchFamily="2" charset="0"/>
                <a:ea typeface="+mn-ea"/>
                <a:cs typeface="Segoe Sans Text" pitchFamily="2" charset="0"/>
              </a:rPr>
              <a:t>Labels must mean what they say</a:t>
            </a:r>
          </a:p>
        </p:txBody>
      </p:sp>
      <p:sp>
        <p:nvSpPr>
          <p:cNvPr id="22" name="Rounded Rectangle 73">
            <a:extLst>
              <a:ext uri="{FF2B5EF4-FFF2-40B4-BE49-F238E27FC236}">
                <a16:creationId xmlns:a16="http://schemas.microsoft.com/office/drawing/2014/main" id="{9B17DD49-37A7-3AD8-B437-EAA7ADF212D1}"/>
              </a:ext>
              <a:ext uri="{C183D7F6-B498-43B3-948B-1728B52AA6E4}">
                <adec:decorative xmlns:adec="http://schemas.microsoft.com/office/drawing/2017/decorative" val="1"/>
              </a:ext>
            </a:extLst>
          </p:cNvPr>
          <p:cNvSpPr/>
          <p:nvPr/>
        </p:nvSpPr>
        <p:spPr>
          <a:xfrm>
            <a:off x="6580527" y="2429755"/>
            <a:ext cx="4865554" cy="77783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cxnSp>
        <p:nvCxnSpPr>
          <p:cNvPr id="23" name="Straight Connector 22">
            <a:extLst>
              <a:ext uri="{FF2B5EF4-FFF2-40B4-BE49-F238E27FC236}">
                <a16:creationId xmlns:a16="http://schemas.microsoft.com/office/drawing/2014/main" id="{A15E04B6-5A73-B634-6E75-702A44384524}"/>
              </a:ext>
              <a:ext uri="{C183D7F6-B498-43B3-948B-1728B52AA6E4}">
                <adec:decorative xmlns:adec="http://schemas.microsoft.com/office/drawing/2017/decorative" val="1"/>
              </a:ext>
            </a:extLst>
          </p:cNvPr>
          <p:cNvCxnSpPr>
            <a:cxnSpLocks/>
          </p:cNvCxnSpPr>
          <p:nvPr/>
        </p:nvCxnSpPr>
        <p:spPr>
          <a:xfrm>
            <a:off x="10702956" y="2414390"/>
            <a:ext cx="0" cy="793197"/>
          </a:xfrm>
          <a:prstGeom prst="line">
            <a:avLst/>
          </a:prstGeom>
          <a:ln w="9525">
            <a:solidFill>
              <a:srgbClr val="3A3A3A"/>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3773BFE2-97DC-BEC2-581A-64F7A6B76917}"/>
              </a:ext>
              <a:ext uri="{C183D7F6-B498-43B3-948B-1728B52AA6E4}">
                <adec:decorative xmlns:adec="http://schemas.microsoft.com/office/drawing/2017/decorative" val="1"/>
              </a:ext>
            </a:extLst>
          </p:cNvPr>
          <p:cNvSpPr/>
          <p:nvPr/>
        </p:nvSpPr>
        <p:spPr>
          <a:xfrm>
            <a:off x="6317651" y="2549253"/>
            <a:ext cx="494028" cy="494028"/>
          </a:xfrm>
          <a:prstGeom prst="ellipse">
            <a:avLst/>
          </a:prstGeom>
          <a:solidFill>
            <a:srgbClr val="221B59"/>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sp>
        <p:nvSpPr>
          <p:cNvPr id="25" name="TextBox 24">
            <a:extLst>
              <a:ext uri="{FF2B5EF4-FFF2-40B4-BE49-F238E27FC236}">
                <a16:creationId xmlns:a16="http://schemas.microsoft.com/office/drawing/2014/main" id="{F7F77235-5213-A438-EA84-842568A5F6C4}"/>
              </a:ext>
            </a:extLst>
          </p:cNvPr>
          <p:cNvSpPr txBox="1"/>
          <p:nvPr/>
        </p:nvSpPr>
        <p:spPr>
          <a:xfrm>
            <a:off x="6397948" y="2546308"/>
            <a:ext cx="329239"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rPr>
              <a:t>4</a:t>
            </a:r>
          </a:p>
        </p:txBody>
      </p:sp>
      <p:sp>
        <p:nvSpPr>
          <p:cNvPr id="26" name="TextBox 25">
            <a:extLst>
              <a:ext uri="{FF2B5EF4-FFF2-40B4-BE49-F238E27FC236}">
                <a16:creationId xmlns:a16="http://schemas.microsoft.com/office/drawing/2014/main" id="{B85F514E-EE3D-C0A6-2E38-9CA64C56D213}"/>
              </a:ext>
            </a:extLst>
          </p:cNvPr>
          <p:cNvSpPr txBox="1"/>
          <p:nvPr/>
        </p:nvSpPr>
        <p:spPr>
          <a:xfrm>
            <a:off x="6911803" y="2556503"/>
            <a:ext cx="3854967" cy="58477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7194D"/>
                </a:solidFill>
                <a:effectLst/>
                <a:uLnTx/>
                <a:uFillTx/>
                <a:latin typeface="Segoe Sans Text" pitchFamily="2" charset="0"/>
                <a:ea typeface="+mn-ea"/>
                <a:cs typeface="Segoe Sans Text" pitchFamily="2" charset="0"/>
              </a:rPr>
              <a:t>Capture container (group and sites) labels: </a:t>
            </a:r>
            <a:r>
              <a:rPr kumimoji="0" lang="en-US" sz="1600" b="0" i="0" u="none" strike="noStrike" kern="1200" cap="none" spc="0" normalizeH="0" baseline="0" noProof="0">
                <a:ln>
                  <a:noFill/>
                </a:ln>
                <a:solidFill>
                  <a:srgbClr val="17194D"/>
                </a:solidFill>
                <a:effectLst/>
                <a:uLnTx/>
                <a:uFillTx/>
                <a:latin typeface="Segoe Sans Text" pitchFamily="2" charset="0"/>
                <a:ea typeface="+mn-ea"/>
                <a:cs typeface="Segoe Sans Text" pitchFamily="2" charset="0"/>
              </a:rPr>
              <a:t>Must have for all sites</a:t>
            </a:r>
          </a:p>
        </p:txBody>
      </p:sp>
      <p:pic>
        <p:nvPicPr>
          <p:cNvPr id="27" name="Picture 26">
            <a:extLst>
              <a:ext uri="{FF2B5EF4-FFF2-40B4-BE49-F238E27FC236}">
                <a16:creationId xmlns:a16="http://schemas.microsoft.com/office/drawing/2014/main" id="{48617480-88A2-4D50-2519-C35198F28FC7}"/>
              </a:ext>
              <a:ext uri="{C183D7F6-B498-43B3-948B-1728B52AA6E4}">
                <adec:decorative xmlns:adec="http://schemas.microsoft.com/office/drawing/2017/decorative" val="1"/>
              </a:ext>
            </a:extLst>
          </p:cNvPr>
          <p:cNvPicPr>
            <a:picLocks noChangeAspect="1"/>
          </p:cNvPicPr>
          <p:nvPr/>
        </p:nvPicPr>
        <p:blipFill>
          <a:blip r:embed="rId6">
            <a:biLevel thresh="75000"/>
          </a:blip>
          <a:stretch>
            <a:fillRect/>
          </a:stretch>
        </p:blipFill>
        <p:spPr>
          <a:xfrm>
            <a:off x="10803740" y="2662093"/>
            <a:ext cx="436820" cy="299303"/>
          </a:xfrm>
          <a:prstGeom prst="rect">
            <a:avLst/>
          </a:prstGeom>
        </p:spPr>
      </p:pic>
      <p:sp>
        <p:nvSpPr>
          <p:cNvPr id="28" name="TextBox 27">
            <a:extLst>
              <a:ext uri="{FF2B5EF4-FFF2-40B4-BE49-F238E27FC236}">
                <a16:creationId xmlns:a16="http://schemas.microsoft.com/office/drawing/2014/main" id="{66D065E9-E64B-B54D-631E-BA35A2392B6B}"/>
              </a:ext>
            </a:extLst>
          </p:cNvPr>
          <p:cNvSpPr txBox="1"/>
          <p:nvPr/>
        </p:nvSpPr>
        <p:spPr>
          <a:xfrm>
            <a:off x="1314690" y="3467055"/>
            <a:ext cx="3714008" cy="58477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7194D"/>
                </a:solidFill>
                <a:effectLst/>
                <a:uLnTx/>
                <a:uFillTx/>
                <a:latin typeface="Segoe Sans Text" pitchFamily="2" charset="0"/>
                <a:ea typeface="+mn-ea"/>
                <a:cs typeface="Segoe Sans Text" pitchFamily="2" charset="0"/>
              </a:rPr>
              <a:t>Intelligent file default labels: </a:t>
            </a:r>
            <a:r>
              <a:rPr kumimoji="0" lang="en-US" sz="1600" b="0" i="0" u="none" strike="noStrike" kern="1200" cap="none" spc="0" normalizeH="0" baseline="0" noProof="0">
                <a:ln>
                  <a:noFill/>
                </a:ln>
                <a:solidFill>
                  <a:srgbClr val="17194D"/>
                </a:solidFill>
                <a:effectLst/>
                <a:uLnTx/>
                <a:uFillTx/>
                <a:latin typeface="Segoe Sans Text" pitchFamily="2" charset="0"/>
                <a:ea typeface="+mn-ea"/>
                <a:cs typeface="Segoe Sans Text" pitchFamily="2" charset="0"/>
              </a:rPr>
              <a:t>Derive from container—99% case</a:t>
            </a:r>
          </a:p>
        </p:txBody>
      </p:sp>
      <p:sp>
        <p:nvSpPr>
          <p:cNvPr id="29" name="Rounded Rectangle 87">
            <a:extLst>
              <a:ext uri="{FF2B5EF4-FFF2-40B4-BE49-F238E27FC236}">
                <a16:creationId xmlns:a16="http://schemas.microsoft.com/office/drawing/2014/main" id="{12B24E3B-32FC-0C3D-14A0-7DEF4B3E93A3}"/>
              </a:ext>
              <a:ext uri="{C183D7F6-B498-43B3-948B-1728B52AA6E4}">
                <adec:decorative xmlns:adec="http://schemas.microsoft.com/office/drawing/2017/decorative" val="1"/>
              </a:ext>
            </a:extLst>
          </p:cNvPr>
          <p:cNvSpPr/>
          <p:nvPr/>
        </p:nvSpPr>
        <p:spPr>
          <a:xfrm>
            <a:off x="6571226" y="3356446"/>
            <a:ext cx="4865554" cy="77555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sp>
        <p:nvSpPr>
          <p:cNvPr id="30" name="Oval 29">
            <a:extLst>
              <a:ext uri="{FF2B5EF4-FFF2-40B4-BE49-F238E27FC236}">
                <a16:creationId xmlns:a16="http://schemas.microsoft.com/office/drawing/2014/main" id="{64EECB7A-6403-0072-4AFC-99591FC1E6E1}"/>
              </a:ext>
              <a:ext uri="{C183D7F6-B498-43B3-948B-1728B52AA6E4}">
                <adec:decorative xmlns:adec="http://schemas.microsoft.com/office/drawing/2017/decorative" val="1"/>
              </a:ext>
            </a:extLst>
          </p:cNvPr>
          <p:cNvSpPr/>
          <p:nvPr/>
        </p:nvSpPr>
        <p:spPr>
          <a:xfrm>
            <a:off x="6314570" y="3524492"/>
            <a:ext cx="494028" cy="494028"/>
          </a:xfrm>
          <a:prstGeom prst="ellipse">
            <a:avLst/>
          </a:prstGeom>
          <a:solidFill>
            <a:srgbClr val="221B59"/>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sp>
        <p:nvSpPr>
          <p:cNvPr id="31" name="TextBox 30">
            <a:extLst>
              <a:ext uri="{FF2B5EF4-FFF2-40B4-BE49-F238E27FC236}">
                <a16:creationId xmlns:a16="http://schemas.microsoft.com/office/drawing/2014/main" id="{8A8F4A3F-A6DD-C248-1585-A3DF637A13B9}"/>
              </a:ext>
            </a:extLst>
          </p:cNvPr>
          <p:cNvSpPr txBox="1"/>
          <p:nvPr/>
        </p:nvSpPr>
        <p:spPr>
          <a:xfrm>
            <a:off x="6394867" y="3521547"/>
            <a:ext cx="329239"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rPr>
              <a:t>6</a:t>
            </a:r>
          </a:p>
        </p:txBody>
      </p:sp>
      <p:sp>
        <p:nvSpPr>
          <p:cNvPr id="32" name="TextBox 31">
            <a:extLst>
              <a:ext uri="{FF2B5EF4-FFF2-40B4-BE49-F238E27FC236}">
                <a16:creationId xmlns:a16="http://schemas.microsoft.com/office/drawing/2014/main" id="{8D37732E-2630-8977-7936-09EB9FC92DB9}"/>
              </a:ext>
            </a:extLst>
          </p:cNvPr>
          <p:cNvSpPr txBox="1"/>
          <p:nvPr/>
        </p:nvSpPr>
        <p:spPr>
          <a:xfrm>
            <a:off x="6896091" y="3467055"/>
            <a:ext cx="3854967" cy="58477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7194D"/>
                </a:solidFill>
                <a:effectLst/>
                <a:uLnTx/>
                <a:uFillTx/>
                <a:latin typeface="Segoe Sans Text" pitchFamily="2" charset="0"/>
                <a:ea typeface="+mn-ea"/>
                <a:cs typeface="Segoe Sans Text" pitchFamily="2" charset="0"/>
              </a:rPr>
              <a:t>Train your employees: </a:t>
            </a:r>
            <a:r>
              <a:rPr kumimoji="0" lang="en-US" sz="1600" b="0" i="0" u="none" strike="noStrike" kern="1200" cap="none" spc="0" normalizeH="0" baseline="0" noProof="0">
                <a:ln>
                  <a:noFill/>
                </a:ln>
                <a:solidFill>
                  <a:srgbClr val="17194D"/>
                </a:solidFill>
                <a:effectLst/>
                <a:uLnTx/>
                <a:uFillTx/>
                <a:latin typeface="Segoe Sans Text" pitchFamily="2" charset="0"/>
                <a:ea typeface="+mn-ea"/>
                <a:cs typeface="Segoe Sans Text" pitchFamily="2" charset="0"/>
              </a:rPr>
              <a:t>Culture is as critical as policies</a:t>
            </a:r>
          </a:p>
        </p:txBody>
      </p:sp>
      <p:cxnSp>
        <p:nvCxnSpPr>
          <p:cNvPr id="33" name="Straight Connector 32">
            <a:extLst>
              <a:ext uri="{FF2B5EF4-FFF2-40B4-BE49-F238E27FC236}">
                <a16:creationId xmlns:a16="http://schemas.microsoft.com/office/drawing/2014/main" id="{CFC3505F-04A5-1448-AB3A-769706FF0645}"/>
              </a:ext>
              <a:ext uri="{C183D7F6-B498-43B3-948B-1728B52AA6E4}">
                <adec:decorative xmlns:adec="http://schemas.microsoft.com/office/drawing/2017/decorative" val="1"/>
              </a:ext>
            </a:extLst>
          </p:cNvPr>
          <p:cNvCxnSpPr>
            <a:cxnSpLocks/>
          </p:cNvCxnSpPr>
          <p:nvPr/>
        </p:nvCxnSpPr>
        <p:spPr>
          <a:xfrm>
            <a:off x="10713390" y="3356446"/>
            <a:ext cx="0" cy="775552"/>
          </a:xfrm>
          <a:prstGeom prst="line">
            <a:avLst/>
          </a:prstGeom>
          <a:ln w="9525">
            <a:solidFill>
              <a:srgbClr val="3A3A3A"/>
            </a:solidFill>
          </a:ln>
        </p:spPr>
        <p:style>
          <a:lnRef idx="1">
            <a:schemeClr val="accent1"/>
          </a:lnRef>
          <a:fillRef idx="0">
            <a:schemeClr val="accent1"/>
          </a:fillRef>
          <a:effectRef idx="0">
            <a:schemeClr val="accent1"/>
          </a:effectRef>
          <a:fontRef idx="minor">
            <a:schemeClr val="tx1"/>
          </a:fontRef>
        </p:style>
      </p:cxnSp>
      <p:sp>
        <p:nvSpPr>
          <p:cNvPr id="34" name="Rounded Rectangle 95">
            <a:extLst>
              <a:ext uri="{FF2B5EF4-FFF2-40B4-BE49-F238E27FC236}">
                <a16:creationId xmlns:a16="http://schemas.microsoft.com/office/drawing/2014/main" id="{3D8E7FCD-E2DF-C261-5FE4-C4EC0F1B76CF}"/>
              </a:ext>
              <a:ext uri="{C183D7F6-B498-43B3-948B-1728B52AA6E4}">
                <adec:decorative xmlns:adec="http://schemas.microsoft.com/office/drawing/2017/decorative" val="1"/>
              </a:ext>
            </a:extLst>
          </p:cNvPr>
          <p:cNvSpPr/>
          <p:nvPr/>
        </p:nvSpPr>
        <p:spPr>
          <a:xfrm>
            <a:off x="978084" y="4308386"/>
            <a:ext cx="4816929" cy="77555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cxnSp>
        <p:nvCxnSpPr>
          <p:cNvPr id="35" name="Straight Connector 34">
            <a:extLst>
              <a:ext uri="{FF2B5EF4-FFF2-40B4-BE49-F238E27FC236}">
                <a16:creationId xmlns:a16="http://schemas.microsoft.com/office/drawing/2014/main" id="{585CB469-FA7B-CE25-5EE7-CACA502B9336}"/>
              </a:ext>
              <a:ext uri="{C183D7F6-B498-43B3-948B-1728B52AA6E4}">
                <adec:decorative xmlns:adec="http://schemas.microsoft.com/office/drawing/2017/decorative" val="1"/>
              </a:ext>
            </a:extLst>
          </p:cNvPr>
          <p:cNvCxnSpPr>
            <a:cxnSpLocks/>
          </p:cNvCxnSpPr>
          <p:nvPr/>
        </p:nvCxnSpPr>
        <p:spPr>
          <a:xfrm>
            <a:off x="5126430" y="4301953"/>
            <a:ext cx="0" cy="786313"/>
          </a:xfrm>
          <a:prstGeom prst="line">
            <a:avLst/>
          </a:prstGeom>
          <a:ln w="9525">
            <a:solidFill>
              <a:srgbClr val="3A3A3A"/>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77B94EF3-3937-4058-963D-BB4280A9769A}"/>
              </a:ext>
            </a:extLst>
          </p:cNvPr>
          <p:cNvSpPr txBox="1"/>
          <p:nvPr/>
        </p:nvSpPr>
        <p:spPr>
          <a:xfrm>
            <a:off x="1314690" y="4416289"/>
            <a:ext cx="3576076" cy="58477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7194D"/>
                </a:solidFill>
                <a:effectLst/>
                <a:uLnTx/>
                <a:uFillTx/>
                <a:latin typeface="Segoe Sans Text" pitchFamily="2" charset="0"/>
                <a:ea typeface="+mn-ea"/>
                <a:cs typeface="Segoe Sans Text" pitchFamily="2" charset="0"/>
              </a:rPr>
              <a:t>Trust but verify sensitivity labels: </a:t>
            </a:r>
            <a:br>
              <a:rPr kumimoji="0" lang="en-US" sz="1600" b="1" i="0" u="none" strike="noStrike" kern="1200" cap="none" spc="0" normalizeH="0" baseline="0" noProof="0">
                <a:ln>
                  <a:noFill/>
                </a:ln>
                <a:solidFill>
                  <a:srgbClr val="17194D"/>
                </a:solidFill>
                <a:effectLst/>
                <a:uLnTx/>
                <a:uFillTx/>
                <a:latin typeface="Segoe Sans Text" pitchFamily="2" charset="0"/>
                <a:ea typeface="+mn-ea"/>
                <a:cs typeface="Segoe Sans Text" pitchFamily="2" charset="0"/>
              </a:rPr>
            </a:br>
            <a:r>
              <a:rPr kumimoji="0" lang="en-US" sz="1600" b="0" i="0" u="none" strike="noStrike" kern="1200" cap="none" spc="0" normalizeH="0" baseline="0" noProof="0">
                <a:ln>
                  <a:noFill/>
                </a:ln>
                <a:solidFill>
                  <a:srgbClr val="17194D"/>
                </a:solidFill>
                <a:effectLst/>
                <a:uLnTx/>
                <a:uFillTx/>
                <a:latin typeface="Segoe Sans Text" pitchFamily="2" charset="0"/>
                <a:ea typeface="+mn-ea"/>
                <a:cs typeface="Segoe Sans Text" pitchFamily="2" charset="0"/>
              </a:rPr>
              <a:t>Catch the 1% case with DLP </a:t>
            </a:r>
          </a:p>
        </p:txBody>
      </p:sp>
      <p:pic>
        <p:nvPicPr>
          <p:cNvPr id="37" name="Picture 36">
            <a:extLst>
              <a:ext uri="{FF2B5EF4-FFF2-40B4-BE49-F238E27FC236}">
                <a16:creationId xmlns:a16="http://schemas.microsoft.com/office/drawing/2014/main" id="{0AADCFD1-44AF-1844-F3CA-6043D6DC0545}"/>
              </a:ext>
              <a:ext uri="{C183D7F6-B498-43B3-948B-1728B52AA6E4}">
                <adec:decorative xmlns:adec="http://schemas.microsoft.com/office/drawing/2017/decorative" val="1"/>
              </a:ext>
            </a:extLst>
          </p:cNvPr>
          <p:cNvPicPr>
            <a:picLocks noChangeAspect="1"/>
          </p:cNvPicPr>
          <p:nvPr/>
        </p:nvPicPr>
        <p:blipFill>
          <a:blip r:embed="rId7">
            <a:biLevel thresh="75000"/>
          </a:blip>
          <a:stretch>
            <a:fillRect/>
          </a:stretch>
        </p:blipFill>
        <p:spPr>
          <a:xfrm>
            <a:off x="5209506" y="4439526"/>
            <a:ext cx="497097" cy="497097"/>
          </a:xfrm>
          <a:prstGeom prst="rect">
            <a:avLst/>
          </a:prstGeom>
        </p:spPr>
      </p:pic>
      <p:sp>
        <p:nvSpPr>
          <p:cNvPr id="38" name="Rounded Rectangle 101">
            <a:extLst>
              <a:ext uri="{FF2B5EF4-FFF2-40B4-BE49-F238E27FC236}">
                <a16:creationId xmlns:a16="http://schemas.microsoft.com/office/drawing/2014/main" id="{CD09CC1E-225D-39A2-7BBD-5D588BCAF126}"/>
              </a:ext>
              <a:ext uri="{C183D7F6-B498-43B3-948B-1728B52AA6E4}">
                <adec:decorative xmlns:adec="http://schemas.microsoft.com/office/drawing/2017/decorative" val="1"/>
              </a:ext>
            </a:extLst>
          </p:cNvPr>
          <p:cNvSpPr/>
          <p:nvPr/>
        </p:nvSpPr>
        <p:spPr>
          <a:xfrm>
            <a:off x="6569416" y="4308386"/>
            <a:ext cx="4865554" cy="77555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sp>
        <p:nvSpPr>
          <p:cNvPr id="39" name="Oval 38">
            <a:extLst>
              <a:ext uri="{FF2B5EF4-FFF2-40B4-BE49-F238E27FC236}">
                <a16:creationId xmlns:a16="http://schemas.microsoft.com/office/drawing/2014/main" id="{3EAE2C8D-4FD3-3E0C-C920-BE1F15EC9031}"/>
              </a:ext>
              <a:ext uri="{C183D7F6-B498-43B3-948B-1728B52AA6E4}">
                <adec:decorative xmlns:adec="http://schemas.microsoft.com/office/drawing/2017/decorative" val="1"/>
              </a:ext>
            </a:extLst>
          </p:cNvPr>
          <p:cNvSpPr/>
          <p:nvPr/>
        </p:nvSpPr>
        <p:spPr>
          <a:xfrm>
            <a:off x="6324499" y="4452624"/>
            <a:ext cx="494028" cy="494028"/>
          </a:xfrm>
          <a:prstGeom prst="ellipse">
            <a:avLst/>
          </a:prstGeom>
          <a:solidFill>
            <a:srgbClr val="221B59"/>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sp>
        <p:nvSpPr>
          <p:cNvPr id="40" name="TextBox 39">
            <a:extLst>
              <a:ext uri="{FF2B5EF4-FFF2-40B4-BE49-F238E27FC236}">
                <a16:creationId xmlns:a16="http://schemas.microsoft.com/office/drawing/2014/main" id="{DF8103B3-24D6-C425-8F89-E9A201E99D5C}"/>
              </a:ext>
            </a:extLst>
          </p:cNvPr>
          <p:cNvSpPr txBox="1"/>
          <p:nvPr/>
        </p:nvSpPr>
        <p:spPr>
          <a:xfrm>
            <a:off x="6404796" y="4449679"/>
            <a:ext cx="329239"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rPr>
              <a:t>8</a:t>
            </a:r>
          </a:p>
        </p:txBody>
      </p:sp>
      <p:sp>
        <p:nvSpPr>
          <p:cNvPr id="41" name="TextBox 40">
            <a:extLst>
              <a:ext uri="{FF2B5EF4-FFF2-40B4-BE49-F238E27FC236}">
                <a16:creationId xmlns:a16="http://schemas.microsoft.com/office/drawing/2014/main" id="{EEAD35D5-BB66-3F20-4F4E-A8C5F3E59CFD}"/>
              </a:ext>
            </a:extLst>
          </p:cNvPr>
          <p:cNvSpPr txBox="1"/>
          <p:nvPr/>
        </p:nvSpPr>
        <p:spPr>
          <a:xfrm>
            <a:off x="6891031" y="4416289"/>
            <a:ext cx="3711800" cy="58477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7194D"/>
                </a:solidFill>
                <a:effectLst/>
                <a:uLnTx/>
                <a:uFillTx/>
                <a:latin typeface="Segoe Sans Text" pitchFamily="2" charset="0"/>
                <a:ea typeface="+mn-ea"/>
                <a:cs typeface="Segoe Sans Text" pitchFamily="2" charset="0"/>
              </a:rPr>
              <a:t>Implement lifecycle management: </a:t>
            </a:r>
            <a:r>
              <a:rPr kumimoji="0" lang="en-US" sz="1600" b="0" i="0" u="none" strike="noStrike" kern="1200" cap="none" spc="0" normalizeH="0" baseline="0" noProof="0">
                <a:ln>
                  <a:noFill/>
                </a:ln>
                <a:solidFill>
                  <a:srgbClr val="17194D"/>
                </a:solidFill>
                <a:effectLst/>
                <a:uLnTx/>
                <a:uFillTx/>
                <a:latin typeface="Segoe Sans Text" pitchFamily="2" charset="0"/>
                <a:ea typeface="+mn-ea"/>
                <a:cs typeface="Segoe Sans Text" pitchFamily="2" charset="0"/>
              </a:rPr>
              <a:t>Create a chain of accountability</a:t>
            </a:r>
          </a:p>
        </p:txBody>
      </p:sp>
      <p:pic>
        <p:nvPicPr>
          <p:cNvPr id="42" name="Picture 41">
            <a:extLst>
              <a:ext uri="{FF2B5EF4-FFF2-40B4-BE49-F238E27FC236}">
                <a16:creationId xmlns:a16="http://schemas.microsoft.com/office/drawing/2014/main" id="{68421423-FCBE-9A97-2641-FF7895BB13E2}"/>
              </a:ext>
              <a:ext uri="{C183D7F6-B498-43B3-948B-1728B52AA6E4}">
                <adec:decorative xmlns:adec="http://schemas.microsoft.com/office/drawing/2017/decorative" val="1"/>
              </a:ext>
            </a:extLst>
          </p:cNvPr>
          <p:cNvPicPr>
            <a:picLocks noChangeAspect="1"/>
          </p:cNvPicPr>
          <p:nvPr/>
        </p:nvPicPr>
        <p:blipFill>
          <a:blip r:embed="rId8">
            <a:biLevel thresh="75000"/>
          </a:blip>
          <a:stretch>
            <a:fillRect/>
          </a:stretch>
        </p:blipFill>
        <p:spPr>
          <a:xfrm>
            <a:off x="10814230" y="4500769"/>
            <a:ext cx="391729" cy="354259"/>
          </a:xfrm>
          <a:prstGeom prst="rect">
            <a:avLst/>
          </a:prstGeom>
        </p:spPr>
      </p:pic>
      <p:cxnSp>
        <p:nvCxnSpPr>
          <p:cNvPr id="43" name="Straight Connector 42">
            <a:extLst>
              <a:ext uri="{FF2B5EF4-FFF2-40B4-BE49-F238E27FC236}">
                <a16:creationId xmlns:a16="http://schemas.microsoft.com/office/drawing/2014/main" id="{422B1DE0-4F1B-FD6C-193F-5B0257F8524C}"/>
              </a:ext>
              <a:ext uri="{C183D7F6-B498-43B3-948B-1728B52AA6E4}">
                <adec:decorative xmlns:adec="http://schemas.microsoft.com/office/drawing/2017/decorative" val="1"/>
              </a:ext>
            </a:extLst>
          </p:cNvPr>
          <p:cNvCxnSpPr>
            <a:cxnSpLocks/>
          </p:cNvCxnSpPr>
          <p:nvPr/>
        </p:nvCxnSpPr>
        <p:spPr>
          <a:xfrm>
            <a:off x="10713390" y="4300582"/>
            <a:ext cx="0" cy="793197"/>
          </a:xfrm>
          <a:prstGeom prst="line">
            <a:avLst/>
          </a:prstGeom>
          <a:ln w="9525">
            <a:solidFill>
              <a:srgbClr val="3A3A3A"/>
            </a:solidFill>
          </a:ln>
        </p:spPr>
        <p:style>
          <a:lnRef idx="1">
            <a:schemeClr val="accent1"/>
          </a:lnRef>
          <a:fillRef idx="0">
            <a:schemeClr val="accent1"/>
          </a:fillRef>
          <a:effectRef idx="0">
            <a:schemeClr val="accent1"/>
          </a:effectRef>
          <a:fontRef idx="minor">
            <a:schemeClr val="tx1"/>
          </a:fontRef>
        </p:style>
      </p:cxnSp>
      <p:sp>
        <p:nvSpPr>
          <p:cNvPr id="44" name="Rounded Rectangle 108">
            <a:extLst>
              <a:ext uri="{FF2B5EF4-FFF2-40B4-BE49-F238E27FC236}">
                <a16:creationId xmlns:a16="http://schemas.microsoft.com/office/drawing/2014/main" id="{D6023359-660D-C760-2A61-9A4C94937F8C}"/>
              </a:ext>
              <a:ext uri="{C183D7F6-B498-43B3-948B-1728B52AA6E4}">
                <adec:decorative xmlns:adec="http://schemas.microsoft.com/office/drawing/2017/decorative" val="1"/>
              </a:ext>
            </a:extLst>
          </p:cNvPr>
          <p:cNvSpPr/>
          <p:nvPr/>
        </p:nvSpPr>
        <p:spPr>
          <a:xfrm>
            <a:off x="978084" y="5260886"/>
            <a:ext cx="4816929" cy="77555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cxnSp>
        <p:nvCxnSpPr>
          <p:cNvPr id="45" name="Straight Connector 44">
            <a:extLst>
              <a:ext uri="{FF2B5EF4-FFF2-40B4-BE49-F238E27FC236}">
                <a16:creationId xmlns:a16="http://schemas.microsoft.com/office/drawing/2014/main" id="{CC1554C8-D53A-5BEB-5D1E-8667292D8EAD}"/>
              </a:ext>
              <a:ext uri="{C183D7F6-B498-43B3-948B-1728B52AA6E4}">
                <adec:decorative xmlns:adec="http://schemas.microsoft.com/office/drawing/2017/decorative" val="1"/>
              </a:ext>
            </a:extLst>
          </p:cNvPr>
          <p:cNvCxnSpPr>
            <a:cxnSpLocks/>
          </p:cNvCxnSpPr>
          <p:nvPr/>
        </p:nvCxnSpPr>
        <p:spPr>
          <a:xfrm>
            <a:off x="5126430" y="5254453"/>
            <a:ext cx="0" cy="786313"/>
          </a:xfrm>
          <a:prstGeom prst="line">
            <a:avLst/>
          </a:prstGeom>
          <a:ln w="9525">
            <a:solidFill>
              <a:srgbClr val="3A3A3A"/>
            </a:solidFill>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5914E2DF-53EE-8F1A-E4D0-9BD10BD11F0F}"/>
              </a:ext>
              <a:ext uri="{C183D7F6-B498-43B3-948B-1728B52AA6E4}">
                <adec:decorative xmlns:adec="http://schemas.microsoft.com/office/drawing/2017/decorative" val="1"/>
              </a:ext>
            </a:extLst>
          </p:cNvPr>
          <p:cNvSpPr/>
          <p:nvPr/>
        </p:nvSpPr>
        <p:spPr>
          <a:xfrm>
            <a:off x="733168" y="2574466"/>
            <a:ext cx="494028" cy="494028"/>
          </a:xfrm>
          <a:prstGeom prst="ellipse">
            <a:avLst/>
          </a:prstGeom>
          <a:solidFill>
            <a:srgbClr val="221B59"/>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Text" pitchFamily="2" charset="0"/>
              <a:ea typeface="+mn-ea"/>
              <a:cs typeface="Segoe Sans Text" pitchFamily="2" charset="0"/>
            </a:endParaRPr>
          </a:p>
        </p:txBody>
      </p:sp>
      <p:sp>
        <p:nvSpPr>
          <p:cNvPr id="47" name="TextBox 46">
            <a:extLst>
              <a:ext uri="{FF2B5EF4-FFF2-40B4-BE49-F238E27FC236}">
                <a16:creationId xmlns:a16="http://schemas.microsoft.com/office/drawing/2014/main" id="{48D33696-C2B0-FFAF-EA26-6FB040D23306}"/>
              </a:ext>
            </a:extLst>
          </p:cNvPr>
          <p:cNvSpPr txBox="1"/>
          <p:nvPr/>
        </p:nvSpPr>
        <p:spPr>
          <a:xfrm>
            <a:off x="813465" y="2571521"/>
            <a:ext cx="329239"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rPr>
              <a:t>3</a:t>
            </a:r>
          </a:p>
        </p:txBody>
      </p:sp>
      <p:sp>
        <p:nvSpPr>
          <p:cNvPr id="48" name="Oval 47">
            <a:extLst>
              <a:ext uri="{FF2B5EF4-FFF2-40B4-BE49-F238E27FC236}">
                <a16:creationId xmlns:a16="http://schemas.microsoft.com/office/drawing/2014/main" id="{D042B54C-FE28-E8B6-70B6-8E2368F8E810}"/>
              </a:ext>
              <a:ext uri="{C183D7F6-B498-43B3-948B-1728B52AA6E4}">
                <adec:decorative xmlns:adec="http://schemas.microsoft.com/office/drawing/2017/decorative" val="1"/>
              </a:ext>
            </a:extLst>
          </p:cNvPr>
          <p:cNvSpPr/>
          <p:nvPr/>
        </p:nvSpPr>
        <p:spPr>
          <a:xfrm>
            <a:off x="733168" y="3524492"/>
            <a:ext cx="494028" cy="494028"/>
          </a:xfrm>
          <a:prstGeom prst="ellipse">
            <a:avLst/>
          </a:prstGeom>
          <a:solidFill>
            <a:srgbClr val="221B59"/>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Text" pitchFamily="2" charset="0"/>
              <a:ea typeface="+mn-ea"/>
              <a:cs typeface="Segoe Sans Text" pitchFamily="2" charset="0"/>
            </a:endParaRPr>
          </a:p>
        </p:txBody>
      </p:sp>
      <p:sp>
        <p:nvSpPr>
          <p:cNvPr id="49" name="TextBox 48">
            <a:extLst>
              <a:ext uri="{FF2B5EF4-FFF2-40B4-BE49-F238E27FC236}">
                <a16:creationId xmlns:a16="http://schemas.microsoft.com/office/drawing/2014/main" id="{388A1C40-E176-CBDF-D5D0-250BD27D9C8E}"/>
              </a:ext>
            </a:extLst>
          </p:cNvPr>
          <p:cNvSpPr txBox="1"/>
          <p:nvPr/>
        </p:nvSpPr>
        <p:spPr>
          <a:xfrm>
            <a:off x="813465" y="3521547"/>
            <a:ext cx="329239"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rPr>
              <a:t>5</a:t>
            </a:r>
          </a:p>
        </p:txBody>
      </p:sp>
      <p:sp>
        <p:nvSpPr>
          <p:cNvPr id="50" name="Oval 49">
            <a:extLst>
              <a:ext uri="{FF2B5EF4-FFF2-40B4-BE49-F238E27FC236}">
                <a16:creationId xmlns:a16="http://schemas.microsoft.com/office/drawing/2014/main" id="{035B5465-D5BF-ADF9-1C33-97AAACDF0FBF}"/>
              </a:ext>
              <a:ext uri="{C183D7F6-B498-43B3-948B-1728B52AA6E4}">
                <adec:decorative xmlns:adec="http://schemas.microsoft.com/office/drawing/2017/decorative" val="1"/>
              </a:ext>
            </a:extLst>
          </p:cNvPr>
          <p:cNvSpPr/>
          <p:nvPr/>
        </p:nvSpPr>
        <p:spPr>
          <a:xfrm>
            <a:off x="733168" y="4452624"/>
            <a:ext cx="494028" cy="494028"/>
          </a:xfrm>
          <a:prstGeom prst="ellipse">
            <a:avLst/>
          </a:prstGeom>
          <a:solidFill>
            <a:srgbClr val="221B59"/>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Text" pitchFamily="2" charset="0"/>
              <a:ea typeface="+mn-ea"/>
              <a:cs typeface="Segoe Sans Text" pitchFamily="2" charset="0"/>
            </a:endParaRPr>
          </a:p>
        </p:txBody>
      </p:sp>
      <p:sp>
        <p:nvSpPr>
          <p:cNvPr id="51" name="TextBox 50">
            <a:extLst>
              <a:ext uri="{FF2B5EF4-FFF2-40B4-BE49-F238E27FC236}">
                <a16:creationId xmlns:a16="http://schemas.microsoft.com/office/drawing/2014/main" id="{F22B42A9-9783-3883-E780-B47C043E4D91}"/>
              </a:ext>
            </a:extLst>
          </p:cNvPr>
          <p:cNvSpPr txBox="1"/>
          <p:nvPr/>
        </p:nvSpPr>
        <p:spPr>
          <a:xfrm>
            <a:off x="813465" y="4449679"/>
            <a:ext cx="329239"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rPr>
              <a:t>7</a:t>
            </a:r>
          </a:p>
        </p:txBody>
      </p:sp>
      <p:sp>
        <p:nvSpPr>
          <p:cNvPr id="52" name="Oval 51">
            <a:extLst>
              <a:ext uri="{FF2B5EF4-FFF2-40B4-BE49-F238E27FC236}">
                <a16:creationId xmlns:a16="http://schemas.microsoft.com/office/drawing/2014/main" id="{C23E5110-D219-7B81-A3F5-52BA3DBAD6D0}"/>
              </a:ext>
              <a:ext uri="{C183D7F6-B498-43B3-948B-1728B52AA6E4}">
                <adec:decorative xmlns:adec="http://schemas.microsoft.com/office/drawing/2017/decorative" val="1"/>
              </a:ext>
            </a:extLst>
          </p:cNvPr>
          <p:cNvSpPr/>
          <p:nvPr/>
        </p:nvSpPr>
        <p:spPr>
          <a:xfrm>
            <a:off x="733168" y="5405124"/>
            <a:ext cx="494028" cy="494028"/>
          </a:xfrm>
          <a:prstGeom prst="ellipse">
            <a:avLst/>
          </a:prstGeom>
          <a:solidFill>
            <a:srgbClr val="221B59"/>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Text" pitchFamily="2" charset="0"/>
              <a:ea typeface="+mn-ea"/>
              <a:cs typeface="Segoe Sans Text" pitchFamily="2" charset="0"/>
            </a:endParaRPr>
          </a:p>
        </p:txBody>
      </p:sp>
      <p:sp>
        <p:nvSpPr>
          <p:cNvPr id="53" name="TextBox 52">
            <a:extLst>
              <a:ext uri="{FF2B5EF4-FFF2-40B4-BE49-F238E27FC236}">
                <a16:creationId xmlns:a16="http://schemas.microsoft.com/office/drawing/2014/main" id="{C323E02B-5829-971E-ACBB-2F37FA02048A}"/>
              </a:ext>
            </a:extLst>
          </p:cNvPr>
          <p:cNvSpPr txBox="1"/>
          <p:nvPr/>
        </p:nvSpPr>
        <p:spPr>
          <a:xfrm>
            <a:off x="813465" y="5402179"/>
            <a:ext cx="329239"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rPr>
              <a:t>9</a:t>
            </a:r>
          </a:p>
        </p:txBody>
      </p:sp>
      <p:sp>
        <p:nvSpPr>
          <p:cNvPr id="54" name="TextBox 53">
            <a:extLst>
              <a:ext uri="{FF2B5EF4-FFF2-40B4-BE49-F238E27FC236}">
                <a16:creationId xmlns:a16="http://schemas.microsoft.com/office/drawing/2014/main" id="{0AD8AE72-648F-5117-06FC-BC31E0F9D5B7}"/>
              </a:ext>
            </a:extLst>
          </p:cNvPr>
          <p:cNvSpPr txBox="1"/>
          <p:nvPr/>
        </p:nvSpPr>
        <p:spPr>
          <a:xfrm>
            <a:off x="1314690" y="5368789"/>
            <a:ext cx="3576076" cy="58477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7194D"/>
                </a:solidFill>
                <a:effectLst/>
                <a:uLnTx/>
                <a:uFillTx/>
                <a:latin typeface="Segoe Sans Text" pitchFamily="2" charset="0"/>
                <a:ea typeface="+mn-ea"/>
                <a:cs typeface="Segoe Sans Text" pitchFamily="2" charset="0"/>
              </a:rPr>
              <a:t>Enabling people in my organization links: </a:t>
            </a:r>
            <a:r>
              <a:rPr kumimoji="0" lang="en-US" sz="1600" b="0" i="0" u="none" strike="noStrike" kern="1200" cap="none" spc="0" normalizeH="0" baseline="0" noProof="0">
                <a:ln>
                  <a:noFill/>
                </a:ln>
                <a:solidFill>
                  <a:srgbClr val="17194D"/>
                </a:solidFill>
                <a:effectLst/>
                <a:uLnTx/>
                <a:uFillTx/>
                <a:latin typeface="Segoe Sans Text" pitchFamily="2" charset="0"/>
                <a:ea typeface="+mn-ea"/>
                <a:cs typeface="Segoe Sans Text" pitchFamily="2" charset="0"/>
              </a:rPr>
              <a:t>Better than large SGs</a:t>
            </a:r>
          </a:p>
        </p:txBody>
      </p:sp>
      <p:sp>
        <p:nvSpPr>
          <p:cNvPr id="55" name="Rounded Rectangle 115">
            <a:extLst>
              <a:ext uri="{FF2B5EF4-FFF2-40B4-BE49-F238E27FC236}">
                <a16:creationId xmlns:a16="http://schemas.microsoft.com/office/drawing/2014/main" id="{4F3A8209-2B4D-FF68-786A-3E0E58553D7B}"/>
              </a:ext>
              <a:ext uri="{C183D7F6-B498-43B3-948B-1728B52AA6E4}">
                <adec:decorative xmlns:adec="http://schemas.microsoft.com/office/drawing/2017/decorative" val="1"/>
              </a:ext>
            </a:extLst>
          </p:cNvPr>
          <p:cNvSpPr/>
          <p:nvPr/>
        </p:nvSpPr>
        <p:spPr>
          <a:xfrm>
            <a:off x="6569416" y="5260886"/>
            <a:ext cx="4865554" cy="77555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sp>
        <p:nvSpPr>
          <p:cNvPr id="56" name="Oval 55">
            <a:extLst>
              <a:ext uri="{FF2B5EF4-FFF2-40B4-BE49-F238E27FC236}">
                <a16:creationId xmlns:a16="http://schemas.microsoft.com/office/drawing/2014/main" id="{8703537E-C68F-F377-E1A4-AF3FD34A922F}"/>
              </a:ext>
              <a:ext uri="{C183D7F6-B498-43B3-948B-1728B52AA6E4}">
                <adec:decorative xmlns:adec="http://schemas.microsoft.com/office/drawing/2017/decorative" val="1"/>
              </a:ext>
            </a:extLst>
          </p:cNvPr>
          <p:cNvSpPr/>
          <p:nvPr/>
        </p:nvSpPr>
        <p:spPr>
          <a:xfrm>
            <a:off x="6297898" y="5405124"/>
            <a:ext cx="494027" cy="494028"/>
          </a:xfrm>
          <a:prstGeom prst="ellipse">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091F2C"/>
              </a:solidFill>
              <a:effectLst/>
              <a:uLnTx/>
              <a:uFillTx/>
              <a:latin typeface="Segoe Sans Text" pitchFamily="2" charset="0"/>
              <a:ea typeface="+mn-ea"/>
              <a:cs typeface="Segoe Sans Text" pitchFamily="2" charset="0"/>
            </a:endParaRPr>
          </a:p>
        </p:txBody>
      </p:sp>
      <p:sp>
        <p:nvSpPr>
          <p:cNvPr id="57" name="TextBox 56">
            <a:extLst>
              <a:ext uri="{FF2B5EF4-FFF2-40B4-BE49-F238E27FC236}">
                <a16:creationId xmlns:a16="http://schemas.microsoft.com/office/drawing/2014/main" id="{7E4E8F6F-EFEE-9552-5724-9ADA6444299B}"/>
              </a:ext>
            </a:extLst>
          </p:cNvPr>
          <p:cNvSpPr txBox="1"/>
          <p:nvPr/>
        </p:nvSpPr>
        <p:spPr>
          <a:xfrm>
            <a:off x="6891031" y="5368789"/>
            <a:ext cx="371180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7194D"/>
                </a:solidFill>
                <a:effectLst/>
                <a:uLnTx/>
                <a:uFillTx/>
                <a:latin typeface="Segoe Sans Text" pitchFamily="2" charset="0"/>
                <a:ea typeface="+mn-ea"/>
                <a:cs typeface="Segoe Sans Text" pitchFamily="2" charset="0"/>
              </a:rPr>
              <a:t>Extract inventory and report oversharing: </a:t>
            </a:r>
            <a:r>
              <a:rPr kumimoji="0" lang="en-US" sz="1600" b="0" i="0" u="none" strike="noStrike" kern="1200" cap="none" spc="0" normalizeH="0" baseline="0" noProof="0">
                <a:ln>
                  <a:noFill/>
                </a:ln>
                <a:solidFill>
                  <a:srgbClr val="17194D"/>
                </a:solidFill>
                <a:effectLst/>
                <a:uLnTx/>
                <a:uFillTx/>
                <a:latin typeface="Segoe Sans Text" pitchFamily="2" charset="0"/>
                <a:ea typeface="+mn-ea"/>
                <a:cs typeface="Segoe Sans Text" pitchFamily="2" charset="0"/>
              </a:rPr>
              <a:t>Know your risk</a:t>
            </a:r>
          </a:p>
        </p:txBody>
      </p:sp>
      <p:cxnSp>
        <p:nvCxnSpPr>
          <p:cNvPr id="58" name="Straight Connector 57">
            <a:extLst>
              <a:ext uri="{FF2B5EF4-FFF2-40B4-BE49-F238E27FC236}">
                <a16:creationId xmlns:a16="http://schemas.microsoft.com/office/drawing/2014/main" id="{9EBA5106-8EBE-7690-B2ED-D416DDFB3A35}"/>
              </a:ext>
              <a:ext uri="{C183D7F6-B498-43B3-948B-1728B52AA6E4}">
                <adec:decorative xmlns:adec="http://schemas.microsoft.com/office/drawing/2017/decorative" val="1"/>
              </a:ext>
            </a:extLst>
          </p:cNvPr>
          <p:cNvCxnSpPr>
            <a:cxnSpLocks/>
          </p:cNvCxnSpPr>
          <p:nvPr/>
        </p:nvCxnSpPr>
        <p:spPr>
          <a:xfrm>
            <a:off x="10713390" y="5253082"/>
            <a:ext cx="0" cy="793197"/>
          </a:xfrm>
          <a:prstGeom prst="line">
            <a:avLst/>
          </a:prstGeom>
          <a:ln w="9525">
            <a:solidFill>
              <a:srgbClr val="3A3A3A"/>
            </a:solidFill>
          </a:ln>
        </p:spPr>
        <p:style>
          <a:lnRef idx="1">
            <a:schemeClr val="accent1"/>
          </a:lnRef>
          <a:fillRef idx="0">
            <a:schemeClr val="accent1"/>
          </a:fillRef>
          <a:effectRef idx="0">
            <a:schemeClr val="accent1"/>
          </a:effectRef>
          <a:fontRef idx="minor">
            <a:schemeClr val="tx1"/>
          </a:fontRef>
        </p:style>
      </p:cxnSp>
      <p:pic>
        <p:nvPicPr>
          <p:cNvPr id="59" name="Picture 58">
            <a:extLst>
              <a:ext uri="{FF2B5EF4-FFF2-40B4-BE49-F238E27FC236}">
                <a16:creationId xmlns:a16="http://schemas.microsoft.com/office/drawing/2014/main" id="{FD9D06B0-F3DE-1C51-B061-2FDA33DFC29D}"/>
              </a:ext>
              <a:ext uri="{C183D7F6-B498-43B3-948B-1728B52AA6E4}">
                <adec:decorative xmlns:adec="http://schemas.microsoft.com/office/drawing/2017/decorative" val="1"/>
              </a:ext>
            </a:extLst>
          </p:cNvPr>
          <p:cNvPicPr>
            <a:picLocks noChangeAspect="1"/>
          </p:cNvPicPr>
          <p:nvPr/>
        </p:nvPicPr>
        <p:blipFill>
          <a:blip r:embed="rId9">
            <a:duotone>
              <a:prstClr val="black"/>
              <a:schemeClr val="accent1">
                <a:tint val="45000"/>
                <a:satMod val="400000"/>
              </a:schemeClr>
            </a:duotone>
          </a:blip>
          <a:stretch>
            <a:fillRect/>
          </a:stretch>
        </p:blipFill>
        <p:spPr>
          <a:xfrm>
            <a:off x="10770255" y="3538678"/>
            <a:ext cx="537492" cy="453258"/>
          </a:xfrm>
          <a:prstGeom prst="rect">
            <a:avLst/>
          </a:prstGeom>
        </p:spPr>
      </p:pic>
      <p:sp>
        <p:nvSpPr>
          <p:cNvPr id="60" name="page">
            <a:extLst>
              <a:ext uri="{FF2B5EF4-FFF2-40B4-BE49-F238E27FC236}">
                <a16:creationId xmlns:a16="http://schemas.microsoft.com/office/drawing/2014/main" id="{08615D0E-A300-438C-D56D-2684B2092540}"/>
              </a:ext>
              <a:ext uri="{C183D7F6-B498-43B3-948B-1728B52AA6E4}">
                <adec:decorative xmlns:adec="http://schemas.microsoft.com/office/drawing/2017/decorative" val="1"/>
              </a:ext>
            </a:extLst>
          </p:cNvPr>
          <p:cNvSpPr>
            <a:spLocks noChangeAspect="1" noEditPoints="1"/>
          </p:cNvSpPr>
          <p:nvPr/>
        </p:nvSpPr>
        <p:spPr bwMode="auto">
          <a:xfrm>
            <a:off x="5198777" y="3546629"/>
            <a:ext cx="496814" cy="358359"/>
          </a:xfrm>
          <a:custGeom>
            <a:avLst/>
            <a:gdLst>
              <a:gd name="T0" fmla="*/ 244 w 244"/>
              <a:gd name="T1" fmla="*/ 80 h 176"/>
              <a:gd name="T2" fmla="*/ 244 w 244"/>
              <a:gd name="T3" fmla="*/ 176 h 176"/>
              <a:gd name="T4" fmla="*/ 0 w 244"/>
              <a:gd name="T5" fmla="*/ 176 h 176"/>
              <a:gd name="T6" fmla="*/ 0 w 244"/>
              <a:gd name="T7" fmla="*/ 0 h 176"/>
              <a:gd name="T8" fmla="*/ 244 w 244"/>
              <a:gd name="T9" fmla="*/ 0 h 176"/>
              <a:gd name="T10" fmla="*/ 244 w 244"/>
              <a:gd name="T11" fmla="*/ 80 h 176"/>
              <a:gd name="T12" fmla="*/ 122 w 244"/>
              <a:gd name="T13" fmla="*/ 0 h 176"/>
              <a:gd name="T14" fmla="*/ 122 w 244"/>
              <a:gd name="T15" fmla="*/ 26 h 176"/>
              <a:gd name="T16" fmla="*/ 122 w 244"/>
              <a:gd name="T17" fmla="*/ 44 h 176"/>
              <a:gd name="T18" fmla="*/ 122 w 244"/>
              <a:gd name="T19" fmla="*/ 79 h 176"/>
              <a:gd name="T20" fmla="*/ 122 w 244"/>
              <a:gd name="T21" fmla="*/ 95 h 176"/>
              <a:gd name="T22" fmla="*/ 122 w 244"/>
              <a:gd name="T23" fmla="*/ 130 h 176"/>
              <a:gd name="T24" fmla="*/ 122 w 244"/>
              <a:gd name="T25" fmla="*/ 148 h 176"/>
              <a:gd name="T26" fmla="*/ 122 w 244"/>
              <a:gd name="T27" fmla="*/ 176 h 176"/>
              <a:gd name="T28" fmla="*/ 182 w 244"/>
              <a:gd name="T29" fmla="*/ 114 h 176"/>
              <a:gd name="T30" fmla="*/ 207 w 244"/>
              <a:gd name="T31" fmla="*/ 88 h 176"/>
              <a:gd name="T32" fmla="*/ 182 w 244"/>
              <a:gd name="T33" fmla="*/ 62 h 176"/>
              <a:gd name="T34" fmla="*/ 207 w 244"/>
              <a:gd name="T35" fmla="*/ 88 h 176"/>
              <a:gd name="T36" fmla="*/ 147 w 244"/>
              <a:gd name="T37" fmla="*/ 8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176">
                <a:moveTo>
                  <a:pt x="244" y="80"/>
                </a:moveTo>
                <a:lnTo>
                  <a:pt x="244" y="176"/>
                </a:lnTo>
                <a:lnTo>
                  <a:pt x="0" y="176"/>
                </a:lnTo>
                <a:lnTo>
                  <a:pt x="0" y="0"/>
                </a:lnTo>
                <a:lnTo>
                  <a:pt x="244" y="0"/>
                </a:lnTo>
                <a:lnTo>
                  <a:pt x="244" y="80"/>
                </a:lnTo>
                <a:moveTo>
                  <a:pt x="122" y="0"/>
                </a:moveTo>
                <a:lnTo>
                  <a:pt x="122" y="26"/>
                </a:lnTo>
                <a:moveTo>
                  <a:pt x="122" y="44"/>
                </a:moveTo>
                <a:lnTo>
                  <a:pt x="122" y="79"/>
                </a:lnTo>
                <a:moveTo>
                  <a:pt x="122" y="95"/>
                </a:moveTo>
                <a:lnTo>
                  <a:pt x="122" y="130"/>
                </a:lnTo>
                <a:moveTo>
                  <a:pt x="122" y="148"/>
                </a:moveTo>
                <a:lnTo>
                  <a:pt x="122" y="176"/>
                </a:lnTo>
                <a:moveTo>
                  <a:pt x="182" y="114"/>
                </a:moveTo>
                <a:lnTo>
                  <a:pt x="207" y="88"/>
                </a:lnTo>
                <a:lnTo>
                  <a:pt x="182" y="62"/>
                </a:lnTo>
                <a:moveTo>
                  <a:pt x="207" y="88"/>
                </a:moveTo>
                <a:lnTo>
                  <a:pt x="147" y="88"/>
                </a:ln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sp>
        <p:nvSpPr>
          <p:cNvPr id="61" name="mail_2">
            <a:extLst>
              <a:ext uri="{FF2B5EF4-FFF2-40B4-BE49-F238E27FC236}">
                <a16:creationId xmlns:a16="http://schemas.microsoft.com/office/drawing/2014/main" id="{B41F0E0B-6F7A-641D-AD28-D780F992C00D}"/>
              </a:ext>
              <a:ext uri="{C183D7F6-B498-43B3-948B-1728B52AA6E4}">
                <adec:decorative xmlns:adec="http://schemas.microsoft.com/office/drawing/2017/decorative" val="1"/>
              </a:ext>
            </a:extLst>
          </p:cNvPr>
          <p:cNvSpPr>
            <a:spLocks noChangeAspect="1" noEditPoints="1"/>
          </p:cNvSpPr>
          <p:nvPr/>
        </p:nvSpPr>
        <p:spPr bwMode="auto">
          <a:xfrm>
            <a:off x="5223057" y="5542595"/>
            <a:ext cx="411480" cy="298492"/>
          </a:xfrm>
          <a:custGeom>
            <a:avLst/>
            <a:gdLst>
              <a:gd name="T0" fmla="*/ 139 w 244"/>
              <a:gd name="T1" fmla="*/ 146 h 177"/>
              <a:gd name="T2" fmla="*/ 0 w 244"/>
              <a:gd name="T3" fmla="*/ 146 h 177"/>
              <a:gd name="T4" fmla="*/ 0 w 244"/>
              <a:gd name="T5" fmla="*/ 0 h 177"/>
              <a:gd name="T6" fmla="*/ 244 w 244"/>
              <a:gd name="T7" fmla="*/ 0 h 177"/>
              <a:gd name="T8" fmla="*/ 244 w 244"/>
              <a:gd name="T9" fmla="*/ 110 h 177"/>
              <a:gd name="T10" fmla="*/ 0 w 244"/>
              <a:gd name="T11" fmla="*/ 0 h 177"/>
              <a:gd name="T12" fmla="*/ 122 w 244"/>
              <a:gd name="T13" fmla="*/ 73 h 177"/>
              <a:gd name="T14" fmla="*/ 244 w 244"/>
              <a:gd name="T15" fmla="*/ 0 h 177"/>
              <a:gd name="T16" fmla="*/ 160 w 244"/>
              <a:gd name="T17" fmla="*/ 146 h 177"/>
              <a:gd name="T18" fmla="*/ 244 w 244"/>
              <a:gd name="T19" fmla="*/ 146 h 177"/>
              <a:gd name="T20" fmla="*/ 213 w 244"/>
              <a:gd name="T21" fmla="*/ 177 h 177"/>
              <a:gd name="T22" fmla="*/ 244 w 244"/>
              <a:gd name="T23" fmla="*/ 146 h 177"/>
              <a:gd name="T24" fmla="*/ 213 w 244"/>
              <a:gd name="T25" fmla="*/ 11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4" h="177">
                <a:moveTo>
                  <a:pt x="139" y="146"/>
                </a:moveTo>
                <a:lnTo>
                  <a:pt x="0" y="146"/>
                </a:lnTo>
                <a:lnTo>
                  <a:pt x="0" y="0"/>
                </a:lnTo>
                <a:lnTo>
                  <a:pt x="244" y="0"/>
                </a:lnTo>
                <a:lnTo>
                  <a:pt x="244" y="110"/>
                </a:lnTo>
                <a:moveTo>
                  <a:pt x="0" y="0"/>
                </a:moveTo>
                <a:lnTo>
                  <a:pt x="122" y="73"/>
                </a:lnTo>
                <a:lnTo>
                  <a:pt x="244" y="0"/>
                </a:lnTo>
                <a:moveTo>
                  <a:pt x="160" y="146"/>
                </a:moveTo>
                <a:lnTo>
                  <a:pt x="244" y="146"/>
                </a:lnTo>
                <a:moveTo>
                  <a:pt x="213" y="177"/>
                </a:moveTo>
                <a:lnTo>
                  <a:pt x="244" y="146"/>
                </a:lnTo>
                <a:lnTo>
                  <a:pt x="213" y="115"/>
                </a:lnTo>
              </a:path>
            </a:pathLst>
          </a:custGeom>
          <a:noFill/>
          <a:ln w="15875" cap="flat">
            <a:solidFill>
              <a:srgbClr val="221B5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Segoe Sans Text" pitchFamily="2" charset="0"/>
              <a:ea typeface="+mn-ea"/>
              <a:cs typeface="Segoe Sans Text" pitchFamily="2" charset="0"/>
            </a:endParaRPr>
          </a:p>
        </p:txBody>
      </p:sp>
      <p:sp>
        <p:nvSpPr>
          <p:cNvPr id="62" name="Shield_EA18">
            <a:extLst>
              <a:ext uri="{FF2B5EF4-FFF2-40B4-BE49-F238E27FC236}">
                <a16:creationId xmlns:a16="http://schemas.microsoft.com/office/drawing/2014/main" id="{342C4C77-CDAC-3425-DE18-780066A11A32}"/>
              </a:ext>
              <a:ext uri="{C183D7F6-B498-43B3-948B-1728B52AA6E4}">
                <adec:decorative xmlns:adec="http://schemas.microsoft.com/office/drawing/2017/decorative" val="1"/>
              </a:ext>
            </a:extLst>
          </p:cNvPr>
          <p:cNvSpPr>
            <a:spLocks noChangeAspect="1"/>
          </p:cNvSpPr>
          <p:nvPr/>
        </p:nvSpPr>
        <p:spPr bwMode="auto">
          <a:xfrm>
            <a:off x="10862130" y="5489765"/>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rgbClr val="221B5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Sans Text" pitchFamily="2" charset="0"/>
              <a:ea typeface="+mn-ea"/>
              <a:cs typeface="Segoe Sans Text" pitchFamily="2" charset="0"/>
            </a:endParaRPr>
          </a:p>
        </p:txBody>
      </p:sp>
      <p:sp>
        <p:nvSpPr>
          <p:cNvPr id="63" name="Oval 62">
            <a:extLst>
              <a:ext uri="{FF2B5EF4-FFF2-40B4-BE49-F238E27FC236}">
                <a16:creationId xmlns:a16="http://schemas.microsoft.com/office/drawing/2014/main" id="{8BEB9D13-D36D-0218-9E85-DFA5F9882045}"/>
              </a:ext>
              <a:ext uri="{C183D7F6-B498-43B3-948B-1728B52AA6E4}">
                <adec:decorative xmlns:adec="http://schemas.microsoft.com/office/drawing/2017/decorative" val="1"/>
              </a:ext>
            </a:extLst>
          </p:cNvPr>
          <p:cNvSpPr/>
          <p:nvPr/>
        </p:nvSpPr>
        <p:spPr>
          <a:xfrm>
            <a:off x="6294642" y="5400595"/>
            <a:ext cx="494028" cy="494028"/>
          </a:xfrm>
          <a:prstGeom prst="ellipse">
            <a:avLst/>
          </a:prstGeom>
          <a:solidFill>
            <a:srgbClr val="221B59"/>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sp>
        <p:nvSpPr>
          <p:cNvPr id="64" name="TextBox 63">
            <a:extLst>
              <a:ext uri="{FF2B5EF4-FFF2-40B4-BE49-F238E27FC236}">
                <a16:creationId xmlns:a16="http://schemas.microsoft.com/office/drawing/2014/main" id="{28ADBD10-E417-6E2A-FCFE-ACFA2B9E67FF}"/>
              </a:ext>
            </a:extLst>
          </p:cNvPr>
          <p:cNvSpPr txBox="1"/>
          <p:nvPr/>
        </p:nvSpPr>
        <p:spPr>
          <a:xfrm>
            <a:off x="6368450" y="5447185"/>
            <a:ext cx="658001"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rPr>
              <a:t>10</a:t>
            </a:r>
            <a:endParaRPr kumimoji="0" lang="en-DE" sz="2800" b="1" i="0" u="none" strike="noStrike" kern="1200" cap="none" spc="0" normalizeH="0" baseline="0" noProof="0" err="1">
              <a:ln>
                <a:noFill/>
              </a:ln>
              <a:solidFill>
                <a:srgbClr val="FFFFFF"/>
              </a:solidFill>
              <a:effectLst/>
              <a:uLnTx/>
              <a:uFillTx/>
              <a:latin typeface="Segoe Sans Text" pitchFamily="2" charset="0"/>
              <a:ea typeface="+mn-ea"/>
              <a:cs typeface="Segoe Sans Text" pitchFamily="2" charset="0"/>
            </a:endParaRPr>
          </a:p>
        </p:txBody>
      </p:sp>
      <p:sp>
        <p:nvSpPr>
          <p:cNvPr id="65" name="Rectangle 64">
            <a:extLst>
              <a:ext uri="{FF2B5EF4-FFF2-40B4-BE49-F238E27FC236}">
                <a16:creationId xmlns:a16="http://schemas.microsoft.com/office/drawing/2014/main" id="{838CFE96-4740-526A-000C-AAF3B0EA522E}"/>
              </a:ext>
            </a:extLst>
          </p:cNvPr>
          <p:cNvSpPr/>
          <p:nvPr/>
        </p:nvSpPr>
        <p:spPr bwMode="auto">
          <a:xfrm>
            <a:off x="590551" y="6140534"/>
            <a:ext cx="11462510" cy="494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a:solidFill>
                  <a:srgbClr val="091F2C"/>
                </a:solidFill>
                <a:latin typeface="Segoe UI Semibold" panose="020B0702040204020203" pitchFamily="34" charset="0"/>
                <a:cs typeface="Segoe UI Semibold" panose="020B0702040204020203" pitchFamily="34" charset="0"/>
                <a:hlinkClick r:id="rId10" tooltip="https://aka.ms/aigovernance">
                  <a:extLst>
                    <a:ext uri="{A12FA001-AC4F-418D-AE19-62706E023703}">
                      <ahyp:hlinkClr xmlns:ahyp="http://schemas.microsoft.com/office/drawing/2018/hyperlinkcolor" val="tx"/>
                    </a:ext>
                  </a:extLst>
                </a:hlinkClick>
              </a:rPr>
              <a:t>Inside Track AI governance paper: https://aka.ms/aigovernance</a:t>
            </a:r>
            <a:r>
              <a:rPr lang="en-US" sz="1600">
                <a:solidFill>
                  <a:srgbClr val="091F2C"/>
                </a:solidFill>
                <a:latin typeface="Segoe UI Semibold" panose="020B0702040204020203" pitchFamily="34" charset="0"/>
                <a:cs typeface="Segoe UI Semibold" panose="020B0702040204020203" pitchFamily="34" charset="0"/>
              </a:rPr>
              <a:t>.</a:t>
            </a:r>
          </a:p>
        </p:txBody>
      </p:sp>
    </p:spTree>
    <p:extLst>
      <p:ext uri="{BB962C8B-B14F-4D97-AF65-F5344CB8AC3E}">
        <p14:creationId xmlns:p14="http://schemas.microsoft.com/office/powerpoint/2010/main" val="203900262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0B8D30-4092-D188-4B4A-46F239C594A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F2569A2-60AD-0488-BE52-2FC6AB8777C5}"/>
              </a:ext>
            </a:extLst>
          </p:cNvPr>
          <p:cNvSpPr>
            <a:spLocks noGrp="1"/>
          </p:cNvSpPr>
          <p:nvPr>
            <p:ph type="title"/>
          </p:nvPr>
        </p:nvSpPr>
        <p:spPr>
          <a:xfrm>
            <a:off x="758597" y="2548242"/>
            <a:ext cx="10049816" cy="1495794"/>
          </a:xfrm>
        </p:spPr>
        <p:txBody>
          <a:bodyPr anchor="ctr"/>
          <a:lstStyle/>
          <a:p>
            <a:r>
              <a:rPr lang="en-US"/>
              <a:t>Securing AI Apps and Agents with Microsoft Purview</a:t>
            </a:r>
          </a:p>
        </p:txBody>
      </p:sp>
      <p:sp>
        <p:nvSpPr>
          <p:cNvPr id="2" name="Rectangle: Rounded Corners 7">
            <a:extLst>
              <a:ext uri="{FF2B5EF4-FFF2-40B4-BE49-F238E27FC236}">
                <a16:creationId xmlns:a16="http://schemas.microsoft.com/office/drawing/2014/main" id="{B155ED67-B303-DB89-D140-83EB9F364A3D}"/>
              </a:ext>
              <a:ext uri="{C183D7F6-B498-43B3-948B-1728B52AA6E4}">
                <adec:decorative xmlns:adec="http://schemas.microsoft.com/office/drawing/2017/decorative" val="1"/>
              </a:ext>
            </a:extLst>
          </p:cNvPr>
          <p:cNvSpPr>
            <a:spLocks/>
          </p:cNvSpPr>
          <p:nvPr/>
        </p:nvSpPr>
        <p:spPr bwMode="auto">
          <a:xfrm>
            <a:off x="623945" y="2548242"/>
            <a:ext cx="9563547" cy="1495794"/>
          </a:xfrm>
          <a:prstGeom prst="roundRect">
            <a:avLst>
              <a:gd name="adj" fmla="val 11536"/>
            </a:avLst>
          </a:prstGeom>
          <a:ln w="28575" cap="rnd">
            <a:gradFill flip="none" rotWithShape="1">
              <a:gsLst>
                <a:gs pos="0">
                  <a:srgbClr val="C03BC4"/>
                </a:gs>
                <a:gs pos="80000">
                  <a:srgbClr val="0078D4"/>
                </a:gs>
              </a:gsLst>
              <a:path path="circle">
                <a:fillToRect l="100000" t="100000"/>
              </a:path>
              <a:tileRect r="-100000" b="-100000"/>
            </a:gradFill>
            <a:prstDash val="sysDash"/>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300"/>
              </a:spcAft>
              <a:buClrTx/>
              <a:buSzTx/>
              <a:buFontTx/>
              <a:buNone/>
              <a:tabLst/>
              <a:defRPr/>
            </a:pPr>
            <a:endParaRPr kumimoji="0" lang="en-IN" sz="1200" b="1" i="0" u="none" strike="noStrike" kern="1200" cap="none" spc="0" normalizeH="0" baseline="0" noProof="0">
              <a:ln>
                <a:noFill/>
              </a:ln>
              <a:solidFill>
                <a:srgbClr val="0078D4"/>
              </a:solidFill>
              <a:effectLst/>
              <a:uLnTx/>
              <a:uFillTx/>
              <a:latin typeface="Segoe UI Semibold"/>
              <a:ea typeface="+mn-ea"/>
              <a:cs typeface="Segoe UI"/>
            </a:endParaRPr>
          </a:p>
        </p:txBody>
      </p:sp>
      <p:sp>
        <p:nvSpPr>
          <p:cNvPr id="3" name="TextBox 2">
            <a:extLst>
              <a:ext uri="{FF2B5EF4-FFF2-40B4-BE49-F238E27FC236}">
                <a16:creationId xmlns:a16="http://schemas.microsoft.com/office/drawing/2014/main" id="{4C8B7854-9A17-2967-9933-907DAAA18BAA}"/>
              </a:ext>
            </a:extLst>
          </p:cNvPr>
          <p:cNvSpPr txBox="1"/>
          <p:nvPr/>
        </p:nvSpPr>
        <p:spPr>
          <a:xfrm>
            <a:off x="4043517" y="4349782"/>
            <a:ext cx="6097712" cy="769441"/>
          </a:xfrm>
          <a:prstGeom prst="rect">
            <a:avLst/>
          </a:prstGeom>
          <a:noFill/>
        </p:spPr>
        <p:txBody>
          <a:bodyPr wrap="square">
            <a:spAutoFit/>
          </a:bodyPr>
          <a:lstStyle/>
          <a:p>
            <a:r>
              <a:rPr kumimoji="0" lang="en-US" sz="2200" b="1" i="0" u="none" strike="noStrike" kern="1200" cap="none" spc="-50" normalizeH="0" baseline="0" noProof="0">
                <a:ln w="3175">
                  <a:noFill/>
                </a:ln>
                <a:solidFill>
                  <a:schemeClr val="bg1">
                    <a:lumMod val="75000"/>
                  </a:schemeClr>
                </a:solidFill>
                <a:effectLst/>
                <a:uLnTx/>
                <a:uFillTx/>
                <a:latin typeface="Segoe Print" panose="02000600000000000000" pitchFamily="2" charset="0"/>
                <a:cs typeface="Segoe UI" panose="020B0502040204020203" pitchFamily="34" charset="0"/>
              </a:rPr>
              <a:t>Bringing it all together</a:t>
            </a:r>
          </a:p>
          <a:p>
            <a:r>
              <a:rPr kumimoji="0" lang="en-US" sz="2200" b="1" i="0" u="none" strike="noStrike" kern="1200" cap="none" spc="-50" normalizeH="0" noProof="0">
                <a:ln w="3175">
                  <a:noFill/>
                </a:ln>
                <a:solidFill>
                  <a:schemeClr val="bg1">
                    <a:lumMod val="75000"/>
                  </a:schemeClr>
                </a:solidFill>
                <a:effectLst/>
                <a:uLnTx/>
                <a:uFillTx/>
                <a:latin typeface="Segoe Print" panose="02000600000000000000" pitchFamily="2" charset="0"/>
                <a:cs typeface="Segoe UI" panose="020B0502040204020203" pitchFamily="34" charset="0"/>
              </a:rPr>
              <a:t>Learning Resources, </a:t>
            </a:r>
            <a:r>
              <a:rPr lang="en-US" sz="2200" b="1" spc="-50">
                <a:ln w="3175">
                  <a:noFill/>
                </a:ln>
                <a:solidFill>
                  <a:schemeClr val="bg1">
                    <a:lumMod val="75000"/>
                  </a:schemeClr>
                </a:solidFill>
                <a:latin typeface="Segoe Print" panose="02000600000000000000" pitchFamily="2" charset="0"/>
                <a:cs typeface="Segoe UI" panose="020B0502040204020203" pitchFamily="34" charset="0"/>
              </a:rPr>
              <a:t>P</a:t>
            </a:r>
            <a:r>
              <a:rPr kumimoji="0" lang="en-US" sz="2200" b="1" i="0" u="none" strike="noStrike" kern="1200" cap="none" spc="-50" normalizeH="0" noProof="0" err="1">
                <a:ln w="3175">
                  <a:noFill/>
                </a:ln>
                <a:solidFill>
                  <a:schemeClr val="bg1">
                    <a:lumMod val="75000"/>
                  </a:schemeClr>
                </a:solidFill>
                <a:effectLst/>
                <a:uLnTx/>
                <a:uFillTx/>
                <a:latin typeface="Segoe Print" panose="02000600000000000000" pitchFamily="2" charset="0"/>
                <a:cs typeface="Segoe UI" panose="020B0502040204020203" pitchFamily="34" charset="0"/>
              </a:rPr>
              <a:t>artner</a:t>
            </a:r>
            <a:r>
              <a:rPr kumimoji="0" lang="en-US" sz="2200" b="1" i="0" u="none" strike="noStrike" kern="1200" cap="none" spc="-50" normalizeH="0" noProof="0">
                <a:ln w="3175">
                  <a:noFill/>
                </a:ln>
                <a:solidFill>
                  <a:schemeClr val="bg1">
                    <a:lumMod val="75000"/>
                  </a:schemeClr>
                </a:solidFill>
                <a:effectLst/>
                <a:uLnTx/>
                <a:uFillTx/>
                <a:latin typeface="Segoe Print" panose="02000600000000000000" pitchFamily="2" charset="0"/>
                <a:cs typeface="Segoe UI" panose="020B0502040204020203" pitchFamily="34" charset="0"/>
              </a:rPr>
              <a:t> stories </a:t>
            </a:r>
            <a:endParaRPr lang="en-US" sz="2200">
              <a:solidFill>
                <a:schemeClr val="bg1">
                  <a:lumMod val="75000"/>
                </a:schemeClr>
              </a:solidFill>
              <a:latin typeface="Segoe Print" panose="02000600000000000000" pitchFamily="2" charset="0"/>
            </a:endParaRPr>
          </a:p>
        </p:txBody>
      </p:sp>
      <p:sp>
        <p:nvSpPr>
          <p:cNvPr id="5" name="Arc 4">
            <a:extLst>
              <a:ext uri="{FF2B5EF4-FFF2-40B4-BE49-F238E27FC236}">
                <a16:creationId xmlns:a16="http://schemas.microsoft.com/office/drawing/2014/main" id="{99EB5C57-6316-3D0A-E72C-56574EAF5D65}"/>
              </a:ext>
            </a:extLst>
          </p:cNvPr>
          <p:cNvSpPr/>
          <p:nvPr/>
        </p:nvSpPr>
        <p:spPr>
          <a:xfrm rot="14973244">
            <a:off x="3669797" y="3990533"/>
            <a:ext cx="593980" cy="571812"/>
          </a:xfrm>
          <a:custGeom>
            <a:avLst/>
            <a:gdLst>
              <a:gd name="connsiteX0" fmla="*/ 3840 w 593980"/>
              <a:gd name="connsiteY0" fmla="*/ 331731 h 571812"/>
              <a:gd name="connsiteX1" fmla="*/ 194883 w 593980"/>
              <a:gd name="connsiteY1" fmla="*/ 17428 h 571812"/>
              <a:gd name="connsiteX2" fmla="*/ 543899 w 593980"/>
              <a:gd name="connsiteY2" fmla="*/ 127022 h 571812"/>
              <a:gd name="connsiteX3" fmla="*/ 296990 w 593980"/>
              <a:gd name="connsiteY3" fmla="*/ 285906 h 571812"/>
              <a:gd name="connsiteX4" fmla="*/ 3840 w 593980"/>
              <a:gd name="connsiteY4" fmla="*/ 331731 h 571812"/>
              <a:gd name="connsiteX0" fmla="*/ 3840 w 593980"/>
              <a:gd name="connsiteY0" fmla="*/ 331731 h 571812"/>
              <a:gd name="connsiteX1" fmla="*/ 194883 w 593980"/>
              <a:gd name="connsiteY1" fmla="*/ 17428 h 571812"/>
              <a:gd name="connsiteX2" fmla="*/ 543899 w 593980"/>
              <a:gd name="connsiteY2" fmla="*/ 127022 h 571812"/>
            </a:gdLst>
            <a:ahLst/>
            <a:cxnLst>
              <a:cxn ang="0">
                <a:pos x="connsiteX0" y="connsiteY0"/>
              </a:cxn>
              <a:cxn ang="0">
                <a:pos x="connsiteX1" y="connsiteY1"/>
              </a:cxn>
              <a:cxn ang="0">
                <a:pos x="connsiteX2" y="connsiteY2"/>
              </a:cxn>
            </a:cxnLst>
            <a:rect l="l" t="t" r="r" b="b"/>
            <a:pathLst>
              <a:path w="593980" h="571812" stroke="0" extrusionOk="0">
                <a:moveTo>
                  <a:pt x="3840" y="331731"/>
                </a:moveTo>
                <a:cubicBezTo>
                  <a:pt x="-50313" y="186873"/>
                  <a:pt x="62749" y="72529"/>
                  <a:pt x="194883" y="17428"/>
                </a:cubicBezTo>
                <a:cubicBezTo>
                  <a:pt x="319265" y="-25876"/>
                  <a:pt x="474539" y="23445"/>
                  <a:pt x="543899" y="127022"/>
                </a:cubicBezTo>
                <a:cubicBezTo>
                  <a:pt x="424220" y="187691"/>
                  <a:pt x="359525" y="237746"/>
                  <a:pt x="296990" y="285906"/>
                </a:cubicBezTo>
                <a:cubicBezTo>
                  <a:pt x="155421" y="321455"/>
                  <a:pt x="88441" y="329732"/>
                  <a:pt x="3840" y="331731"/>
                </a:cubicBezTo>
                <a:close/>
              </a:path>
              <a:path w="593980" h="571812" fill="none" extrusionOk="0">
                <a:moveTo>
                  <a:pt x="3840" y="331731"/>
                </a:moveTo>
                <a:cubicBezTo>
                  <a:pt x="-25323" y="192039"/>
                  <a:pt x="68315" y="69232"/>
                  <a:pt x="194883" y="17428"/>
                </a:cubicBezTo>
                <a:cubicBezTo>
                  <a:pt x="350344" y="-44161"/>
                  <a:pt x="470699" y="23863"/>
                  <a:pt x="543899" y="127022"/>
                </a:cubicBezTo>
              </a:path>
              <a:path w="593980" h="571812" fill="none" stroke="0" extrusionOk="0">
                <a:moveTo>
                  <a:pt x="3840" y="331731"/>
                </a:moveTo>
                <a:cubicBezTo>
                  <a:pt x="-15284" y="186827"/>
                  <a:pt x="59819" y="74653"/>
                  <a:pt x="194883" y="17428"/>
                </a:cubicBezTo>
                <a:cubicBezTo>
                  <a:pt x="335312" y="-25151"/>
                  <a:pt x="467629" y="7042"/>
                  <a:pt x="543899" y="127022"/>
                </a:cubicBezTo>
              </a:path>
            </a:pathLst>
          </a:custGeom>
          <a:ln w="19050">
            <a:solidFill>
              <a:schemeClr val="bg1">
                <a:lumMod val="75000"/>
              </a:schemeClr>
            </a:solidFill>
            <a:headEnd type="none" w="lg" len="med"/>
            <a:tailEnd type="none" w="lg" len="med"/>
            <a:extLst>
              <a:ext uri="{C807C97D-BFC1-408E-A445-0C87EB9F89A2}">
                <ask:lineSketchStyleProps xmlns:ask="http://schemas.microsoft.com/office/drawing/2018/sketchyshapes" sd="1978871457">
                  <a:prstGeom prst="arc">
                    <a:avLst>
                      <a:gd name="adj1" fmla="val 10266924"/>
                      <a:gd name="adj2" fmla="val 19634347"/>
                    </a:avLst>
                  </a:prstGeom>
                  <ask:type>
                    <ask:lineSketchFreehand/>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421227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up)">
                                      <p:cBhvr>
                                        <p:cTn id="11" dur="500"/>
                                        <p:tgtEl>
                                          <p:spTgt spid="5"/>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5"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6CF670-CCE2-5919-7732-B397C1E255EA}"/>
              </a:ext>
            </a:extLst>
          </p:cNvPr>
          <p:cNvSpPr>
            <a:spLocks noGrp="1"/>
          </p:cNvSpPr>
          <p:nvPr>
            <p:ph type="title"/>
          </p:nvPr>
        </p:nvSpPr>
        <p:spPr>
          <a:xfrm>
            <a:off x="1837274" y="337967"/>
            <a:ext cx="9738335" cy="723156"/>
          </a:xfrm>
        </p:spPr>
        <p:txBody>
          <a:bodyPr>
            <a:noAutofit/>
          </a:bodyPr>
          <a:lstStyle/>
          <a:p>
            <a:r>
              <a:rPr lang="en-US" sz="2000"/>
              <a:t>EPIQ facilitated a holistic responsible AI-readiness program leveraging Microsoft Purview workloads for a leading renewable energy company</a:t>
            </a:r>
          </a:p>
        </p:txBody>
      </p:sp>
      <p:sp>
        <p:nvSpPr>
          <p:cNvPr id="6" name="TextBox 5">
            <a:extLst>
              <a:ext uri="{FF2B5EF4-FFF2-40B4-BE49-F238E27FC236}">
                <a16:creationId xmlns:a16="http://schemas.microsoft.com/office/drawing/2014/main" id="{D444AF95-DA83-9799-F914-89CBB5A5AAFC}"/>
              </a:ext>
            </a:extLst>
          </p:cNvPr>
          <p:cNvSpPr txBox="1"/>
          <p:nvPr/>
        </p:nvSpPr>
        <p:spPr>
          <a:xfrm>
            <a:off x="2947029" y="1840749"/>
            <a:ext cx="444039" cy="494532"/>
          </a:xfrm>
          <a:prstGeom prst="rect">
            <a:avLst/>
          </a:prstGeom>
          <a:noFill/>
        </p:spPr>
        <p:txBody>
          <a:bodyPr wrap="square" lIns="0" tIns="0" rIns="0" bIns="0" rtlCol="0" anchor="b" anchorCtr="0">
            <a:spAutoFit/>
          </a:bodyPr>
          <a:lstStyle>
            <a:defPPr>
              <a:defRPr lang="en-US"/>
            </a:defPPr>
            <a:lvl1pPr>
              <a:defRPr sz="3600" b="1">
                <a:solidFill>
                  <a:schemeClr val="tx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5154D"/>
                </a:solidFill>
                <a:effectLst/>
                <a:uLnTx/>
                <a:uFillTx/>
                <a:latin typeface="Aptos"/>
                <a:ea typeface="+mn-ea"/>
                <a:cs typeface="+mn-cs"/>
              </a:rPr>
              <a:t>2</a:t>
            </a:r>
          </a:p>
        </p:txBody>
      </p:sp>
      <p:sp>
        <p:nvSpPr>
          <p:cNvPr id="75" name="Rectangle: Top Corners Rounded 74">
            <a:extLst>
              <a:ext uri="{FF2B5EF4-FFF2-40B4-BE49-F238E27FC236}">
                <a16:creationId xmlns:a16="http://schemas.microsoft.com/office/drawing/2014/main" id="{86E1993D-A61D-08F5-0C0A-3134845A7CD8}"/>
              </a:ext>
            </a:extLst>
          </p:cNvPr>
          <p:cNvSpPr/>
          <p:nvPr/>
        </p:nvSpPr>
        <p:spPr>
          <a:xfrm>
            <a:off x="863892" y="4851449"/>
            <a:ext cx="3474720" cy="1554929"/>
          </a:xfrm>
          <a:prstGeom prst="round2SameRect">
            <a:avLst>
              <a:gd name="adj1" fmla="val 0"/>
              <a:gd name="adj2" fmla="val 11647"/>
            </a:avLst>
          </a:prstGeom>
          <a:solidFill>
            <a:srgbClr val="E1E4FF"/>
          </a:solidFill>
          <a:ln w="28575">
            <a:gradFill>
              <a:gsLst>
                <a:gs pos="13000">
                  <a:schemeClr val="bg2"/>
                </a:gs>
                <a:gs pos="90000">
                  <a:schemeClr val="bg2">
                    <a:lumMod val="50000"/>
                  </a:schemeClr>
                </a:gs>
              </a:gsLst>
              <a:lin ang="0" scaled="0"/>
            </a:gradFill>
          </a:ln>
          <a:effectLst/>
        </p:spPr>
        <p:style>
          <a:lnRef idx="2">
            <a:schemeClr val="accent1">
              <a:shade val="15000"/>
            </a:schemeClr>
          </a:lnRef>
          <a:fillRef idx="1">
            <a:schemeClr val="accent1"/>
          </a:fillRef>
          <a:effectRef idx="0">
            <a:schemeClr val="accent1"/>
          </a:effectRef>
          <a:fontRef idx="minor">
            <a:schemeClr val="lt1"/>
          </a:fontRef>
        </p:style>
        <p:txBody>
          <a:bodyPr lIns="45720" tIns="73152" r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solidFill>
                    <a:schemeClr val="tx1"/>
                  </a:solidFill>
                </a:ln>
                <a:solidFill>
                  <a:srgbClr val="05154D"/>
                </a:solidFill>
                <a:effectLst/>
                <a:uLnTx/>
                <a:uFillTx/>
                <a:cs typeface="Segoe UI" panose="020B0502040204020203" pitchFamily="34" charset="0"/>
              </a:rPr>
              <a:t>Establish a Microsoft 365 environment that prioritizes </a:t>
            </a:r>
            <a:r>
              <a:rPr kumimoji="0" lang="en-US" sz="1600" b="1" i="0" u="none" strike="noStrike" kern="1200" cap="none" spc="0" normalizeH="0" baseline="0" noProof="0">
                <a:ln>
                  <a:solidFill>
                    <a:schemeClr val="tx1"/>
                  </a:solidFill>
                </a:ln>
                <a:solidFill>
                  <a:srgbClr val="05154D"/>
                </a:solidFill>
                <a:effectLst/>
                <a:uLnTx/>
                <a:uFillTx/>
                <a:cs typeface="Segoe UI" panose="020B0502040204020203" pitchFamily="34" charset="0"/>
              </a:rPr>
              <a:t>security, governance, compliance</a:t>
            </a:r>
            <a:r>
              <a:rPr kumimoji="0" lang="en-US" sz="1600" b="0" i="0" u="none" strike="noStrike" kern="1200" cap="none" spc="0" normalizeH="0" baseline="0" noProof="0">
                <a:ln>
                  <a:solidFill>
                    <a:schemeClr val="tx1"/>
                  </a:solidFill>
                </a:ln>
                <a:solidFill>
                  <a:srgbClr val="05154D"/>
                </a:solidFill>
                <a:effectLst/>
                <a:uLnTx/>
                <a:uFillTx/>
                <a:cs typeface="Segoe UI" panose="020B0502040204020203" pitchFamily="34" charset="0"/>
              </a:rPr>
              <a:t>, and is tailored for </a:t>
            </a:r>
            <a:r>
              <a:rPr kumimoji="0" lang="en-US" sz="1600" b="1" i="0" u="none" strike="noStrike" kern="1200" cap="none" spc="0" normalizeH="0" baseline="0" noProof="0">
                <a:ln>
                  <a:solidFill>
                    <a:schemeClr val="tx1"/>
                  </a:solidFill>
                </a:ln>
                <a:solidFill>
                  <a:srgbClr val="05154D"/>
                </a:solidFill>
                <a:effectLst/>
                <a:uLnTx/>
                <a:uFillTx/>
                <a:cs typeface="Segoe UI" panose="020B0502040204020203" pitchFamily="34" charset="0"/>
              </a:rPr>
              <a:t>AI optimization</a:t>
            </a:r>
            <a:r>
              <a:rPr kumimoji="0" lang="en-US" sz="1600" b="0" i="0" u="none" strike="noStrike" kern="1200" cap="none" spc="0" normalizeH="0" baseline="0" noProof="0">
                <a:ln>
                  <a:solidFill>
                    <a:schemeClr val="tx1"/>
                  </a:solidFill>
                </a:ln>
                <a:solidFill>
                  <a:srgbClr val="05154D"/>
                </a:solidFill>
                <a:effectLst/>
                <a:uLnTx/>
                <a:uFillTx/>
                <a:cs typeface="Segoe UI" panose="020B0502040204020203" pitchFamily="34" charset="0"/>
              </a:rPr>
              <a:t>.</a:t>
            </a:r>
          </a:p>
        </p:txBody>
      </p:sp>
      <p:sp>
        <p:nvSpPr>
          <p:cNvPr id="76" name="Rectangle: Top Corners Rounded 75">
            <a:extLst>
              <a:ext uri="{FF2B5EF4-FFF2-40B4-BE49-F238E27FC236}">
                <a16:creationId xmlns:a16="http://schemas.microsoft.com/office/drawing/2014/main" id="{18D00347-6856-34E2-CDFE-351B6880B48B}"/>
              </a:ext>
            </a:extLst>
          </p:cNvPr>
          <p:cNvSpPr/>
          <p:nvPr/>
        </p:nvSpPr>
        <p:spPr>
          <a:xfrm>
            <a:off x="4528692" y="4869220"/>
            <a:ext cx="3474720" cy="1554929"/>
          </a:xfrm>
          <a:prstGeom prst="round2SameRect">
            <a:avLst>
              <a:gd name="adj1" fmla="val 0"/>
              <a:gd name="adj2" fmla="val 11647"/>
            </a:avLst>
          </a:prstGeom>
          <a:solidFill>
            <a:srgbClr val="E9FDF7"/>
          </a:solidFill>
          <a:ln w="28575">
            <a:gradFill>
              <a:gsLst>
                <a:gs pos="14000">
                  <a:schemeClr val="accent3"/>
                </a:gs>
                <a:gs pos="90000">
                  <a:schemeClr val="accent3">
                    <a:lumMod val="50000"/>
                  </a:schemeClr>
                </a:gs>
              </a:gsLst>
              <a:lin ang="0" scaled="0"/>
            </a:gradFill>
          </a:ln>
          <a:effectLst/>
        </p:spPr>
        <p:style>
          <a:lnRef idx="2">
            <a:schemeClr val="accent1">
              <a:shade val="15000"/>
            </a:schemeClr>
          </a:lnRef>
          <a:fillRef idx="1">
            <a:schemeClr val="accent1"/>
          </a:fillRef>
          <a:effectRef idx="0">
            <a:schemeClr val="accent1"/>
          </a:effectRef>
          <a:fontRef idx="minor">
            <a:schemeClr val="lt1"/>
          </a:fontRef>
        </p:style>
        <p:txBody>
          <a:bodyPr lIns="45720" tIns="73152" rIns="45720"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solidFill>
                  <a:srgbClr val="05154D"/>
                </a:solidFill>
                <a:effectLst/>
                <a:uLnTx/>
                <a:uFillTx/>
                <a:cs typeface="Segoe UI" panose="020B0502040204020203" pitchFamily="34" charset="0"/>
              </a:rPr>
              <a:t>Migrated</a:t>
            </a:r>
            <a:r>
              <a:rPr kumimoji="0" lang="en-US" sz="1600" b="0" i="0" u="none" strike="noStrike" kern="1200" cap="none" spc="0" normalizeH="0" baseline="0" noProof="0">
                <a:solidFill>
                  <a:srgbClr val="05154D"/>
                </a:solidFill>
                <a:effectLst/>
                <a:uLnTx/>
                <a:uFillTx/>
                <a:cs typeface="Segoe UI" panose="020B0502040204020203" pitchFamily="34" charset="0"/>
              </a:rPr>
              <a:t> data from Box to M365, </a:t>
            </a:r>
            <a:r>
              <a:rPr kumimoji="0" lang="en-US" sz="1600" b="1" i="0" u="none" strike="noStrike" kern="1200" cap="none" spc="0" normalizeH="0" baseline="0" noProof="0">
                <a:solidFill>
                  <a:srgbClr val="05154D"/>
                </a:solidFill>
                <a:effectLst/>
                <a:uLnTx/>
                <a:uFillTx/>
                <a:cs typeface="Segoe UI" panose="020B0502040204020203" pitchFamily="34" charset="0"/>
              </a:rPr>
              <a:t>reduced ROT</a:t>
            </a:r>
            <a:r>
              <a:rPr kumimoji="0" lang="en-US" sz="1600" b="0" i="0" u="none" strike="noStrike" kern="1200" cap="none" spc="0" normalizeH="0" baseline="0" noProof="0">
                <a:solidFill>
                  <a:srgbClr val="05154D"/>
                </a:solidFill>
                <a:effectLst/>
                <a:uLnTx/>
                <a:uFillTx/>
                <a:cs typeface="Segoe UI" panose="020B0502040204020203" pitchFamily="34" charset="0"/>
              </a:rPr>
              <a:t>, designed SPO, and </a:t>
            </a:r>
            <a:r>
              <a:rPr kumimoji="0" lang="en-US" sz="1600" b="1" i="0" u="none" strike="noStrike" kern="1200" cap="none" spc="0" normalizeH="0" baseline="0" noProof="0">
                <a:solidFill>
                  <a:srgbClr val="05154D"/>
                </a:solidFill>
                <a:effectLst/>
                <a:uLnTx/>
                <a:uFillTx/>
                <a:cs typeface="Segoe UI" panose="020B0502040204020203" pitchFamily="34" charset="0"/>
              </a:rPr>
              <a:t>implemented</a:t>
            </a:r>
            <a:r>
              <a:rPr kumimoji="0" lang="en-US" sz="1600" b="0" i="0" u="none" strike="noStrike" kern="1200" cap="none" spc="0" normalizeH="0" baseline="0" noProof="0">
                <a:solidFill>
                  <a:srgbClr val="05154D"/>
                </a:solidFill>
                <a:effectLst/>
                <a:uLnTx/>
                <a:uFillTx/>
                <a:cs typeface="Segoe UI" panose="020B0502040204020203" pitchFamily="34" charset="0"/>
              </a:rPr>
              <a:t> the above </a:t>
            </a:r>
            <a:r>
              <a:rPr kumimoji="0" lang="en-US" sz="1600" b="1" i="0" u="none" strike="noStrike" kern="1200" cap="none" spc="0" normalizeH="0" baseline="0" noProof="0">
                <a:solidFill>
                  <a:srgbClr val="05154D"/>
                </a:solidFill>
                <a:effectLst/>
                <a:uLnTx/>
                <a:uFillTx/>
                <a:cs typeface="Segoe UI" panose="020B0502040204020203" pitchFamily="34" charset="0"/>
              </a:rPr>
              <a:t>Purview Workloads</a:t>
            </a:r>
            <a:r>
              <a:rPr kumimoji="0" lang="en-US" sz="1600" b="0" i="0" u="none" strike="noStrike" kern="1200" cap="none" spc="0" normalizeH="0" baseline="0" noProof="0">
                <a:solidFill>
                  <a:srgbClr val="05154D"/>
                </a:solidFill>
                <a:effectLst/>
                <a:uLnTx/>
                <a:uFillTx/>
                <a:cs typeface="Segoe UI" panose="020B0502040204020203" pitchFamily="34" charset="0"/>
              </a:rPr>
              <a:t>: DSPM, DLP, MIP, DLM, and more.</a:t>
            </a:r>
          </a:p>
        </p:txBody>
      </p:sp>
      <p:sp>
        <p:nvSpPr>
          <p:cNvPr id="78" name="Rectangle: Top Corners Rounded 77">
            <a:extLst>
              <a:ext uri="{FF2B5EF4-FFF2-40B4-BE49-F238E27FC236}">
                <a16:creationId xmlns:a16="http://schemas.microsoft.com/office/drawing/2014/main" id="{8C263AFA-6ECF-2F09-2F4B-4CB8A8AF8C32}"/>
              </a:ext>
            </a:extLst>
          </p:cNvPr>
          <p:cNvSpPr/>
          <p:nvPr/>
        </p:nvSpPr>
        <p:spPr>
          <a:xfrm>
            <a:off x="8200254" y="4869220"/>
            <a:ext cx="3474720" cy="1554929"/>
          </a:xfrm>
          <a:prstGeom prst="round2SameRect">
            <a:avLst>
              <a:gd name="adj1" fmla="val 0"/>
              <a:gd name="adj2" fmla="val 11647"/>
            </a:avLst>
          </a:prstGeom>
          <a:solidFill>
            <a:srgbClr val="E1F7FF"/>
          </a:solidFill>
          <a:ln w="28575">
            <a:gradFill>
              <a:gsLst>
                <a:gs pos="9000">
                  <a:schemeClr val="accent1">
                    <a:lumMod val="75000"/>
                  </a:schemeClr>
                </a:gs>
                <a:gs pos="90000">
                  <a:schemeClr val="accent1">
                    <a:lumMod val="50000"/>
                  </a:schemeClr>
                </a:gs>
              </a:gsLst>
              <a:lin ang="0" scaled="0"/>
            </a:gradFill>
          </a:ln>
          <a:effectLst/>
        </p:spPr>
        <p:style>
          <a:lnRef idx="2">
            <a:schemeClr val="accent1">
              <a:shade val="15000"/>
            </a:schemeClr>
          </a:lnRef>
          <a:fillRef idx="1">
            <a:schemeClr val="accent1"/>
          </a:fillRef>
          <a:effectRef idx="0">
            <a:schemeClr val="accent1"/>
          </a:effectRef>
          <a:fontRef idx="minor">
            <a:schemeClr val="lt1"/>
          </a:fontRef>
        </p:style>
        <p:txBody>
          <a:bodyPr lIns="45720" tIns="73152" rIns="45720"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solidFill>
                    <a:schemeClr val="tx1"/>
                  </a:solidFill>
                </a:ln>
                <a:solidFill>
                  <a:schemeClr val="tx1">
                    <a:lumMod val="85000"/>
                    <a:lumOff val="15000"/>
                  </a:schemeClr>
                </a:solidFill>
                <a:effectLst/>
                <a:uLnTx/>
                <a:uFillTx/>
                <a:cs typeface="Segoe UI" panose="020B0502040204020203" pitchFamily="34" charset="0"/>
              </a:rPr>
              <a:t>Users see </a:t>
            </a:r>
            <a:r>
              <a:rPr kumimoji="0" lang="en-US" sz="1600" b="1" i="0" u="none" strike="noStrike" kern="1200" cap="none" spc="0" normalizeH="0" baseline="0" noProof="0">
                <a:ln>
                  <a:solidFill>
                    <a:schemeClr val="tx1"/>
                  </a:solidFill>
                </a:ln>
                <a:solidFill>
                  <a:schemeClr val="tx1">
                    <a:lumMod val="85000"/>
                    <a:lumOff val="15000"/>
                  </a:schemeClr>
                </a:solidFill>
                <a:effectLst/>
                <a:uLnTx/>
                <a:uFillTx/>
                <a:cs typeface="Segoe UI" panose="020B0502040204020203" pitchFamily="34" charset="0"/>
              </a:rPr>
              <a:t>higher productivity</a:t>
            </a:r>
            <a:r>
              <a:rPr kumimoji="0" lang="en-US" sz="1600" b="0" i="0" u="none" strike="noStrike" kern="1200" cap="none" spc="0" normalizeH="0" baseline="0" noProof="0">
                <a:ln>
                  <a:solidFill>
                    <a:schemeClr val="tx1"/>
                  </a:solidFill>
                </a:ln>
                <a:solidFill>
                  <a:schemeClr val="tx1">
                    <a:lumMod val="85000"/>
                    <a:lumOff val="15000"/>
                  </a:schemeClr>
                </a:solidFill>
                <a:effectLst/>
                <a:uLnTx/>
                <a:uFillTx/>
                <a:cs typeface="Segoe UI" panose="020B0502040204020203" pitchFamily="34" charset="0"/>
              </a:rPr>
              <a:t>, </a:t>
            </a:r>
            <a:r>
              <a:rPr kumimoji="0" lang="en-US" sz="1600" b="1" i="0" u="none" strike="noStrike" kern="1200" cap="none" spc="0" normalizeH="0" baseline="0" noProof="0">
                <a:ln>
                  <a:solidFill>
                    <a:schemeClr val="tx1"/>
                  </a:solidFill>
                </a:ln>
                <a:solidFill>
                  <a:schemeClr val="tx1">
                    <a:lumMod val="85000"/>
                    <a:lumOff val="15000"/>
                  </a:schemeClr>
                </a:solidFill>
                <a:effectLst/>
                <a:uLnTx/>
                <a:uFillTx/>
                <a:cs typeface="Segoe UI" panose="020B0502040204020203" pitchFamily="34" charset="0"/>
              </a:rPr>
              <a:t>more accurate AI responses</a:t>
            </a:r>
            <a:r>
              <a:rPr kumimoji="0" lang="en-US" sz="1600" b="0" i="0" u="none" strike="noStrike" kern="1200" cap="none" spc="0" normalizeH="0" baseline="0" noProof="0">
                <a:ln>
                  <a:solidFill>
                    <a:schemeClr val="tx1"/>
                  </a:solidFill>
                </a:ln>
                <a:solidFill>
                  <a:schemeClr val="tx1">
                    <a:lumMod val="85000"/>
                    <a:lumOff val="15000"/>
                  </a:schemeClr>
                </a:solidFill>
                <a:effectLst/>
                <a:uLnTx/>
                <a:uFillTx/>
                <a:cs typeface="Segoe UI" panose="020B0502040204020203" pitchFamily="34" charset="0"/>
              </a:rPr>
              <a:t>, and less likely to overshare content. Shifted client to a knowledge-centric organization and </a:t>
            </a:r>
            <a:r>
              <a:rPr kumimoji="0" lang="en-US" sz="1600" b="1" i="0" u="none" strike="noStrike" kern="1200" cap="none" spc="0" normalizeH="0" baseline="0" noProof="0">
                <a:ln>
                  <a:solidFill>
                    <a:schemeClr val="tx1"/>
                  </a:solidFill>
                </a:ln>
                <a:solidFill>
                  <a:schemeClr val="tx1">
                    <a:lumMod val="85000"/>
                    <a:lumOff val="15000"/>
                  </a:schemeClr>
                </a:solidFill>
                <a:effectLst/>
                <a:uLnTx/>
                <a:uFillTx/>
                <a:cs typeface="Segoe UI" panose="020B0502040204020203" pitchFamily="34" charset="0"/>
              </a:rPr>
              <a:t>maximized their MSFT ROI</a:t>
            </a:r>
            <a:r>
              <a:rPr kumimoji="0" lang="en-US" sz="1600" b="0" i="0" u="none" strike="noStrike" kern="1200" cap="none" spc="0" normalizeH="0" baseline="0" noProof="0">
                <a:ln>
                  <a:solidFill>
                    <a:schemeClr val="tx1"/>
                  </a:solidFill>
                </a:ln>
                <a:solidFill>
                  <a:schemeClr val="tx1">
                    <a:lumMod val="85000"/>
                    <a:lumOff val="15000"/>
                  </a:schemeClr>
                </a:solidFill>
                <a:effectLst/>
                <a:uLnTx/>
                <a:uFillTx/>
                <a:cs typeface="Segoe UI" panose="020B0502040204020203" pitchFamily="34" charset="0"/>
              </a:rPr>
              <a:t>.</a:t>
            </a:r>
          </a:p>
        </p:txBody>
      </p:sp>
      <p:cxnSp>
        <p:nvCxnSpPr>
          <p:cNvPr id="7" name="Straight Connector 6">
            <a:extLst>
              <a:ext uri="{FF2B5EF4-FFF2-40B4-BE49-F238E27FC236}">
                <a16:creationId xmlns:a16="http://schemas.microsoft.com/office/drawing/2014/main" id="{2CD7EF97-07A0-6ADD-91AA-ED689640655E}"/>
              </a:ext>
            </a:extLst>
          </p:cNvPr>
          <p:cNvCxnSpPr>
            <a:cxnSpLocks/>
          </p:cNvCxnSpPr>
          <p:nvPr/>
        </p:nvCxnSpPr>
        <p:spPr>
          <a:xfrm flipV="1">
            <a:off x="863935" y="2865981"/>
            <a:ext cx="10811039" cy="1"/>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BF62166B-622C-F1BF-466A-236B4C6AF500}"/>
              </a:ext>
            </a:extLst>
          </p:cNvPr>
          <p:cNvSpPr txBox="1"/>
          <p:nvPr/>
        </p:nvSpPr>
        <p:spPr>
          <a:xfrm>
            <a:off x="5238116" y="1900001"/>
            <a:ext cx="329212" cy="414749"/>
          </a:xfrm>
          <a:prstGeom prst="rect">
            <a:avLst/>
          </a:prstGeom>
          <a:noFill/>
        </p:spPr>
        <p:txBody>
          <a:bodyPr wrap="square" lIns="0" tIns="0" rIns="0" bIns="0" rtlCol="0" anchor="b" anchorCtr="0">
            <a:spAutoFit/>
          </a:bodyPr>
          <a:lstStyle>
            <a:defPPr>
              <a:defRPr lang="en-US"/>
            </a:defPPr>
            <a:lvl1pPr>
              <a:defRPr sz="3600" b="1">
                <a:solidFill>
                  <a:schemeClr val="tx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99468"/>
                </a:solidFill>
                <a:effectLst/>
                <a:uLnTx/>
                <a:uFillTx/>
                <a:latin typeface="Aptos"/>
                <a:ea typeface="+mn-ea"/>
                <a:cs typeface="+mn-cs"/>
              </a:rPr>
              <a:t>3</a:t>
            </a:r>
          </a:p>
        </p:txBody>
      </p:sp>
      <p:sp>
        <p:nvSpPr>
          <p:cNvPr id="8" name="TextBox 7">
            <a:extLst>
              <a:ext uri="{FF2B5EF4-FFF2-40B4-BE49-F238E27FC236}">
                <a16:creationId xmlns:a16="http://schemas.microsoft.com/office/drawing/2014/main" id="{9B9401D0-8F78-1EA1-5C22-D470865427F6}"/>
              </a:ext>
            </a:extLst>
          </p:cNvPr>
          <p:cNvSpPr txBox="1"/>
          <p:nvPr/>
        </p:nvSpPr>
        <p:spPr>
          <a:xfrm>
            <a:off x="5735697" y="1785525"/>
            <a:ext cx="1442617" cy="553998"/>
          </a:xfrm>
          <a:prstGeom prst="rect">
            <a:avLst/>
          </a:prstGeom>
          <a:noFill/>
        </p:spPr>
        <p:txBody>
          <a:bodyPr wrap="square" lIns="0" tIns="0" rIns="0" bIns="0" rtlCol="0" anchor="b" anchorCtr="0">
            <a:spAutoFit/>
          </a:bodyPr>
          <a:lstStyle>
            <a:defPPr>
              <a:defRPr lang="en-US"/>
            </a:defPPr>
            <a:lvl1pPr>
              <a:defRPr sz="3600" b="1">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99468"/>
                </a:solidFill>
                <a:effectLst/>
                <a:uLnTx/>
                <a:uFillTx/>
                <a:latin typeface="Aptos"/>
                <a:ea typeface="+mn-ea"/>
                <a:cs typeface="+mn-cs"/>
              </a:rPr>
              <a:t>Copilot User Prompt Training by Business Function</a:t>
            </a:r>
          </a:p>
        </p:txBody>
      </p:sp>
      <p:cxnSp>
        <p:nvCxnSpPr>
          <p:cNvPr id="9" name="Straight Connector 8">
            <a:extLst>
              <a:ext uri="{FF2B5EF4-FFF2-40B4-BE49-F238E27FC236}">
                <a16:creationId xmlns:a16="http://schemas.microsoft.com/office/drawing/2014/main" id="{F868D38C-C299-8362-117B-664BE21E7E6B}"/>
              </a:ext>
            </a:extLst>
          </p:cNvPr>
          <p:cNvCxnSpPr>
            <a:cxnSpLocks/>
          </p:cNvCxnSpPr>
          <p:nvPr/>
        </p:nvCxnSpPr>
        <p:spPr>
          <a:xfrm>
            <a:off x="5635582" y="1908155"/>
            <a:ext cx="0" cy="398441"/>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6A80FB8-3DC1-4F4F-450D-EAC89377D3EE}"/>
              </a:ext>
            </a:extLst>
          </p:cNvPr>
          <p:cNvSpPr txBox="1"/>
          <p:nvPr/>
        </p:nvSpPr>
        <p:spPr>
          <a:xfrm>
            <a:off x="9560212" y="1840749"/>
            <a:ext cx="397466" cy="494532"/>
          </a:xfrm>
          <a:prstGeom prst="rect">
            <a:avLst/>
          </a:prstGeom>
          <a:noFill/>
        </p:spPr>
        <p:txBody>
          <a:bodyPr wrap="square" lIns="0" tIns="0" rIns="0" bIns="0" rtlCol="0" anchor="b" anchorCtr="0">
            <a:spAutoFit/>
          </a:bodyPr>
          <a:lstStyle>
            <a:defPPr>
              <a:defRPr lang="en-US"/>
            </a:defPPr>
            <a:lvl1pPr>
              <a:defRPr sz="3600" b="1">
                <a:solidFill>
                  <a:schemeClr val="tx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7FAB"/>
                </a:solidFill>
                <a:effectLst/>
                <a:uLnTx/>
                <a:uFillTx/>
                <a:latin typeface="Aptos"/>
                <a:ea typeface="+mn-ea"/>
                <a:cs typeface="+mn-cs"/>
              </a:rPr>
              <a:t>5</a:t>
            </a:r>
          </a:p>
        </p:txBody>
      </p:sp>
      <p:sp>
        <p:nvSpPr>
          <p:cNvPr id="10" name="TextBox 9">
            <a:extLst>
              <a:ext uri="{FF2B5EF4-FFF2-40B4-BE49-F238E27FC236}">
                <a16:creationId xmlns:a16="http://schemas.microsoft.com/office/drawing/2014/main" id="{FC17F10C-6510-6BD3-424E-D564491C70D4}"/>
              </a:ext>
            </a:extLst>
          </p:cNvPr>
          <p:cNvSpPr txBox="1"/>
          <p:nvPr/>
        </p:nvSpPr>
        <p:spPr>
          <a:xfrm>
            <a:off x="10193377" y="1915638"/>
            <a:ext cx="1056867" cy="423885"/>
          </a:xfrm>
          <a:prstGeom prst="rect">
            <a:avLst/>
          </a:prstGeom>
          <a:noFill/>
        </p:spPr>
        <p:txBody>
          <a:bodyPr wrap="square" lIns="0" tIns="0" rIns="0" bIns="0" rtlCol="0" anchor="b" anchorCtr="0">
            <a:spAutoFit/>
          </a:bodyPr>
          <a:lstStyle>
            <a:defPPr>
              <a:defRPr lang="en-US"/>
            </a:defPPr>
            <a:lvl1pPr>
              <a:defRPr sz="3600" b="1">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FAB"/>
                </a:solidFill>
                <a:effectLst/>
                <a:uLnTx/>
                <a:uFillTx/>
                <a:latin typeface="Aptos"/>
                <a:ea typeface="+mn-ea"/>
                <a:cs typeface="+mn-cs"/>
              </a:rPr>
              <a:t>Data Loss Prevention</a:t>
            </a:r>
          </a:p>
        </p:txBody>
      </p:sp>
      <p:cxnSp>
        <p:nvCxnSpPr>
          <p:cNvPr id="26" name="Straight Connector 25">
            <a:extLst>
              <a:ext uri="{FF2B5EF4-FFF2-40B4-BE49-F238E27FC236}">
                <a16:creationId xmlns:a16="http://schemas.microsoft.com/office/drawing/2014/main" id="{85CE03E9-7BC4-0189-C641-CC5B92A906A0}"/>
              </a:ext>
            </a:extLst>
          </p:cNvPr>
          <p:cNvCxnSpPr>
            <a:cxnSpLocks/>
          </p:cNvCxnSpPr>
          <p:nvPr/>
        </p:nvCxnSpPr>
        <p:spPr>
          <a:xfrm>
            <a:off x="10037439" y="1850471"/>
            <a:ext cx="0" cy="475087"/>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6AC7365B-AA73-F584-6789-F6B86D3D4C44}"/>
              </a:ext>
            </a:extLst>
          </p:cNvPr>
          <p:cNvSpPr txBox="1"/>
          <p:nvPr/>
        </p:nvSpPr>
        <p:spPr>
          <a:xfrm>
            <a:off x="9560212" y="2993604"/>
            <a:ext cx="397466" cy="430887"/>
          </a:xfrm>
          <a:prstGeom prst="rect">
            <a:avLst/>
          </a:prstGeom>
          <a:noFill/>
        </p:spPr>
        <p:txBody>
          <a:bodyPr wrap="square" lIns="0" tIns="0" rIns="0" bIns="0" rtlCol="0" anchor="b" anchorCtr="0">
            <a:spAutoFit/>
          </a:bodyPr>
          <a:lstStyle>
            <a:defPPr>
              <a:defRPr lang="en-US"/>
            </a:defPPr>
            <a:lvl1pPr>
              <a:defRPr sz="3600" b="1">
                <a:solidFill>
                  <a:schemeClr val="tx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1AFF"/>
                </a:solidFill>
                <a:effectLst/>
                <a:uLnTx/>
                <a:uFillTx/>
                <a:latin typeface="Aptos"/>
                <a:ea typeface="+mn-ea"/>
                <a:cs typeface="+mn-cs"/>
              </a:rPr>
              <a:t>10</a:t>
            </a:r>
          </a:p>
        </p:txBody>
      </p:sp>
      <p:sp>
        <p:nvSpPr>
          <p:cNvPr id="30" name="TextBox 29">
            <a:extLst>
              <a:ext uri="{FF2B5EF4-FFF2-40B4-BE49-F238E27FC236}">
                <a16:creationId xmlns:a16="http://schemas.microsoft.com/office/drawing/2014/main" id="{A4BBD5C2-3974-6CB2-81C9-3EDD7789D2AA}"/>
              </a:ext>
            </a:extLst>
          </p:cNvPr>
          <p:cNvSpPr txBox="1"/>
          <p:nvPr/>
        </p:nvSpPr>
        <p:spPr>
          <a:xfrm>
            <a:off x="10193378" y="3089036"/>
            <a:ext cx="1056868" cy="369332"/>
          </a:xfrm>
          <a:prstGeom prst="rect">
            <a:avLst/>
          </a:prstGeom>
          <a:noFill/>
        </p:spPr>
        <p:txBody>
          <a:bodyPr wrap="square" lIns="0" tIns="0" rIns="0" bIns="0" rtlCol="0" anchor="b" anchorCtr="0">
            <a:spAutoFit/>
          </a:bodyPr>
          <a:lstStyle>
            <a:defPPr>
              <a:defRPr lang="en-US"/>
            </a:defPPr>
            <a:lvl1pPr>
              <a:defRPr sz="3600" b="1">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AFF"/>
                </a:solidFill>
                <a:effectLst/>
                <a:uLnTx/>
                <a:uFillTx/>
                <a:latin typeface="Aptos"/>
                <a:ea typeface="+mn-ea"/>
                <a:cs typeface="+mn-cs"/>
              </a:rPr>
              <a:t>AI Governance Regulations</a:t>
            </a:r>
          </a:p>
        </p:txBody>
      </p:sp>
      <p:cxnSp>
        <p:nvCxnSpPr>
          <p:cNvPr id="11" name="Straight Connector 10">
            <a:extLst>
              <a:ext uri="{FF2B5EF4-FFF2-40B4-BE49-F238E27FC236}">
                <a16:creationId xmlns:a16="http://schemas.microsoft.com/office/drawing/2014/main" id="{FC840645-CB8C-8E78-FB59-2F49C0EE4265}"/>
              </a:ext>
            </a:extLst>
          </p:cNvPr>
          <p:cNvCxnSpPr>
            <a:cxnSpLocks/>
          </p:cNvCxnSpPr>
          <p:nvPr/>
        </p:nvCxnSpPr>
        <p:spPr>
          <a:xfrm>
            <a:off x="10037439" y="3002075"/>
            <a:ext cx="0" cy="413944"/>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89D6BEF-200E-FD78-4A2A-C6F944472D1A}"/>
              </a:ext>
            </a:extLst>
          </p:cNvPr>
          <p:cNvSpPr txBox="1"/>
          <p:nvPr/>
        </p:nvSpPr>
        <p:spPr>
          <a:xfrm>
            <a:off x="7435320" y="1840749"/>
            <a:ext cx="397466" cy="494532"/>
          </a:xfrm>
          <a:prstGeom prst="rect">
            <a:avLst/>
          </a:prstGeom>
          <a:noFill/>
        </p:spPr>
        <p:txBody>
          <a:bodyPr wrap="square" lIns="0" tIns="0" rIns="0" bIns="0" rtlCol="0" anchor="b" anchorCtr="0">
            <a:spAutoFit/>
          </a:bodyPr>
          <a:lstStyle>
            <a:defPPr>
              <a:defRPr lang="en-US"/>
            </a:defPPr>
            <a:lvl1pPr>
              <a:defRPr sz="3600" b="1">
                <a:solidFill>
                  <a:schemeClr val="tx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7FAB"/>
                </a:solidFill>
                <a:effectLst/>
                <a:uLnTx/>
                <a:uFillTx/>
                <a:latin typeface="Aptos"/>
                <a:ea typeface="+mn-ea"/>
                <a:cs typeface="+mn-cs"/>
              </a:rPr>
              <a:t>4</a:t>
            </a:r>
          </a:p>
        </p:txBody>
      </p:sp>
      <p:sp>
        <p:nvSpPr>
          <p:cNvPr id="35" name="TextBox 34">
            <a:extLst>
              <a:ext uri="{FF2B5EF4-FFF2-40B4-BE49-F238E27FC236}">
                <a16:creationId xmlns:a16="http://schemas.microsoft.com/office/drawing/2014/main" id="{6F93D9F8-A7ED-CB06-1A32-D0E9CF0CFEB7}"/>
              </a:ext>
            </a:extLst>
          </p:cNvPr>
          <p:cNvSpPr txBox="1"/>
          <p:nvPr/>
        </p:nvSpPr>
        <p:spPr>
          <a:xfrm>
            <a:off x="8068486" y="1915638"/>
            <a:ext cx="1056868" cy="423885"/>
          </a:xfrm>
          <a:prstGeom prst="rect">
            <a:avLst/>
          </a:prstGeom>
          <a:noFill/>
        </p:spPr>
        <p:txBody>
          <a:bodyPr wrap="square" lIns="0" tIns="0" rIns="0" bIns="0" rtlCol="0" anchor="b" anchorCtr="0">
            <a:spAutoFit/>
          </a:bodyPr>
          <a:lstStyle>
            <a:defPPr>
              <a:defRPr lang="en-US"/>
            </a:defPPr>
            <a:lvl1pPr>
              <a:defRPr sz="3600" b="1">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FAB"/>
                </a:solidFill>
                <a:effectLst/>
                <a:uLnTx/>
                <a:uFillTx/>
                <a:latin typeface="Aptos"/>
                <a:ea typeface="+mn-ea"/>
                <a:cs typeface="+mn-cs"/>
              </a:rPr>
              <a:t>Data Classification</a:t>
            </a:r>
          </a:p>
        </p:txBody>
      </p:sp>
      <p:cxnSp>
        <p:nvCxnSpPr>
          <p:cNvPr id="36" name="Straight Connector 35">
            <a:extLst>
              <a:ext uri="{FF2B5EF4-FFF2-40B4-BE49-F238E27FC236}">
                <a16:creationId xmlns:a16="http://schemas.microsoft.com/office/drawing/2014/main" id="{1BB78C63-2683-7A52-7543-9ACC9F86AD40}"/>
              </a:ext>
            </a:extLst>
          </p:cNvPr>
          <p:cNvCxnSpPr>
            <a:cxnSpLocks/>
          </p:cNvCxnSpPr>
          <p:nvPr/>
        </p:nvCxnSpPr>
        <p:spPr>
          <a:xfrm>
            <a:off x="7912547" y="1850471"/>
            <a:ext cx="0" cy="475087"/>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A4C15295-EF60-EC3C-1ED1-7643564E4068}"/>
              </a:ext>
            </a:extLst>
          </p:cNvPr>
          <p:cNvSpPr txBox="1"/>
          <p:nvPr/>
        </p:nvSpPr>
        <p:spPr>
          <a:xfrm>
            <a:off x="7435320" y="2998960"/>
            <a:ext cx="397466" cy="430887"/>
          </a:xfrm>
          <a:prstGeom prst="rect">
            <a:avLst/>
          </a:prstGeom>
          <a:noFill/>
        </p:spPr>
        <p:txBody>
          <a:bodyPr wrap="square" lIns="0" tIns="0" rIns="0" bIns="0" rtlCol="0" anchor="b" anchorCtr="0">
            <a:spAutoFit/>
          </a:bodyPr>
          <a:lstStyle>
            <a:defPPr>
              <a:defRPr lang="en-US"/>
            </a:defPPr>
            <a:lvl1pPr>
              <a:defRPr sz="3600" b="1">
                <a:solidFill>
                  <a:schemeClr val="tx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1AFF"/>
                </a:solidFill>
                <a:effectLst/>
                <a:uLnTx/>
                <a:uFillTx/>
                <a:latin typeface="Aptos"/>
                <a:ea typeface="+mn-ea"/>
                <a:cs typeface="+mn-cs"/>
              </a:rPr>
              <a:t>9</a:t>
            </a:r>
          </a:p>
        </p:txBody>
      </p:sp>
      <p:sp>
        <p:nvSpPr>
          <p:cNvPr id="40" name="TextBox 39">
            <a:extLst>
              <a:ext uri="{FF2B5EF4-FFF2-40B4-BE49-F238E27FC236}">
                <a16:creationId xmlns:a16="http://schemas.microsoft.com/office/drawing/2014/main" id="{CBC68E47-A4C8-F2A6-8193-907A30FEFE28}"/>
              </a:ext>
            </a:extLst>
          </p:cNvPr>
          <p:cNvSpPr txBox="1"/>
          <p:nvPr/>
        </p:nvSpPr>
        <p:spPr>
          <a:xfrm>
            <a:off x="8068486" y="3094392"/>
            <a:ext cx="1181023" cy="369332"/>
          </a:xfrm>
          <a:prstGeom prst="rect">
            <a:avLst/>
          </a:prstGeom>
          <a:noFill/>
        </p:spPr>
        <p:txBody>
          <a:bodyPr wrap="square" lIns="0" tIns="0" rIns="0" bIns="0" rtlCol="0" anchor="b" anchorCtr="0">
            <a:spAutoFit/>
          </a:bodyPr>
          <a:lstStyle>
            <a:defPPr>
              <a:defRPr lang="en-US"/>
            </a:defPPr>
            <a:lvl1pPr>
              <a:defRPr sz="3600" b="1">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AFF"/>
                </a:solidFill>
                <a:effectLst/>
                <a:uLnTx/>
                <a:uFillTx/>
                <a:latin typeface="Aptos"/>
                <a:ea typeface="+mn-ea"/>
                <a:cs typeface="+mn-cs"/>
              </a:rPr>
              <a:t>AI Application Usage Monitoring</a:t>
            </a:r>
          </a:p>
        </p:txBody>
      </p:sp>
      <p:cxnSp>
        <p:nvCxnSpPr>
          <p:cNvPr id="41" name="Straight Connector 40">
            <a:extLst>
              <a:ext uri="{FF2B5EF4-FFF2-40B4-BE49-F238E27FC236}">
                <a16:creationId xmlns:a16="http://schemas.microsoft.com/office/drawing/2014/main" id="{F7D0B8A1-4D52-48D7-018E-3763F6CFE8B9}"/>
              </a:ext>
            </a:extLst>
          </p:cNvPr>
          <p:cNvCxnSpPr>
            <a:cxnSpLocks/>
          </p:cNvCxnSpPr>
          <p:nvPr/>
        </p:nvCxnSpPr>
        <p:spPr>
          <a:xfrm>
            <a:off x="7912547" y="3007431"/>
            <a:ext cx="0" cy="413944"/>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FB0AA624-013B-BC7F-F3F1-7D0DA5A44C5A}"/>
              </a:ext>
            </a:extLst>
          </p:cNvPr>
          <p:cNvSpPr txBox="1"/>
          <p:nvPr/>
        </p:nvSpPr>
        <p:spPr>
          <a:xfrm>
            <a:off x="5238116" y="2998960"/>
            <a:ext cx="397466" cy="430887"/>
          </a:xfrm>
          <a:prstGeom prst="rect">
            <a:avLst/>
          </a:prstGeom>
          <a:noFill/>
        </p:spPr>
        <p:txBody>
          <a:bodyPr wrap="square" lIns="0" tIns="0" rIns="0" bIns="0" rtlCol="0" anchor="b" anchorCtr="0">
            <a:spAutoFit/>
          </a:bodyPr>
          <a:lstStyle>
            <a:defPPr>
              <a:defRPr lang="en-US"/>
            </a:defPPr>
            <a:lvl1pPr>
              <a:defRPr sz="3600" b="1">
                <a:solidFill>
                  <a:schemeClr val="tx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1AFF"/>
                </a:solidFill>
                <a:effectLst/>
                <a:uLnTx/>
                <a:uFillTx/>
                <a:latin typeface="Aptos"/>
                <a:ea typeface="+mn-ea"/>
                <a:cs typeface="+mn-cs"/>
              </a:rPr>
              <a:t>8</a:t>
            </a:r>
          </a:p>
        </p:txBody>
      </p:sp>
      <p:sp>
        <p:nvSpPr>
          <p:cNvPr id="45" name="TextBox 44">
            <a:extLst>
              <a:ext uri="{FF2B5EF4-FFF2-40B4-BE49-F238E27FC236}">
                <a16:creationId xmlns:a16="http://schemas.microsoft.com/office/drawing/2014/main" id="{E63E1F4B-2B40-EE60-49EB-1E74A7CC3887}"/>
              </a:ext>
            </a:extLst>
          </p:cNvPr>
          <p:cNvSpPr txBox="1"/>
          <p:nvPr/>
        </p:nvSpPr>
        <p:spPr>
          <a:xfrm>
            <a:off x="5871282" y="3094392"/>
            <a:ext cx="1094618" cy="369332"/>
          </a:xfrm>
          <a:prstGeom prst="rect">
            <a:avLst/>
          </a:prstGeom>
          <a:noFill/>
        </p:spPr>
        <p:txBody>
          <a:bodyPr wrap="square" lIns="0" tIns="0" rIns="0" bIns="0" rtlCol="0" anchor="b" anchorCtr="0">
            <a:spAutoFit/>
          </a:bodyPr>
          <a:lstStyle>
            <a:defPPr>
              <a:defRPr lang="en-US"/>
            </a:defPPr>
            <a:lvl1pPr>
              <a:defRPr sz="3600" b="1">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AFF"/>
                </a:solidFill>
                <a:effectLst/>
                <a:uLnTx/>
                <a:uFillTx/>
                <a:latin typeface="Aptos"/>
                <a:ea typeface="+mn-ea"/>
                <a:cs typeface="+mn-cs"/>
              </a:rPr>
              <a:t>AI Prompt </a:t>
            </a:r>
            <a:br>
              <a:rPr kumimoji="0" lang="en-US" sz="1200" b="1" i="0" u="none" strike="noStrike" kern="1200" cap="none" spc="0" normalizeH="0" baseline="0" noProof="0">
                <a:ln>
                  <a:noFill/>
                </a:ln>
                <a:solidFill>
                  <a:srgbClr val="001AFF"/>
                </a:solidFill>
                <a:effectLst/>
                <a:uLnTx/>
                <a:uFillTx/>
                <a:latin typeface="Aptos"/>
                <a:ea typeface="+mn-ea"/>
                <a:cs typeface="+mn-cs"/>
              </a:rPr>
            </a:br>
            <a:r>
              <a:rPr kumimoji="0" lang="en-US" sz="1200" b="1" i="0" u="none" strike="noStrike" kern="1200" cap="none" spc="0" normalizeH="0" baseline="0" noProof="0">
                <a:ln>
                  <a:noFill/>
                </a:ln>
                <a:solidFill>
                  <a:srgbClr val="001AFF"/>
                </a:solidFill>
                <a:effectLst/>
                <a:uLnTx/>
                <a:uFillTx/>
                <a:latin typeface="Aptos"/>
                <a:ea typeface="+mn-ea"/>
                <a:cs typeface="+mn-cs"/>
              </a:rPr>
              <a:t>Usage Controls </a:t>
            </a:r>
          </a:p>
        </p:txBody>
      </p:sp>
      <p:cxnSp>
        <p:nvCxnSpPr>
          <p:cNvPr id="46" name="Straight Connector 45">
            <a:extLst>
              <a:ext uri="{FF2B5EF4-FFF2-40B4-BE49-F238E27FC236}">
                <a16:creationId xmlns:a16="http://schemas.microsoft.com/office/drawing/2014/main" id="{76302136-C78B-FC53-5314-AE15C15112DA}"/>
              </a:ext>
            </a:extLst>
          </p:cNvPr>
          <p:cNvCxnSpPr>
            <a:cxnSpLocks/>
          </p:cNvCxnSpPr>
          <p:nvPr/>
        </p:nvCxnSpPr>
        <p:spPr>
          <a:xfrm>
            <a:off x="5663484" y="3007431"/>
            <a:ext cx="0" cy="413944"/>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06165833-C4E6-7EDA-7266-86DB71B41A84}"/>
              </a:ext>
            </a:extLst>
          </p:cNvPr>
          <p:cNvSpPr txBox="1"/>
          <p:nvPr/>
        </p:nvSpPr>
        <p:spPr>
          <a:xfrm>
            <a:off x="2944107" y="2998960"/>
            <a:ext cx="444039" cy="430887"/>
          </a:xfrm>
          <a:prstGeom prst="rect">
            <a:avLst/>
          </a:prstGeom>
          <a:noFill/>
        </p:spPr>
        <p:txBody>
          <a:bodyPr wrap="square" lIns="0" tIns="0" rIns="0" bIns="0" rtlCol="0" anchor="b" anchorCtr="0">
            <a:spAutoFit/>
          </a:bodyPr>
          <a:lstStyle>
            <a:defPPr>
              <a:defRPr lang="en-US"/>
            </a:defPPr>
            <a:lvl1pPr>
              <a:defRPr sz="3600" b="1">
                <a:solidFill>
                  <a:schemeClr val="tx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1AFF"/>
                </a:solidFill>
                <a:effectLst/>
                <a:uLnTx/>
                <a:uFillTx/>
                <a:latin typeface="Aptos"/>
                <a:ea typeface="+mn-ea"/>
                <a:cs typeface="+mn-cs"/>
              </a:rPr>
              <a:t>7</a:t>
            </a:r>
          </a:p>
        </p:txBody>
      </p:sp>
      <p:sp>
        <p:nvSpPr>
          <p:cNvPr id="13" name="TextBox 12">
            <a:extLst>
              <a:ext uri="{FF2B5EF4-FFF2-40B4-BE49-F238E27FC236}">
                <a16:creationId xmlns:a16="http://schemas.microsoft.com/office/drawing/2014/main" id="{3CE19EBA-3319-E9C4-3113-3FFCAFB72899}"/>
              </a:ext>
            </a:extLst>
          </p:cNvPr>
          <p:cNvSpPr txBox="1"/>
          <p:nvPr/>
        </p:nvSpPr>
        <p:spPr>
          <a:xfrm>
            <a:off x="3651465" y="3094392"/>
            <a:ext cx="1238470" cy="369332"/>
          </a:xfrm>
          <a:prstGeom prst="rect">
            <a:avLst/>
          </a:prstGeom>
          <a:noFill/>
        </p:spPr>
        <p:txBody>
          <a:bodyPr wrap="square" lIns="0" tIns="0" rIns="0" bIns="0" rtlCol="0" anchor="b" anchorCtr="0">
            <a:spAutoFit/>
          </a:bodyPr>
          <a:lstStyle>
            <a:defPPr>
              <a:defRPr lang="en-US"/>
            </a:defPPr>
            <a:lvl1pPr>
              <a:defRPr sz="3600" b="1">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AFF"/>
                </a:solidFill>
                <a:effectLst/>
                <a:uLnTx/>
                <a:uFillTx/>
                <a:latin typeface="Aptos"/>
                <a:ea typeface="+mn-ea"/>
                <a:cs typeface="+mn-cs"/>
              </a:rPr>
              <a:t>Records Retention Requirements</a:t>
            </a:r>
          </a:p>
        </p:txBody>
      </p:sp>
      <p:cxnSp>
        <p:nvCxnSpPr>
          <p:cNvPr id="14" name="Straight Connector 13">
            <a:extLst>
              <a:ext uri="{FF2B5EF4-FFF2-40B4-BE49-F238E27FC236}">
                <a16:creationId xmlns:a16="http://schemas.microsoft.com/office/drawing/2014/main" id="{A4890959-7801-B634-6AA3-79B64A8DABF0}"/>
              </a:ext>
            </a:extLst>
          </p:cNvPr>
          <p:cNvCxnSpPr>
            <a:cxnSpLocks/>
          </p:cNvCxnSpPr>
          <p:nvPr/>
        </p:nvCxnSpPr>
        <p:spPr>
          <a:xfrm>
            <a:off x="3477254" y="3007431"/>
            <a:ext cx="0" cy="413944"/>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3675CF9-F48A-D735-094E-4926580BAD67}"/>
              </a:ext>
            </a:extLst>
          </p:cNvPr>
          <p:cNvSpPr txBox="1"/>
          <p:nvPr/>
        </p:nvSpPr>
        <p:spPr>
          <a:xfrm>
            <a:off x="846026" y="2998960"/>
            <a:ext cx="397466" cy="430887"/>
          </a:xfrm>
          <a:prstGeom prst="rect">
            <a:avLst/>
          </a:prstGeom>
          <a:noFill/>
        </p:spPr>
        <p:txBody>
          <a:bodyPr wrap="square" lIns="0" tIns="0" rIns="0" bIns="0" rtlCol="0" anchor="b" anchorCtr="0">
            <a:spAutoFit/>
          </a:bodyPr>
          <a:lstStyle>
            <a:defPPr>
              <a:defRPr lang="en-US"/>
            </a:defPPr>
            <a:lvl1pPr>
              <a:defRPr sz="3600" b="1">
                <a:solidFill>
                  <a:schemeClr val="tx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1AFF"/>
                </a:solidFill>
                <a:effectLst/>
                <a:uLnTx/>
                <a:uFillTx/>
                <a:latin typeface="Aptos"/>
                <a:ea typeface="+mn-ea"/>
                <a:cs typeface="+mn-cs"/>
              </a:rPr>
              <a:t>6</a:t>
            </a:r>
          </a:p>
        </p:txBody>
      </p:sp>
      <p:sp>
        <p:nvSpPr>
          <p:cNvPr id="55" name="TextBox 54">
            <a:extLst>
              <a:ext uri="{FF2B5EF4-FFF2-40B4-BE49-F238E27FC236}">
                <a16:creationId xmlns:a16="http://schemas.microsoft.com/office/drawing/2014/main" id="{1F4E107F-5A0D-F31A-7527-6C8745317F79}"/>
              </a:ext>
            </a:extLst>
          </p:cNvPr>
          <p:cNvSpPr txBox="1"/>
          <p:nvPr/>
        </p:nvSpPr>
        <p:spPr>
          <a:xfrm>
            <a:off x="1479192" y="3094392"/>
            <a:ext cx="1096345" cy="369332"/>
          </a:xfrm>
          <a:prstGeom prst="rect">
            <a:avLst/>
          </a:prstGeom>
          <a:noFill/>
        </p:spPr>
        <p:txBody>
          <a:bodyPr wrap="square" lIns="0" tIns="0" rIns="0" bIns="0" rtlCol="0" anchor="b" anchorCtr="0">
            <a:spAutoFit/>
          </a:bodyPr>
          <a:lstStyle>
            <a:defPPr>
              <a:defRPr lang="en-US"/>
            </a:defPPr>
            <a:lvl1pPr>
              <a:defRPr sz="3600" b="1">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AFF"/>
                </a:solidFill>
                <a:effectLst/>
                <a:uLnTx/>
                <a:uFillTx/>
                <a:latin typeface="Aptos"/>
                <a:ea typeface="+mn-ea"/>
                <a:cs typeface="+mn-cs"/>
              </a:rPr>
              <a:t>Defensible Deletion</a:t>
            </a:r>
          </a:p>
        </p:txBody>
      </p:sp>
      <p:cxnSp>
        <p:nvCxnSpPr>
          <p:cNvPr id="16" name="Straight Connector 15">
            <a:extLst>
              <a:ext uri="{FF2B5EF4-FFF2-40B4-BE49-F238E27FC236}">
                <a16:creationId xmlns:a16="http://schemas.microsoft.com/office/drawing/2014/main" id="{45FF4CE8-381A-BB6B-D049-EA6F32AF863D}"/>
              </a:ext>
            </a:extLst>
          </p:cNvPr>
          <p:cNvCxnSpPr>
            <a:cxnSpLocks/>
          </p:cNvCxnSpPr>
          <p:nvPr/>
        </p:nvCxnSpPr>
        <p:spPr>
          <a:xfrm>
            <a:off x="1323253" y="3007431"/>
            <a:ext cx="0" cy="413944"/>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E22D400-7FD9-C9C0-21EA-A238F38A1C2F}"/>
              </a:ext>
            </a:extLst>
          </p:cNvPr>
          <p:cNvSpPr txBox="1"/>
          <p:nvPr/>
        </p:nvSpPr>
        <p:spPr>
          <a:xfrm>
            <a:off x="3654387" y="1915638"/>
            <a:ext cx="1238470" cy="423885"/>
          </a:xfrm>
          <a:prstGeom prst="rect">
            <a:avLst/>
          </a:prstGeom>
          <a:noFill/>
        </p:spPr>
        <p:txBody>
          <a:bodyPr wrap="square" lIns="0" tIns="0" rIns="0" bIns="0" rtlCol="0" anchor="b" anchorCtr="0">
            <a:spAutoFit/>
          </a:bodyPr>
          <a:lstStyle>
            <a:defPPr>
              <a:defRPr lang="en-US"/>
            </a:defPPr>
            <a:lvl1pPr>
              <a:defRPr sz="3600" b="1">
                <a:solidFill>
                  <a:schemeClr val="tx2"/>
                </a:solidFill>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5154D"/>
                </a:solidFill>
                <a:effectLst/>
                <a:uLnTx/>
                <a:uFillTx/>
                <a:latin typeface="Aptos"/>
                <a:ea typeface="+mn-ea"/>
                <a:cs typeface="+mn-cs"/>
              </a:rPr>
              <a:t>File Overexposure Remediation</a:t>
            </a:r>
          </a:p>
        </p:txBody>
      </p:sp>
      <p:cxnSp>
        <p:nvCxnSpPr>
          <p:cNvPr id="24" name="Straight Connector 23">
            <a:extLst>
              <a:ext uri="{FF2B5EF4-FFF2-40B4-BE49-F238E27FC236}">
                <a16:creationId xmlns:a16="http://schemas.microsoft.com/office/drawing/2014/main" id="{7AB70D8F-E039-0A04-7652-E1C63C93F481}"/>
              </a:ext>
            </a:extLst>
          </p:cNvPr>
          <p:cNvCxnSpPr>
            <a:cxnSpLocks/>
          </p:cNvCxnSpPr>
          <p:nvPr/>
        </p:nvCxnSpPr>
        <p:spPr>
          <a:xfrm>
            <a:off x="3480176" y="1850471"/>
            <a:ext cx="0" cy="475087"/>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2D9314CD-292B-F7C1-9E2A-71C49C6C5DCE}"/>
              </a:ext>
            </a:extLst>
          </p:cNvPr>
          <p:cNvSpPr txBox="1"/>
          <p:nvPr/>
        </p:nvSpPr>
        <p:spPr>
          <a:xfrm>
            <a:off x="846026" y="1840749"/>
            <a:ext cx="397466" cy="469292"/>
          </a:xfrm>
          <a:prstGeom prst="rect">
            <a:avLst/>
          </a:prstGeom>
          <a:noFill/>
        </p:spPr>
        <p:txBody>
          <a:bodyPr wrap="square" lIns="0" tIns="0" rIns="0" bIns="0" rtlCol="0" anchor="b" anchorCtr="0">
            <a:spAutoFit/>
          </a:bodyPr>
          <a:lstStyle>
            <a:defPPr>
              <a:defRPr lang="en-US"/>
            </a:defPPr>
            <a:lvl1pPr>
              <a:defRPr sz="3600" b="1">
                <a:solidFill>
                  <a:schemeClr val="tx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5154D"/>
                </a:solidFill>
                <a:effectLst/>
                <a:uLnTx/>
                <a:uFillTx/>
                <a:latin typeface="Aptos"/>
                <a:ea typeface="+mn-ea"/>
                <a:cs typeface="+mn-cs"/>
              </a:rPr>
              <a:t>1</a:t>
            </a:r>
          </a:p>
        </p:txBody>
      </p:sp>
      <p:sp>
        <p:nvSpPr>
          <p:cNvPr id="27" name="TextBox 26">
            <a:extLst>
              <a:ext uri="{FF2B5EF4-FFF2-40B4-BE49-F238E27FC236}">
                <a16:creationId xmlns:a16="http://schemas.microsoft.com/office/drawing/2014/main" id="{A0FB395C-D0A1-ED18-7B5E-DEDD94B6F5D4}"/>
              </a:ext>
            </a:extLst>
          </p:cNvPr>
          <p:cNvSpPr txBox="1"/>
          <p:nvPr/>
        </p:nvSpPr>
        <p:spPr>
          <a:xfrm>
            <a:off x="1479192" y="1937273"/>
            <a:ext cx="1096345" cy="402250"/>
          </a:xfrm>
          <a:prstGeom prst="rect">
            <a:avLst/>
          </a:prstGeom>
          <a:noFill/>
        </p:spPr>
        <p:txBody>
          <a:bodyPr wrap="square" lIns="0" tIns="0" rIns="0" bIns="0" rtlCol="0" anchor="b" anchorCtr="0">
            <a:spAutoFit/>
          </a:bodyPr>
          <a:lstStyle>
            <a:defPPr>
              <a:defRPr lang="en-US"/>
            </a:defPPr>
            <a:lvl1pPr>
              <a:defRPr sz="3600" b="1">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5154D"/>
                </a:solidFill>
                <a:effectLst/>
                <a:uLnTx/>
                <a:uFillTx/>
                <a:latin typeface="Aptos"/>
                <a:ea typeface="+mn-ea"/>
                <a:cs typeface="+mn-cs"/>
              </a:rPr>
              <a:t>Assessment and Strategy</a:t>
            </a:r>
          </a:p>
        </p:txBody>
      </p:sp>
      <p:cxnSp>
        <p:nvCxnSpPr>
          <p:cNvPr id="66" name="Straight Connector 65">
            <a:extLst>
              <a:ext uri="{FF2B5EF4-FFF2-40B4-BE49-F238E27FC236}">
                <a16:creationId xmlns:a16="http://schemas.microsoft.com/office/drawing/2014/main" id="{6D7F5504-3161-0BE4-CAA7-C6488382808F}"/>
              </a:ext>
            </a:extLst>
          </p:cNvPr>
          <p:cNvCxnSpPr>
            <a:cxnSpLocks/>
          </p:cNvCxnSpPr>
          <p:nvPr/>
        </p:nvCxnSpPr>
        <p:spPr>
          <a:xfrm>
            <a:off x="1323253" y="1849975"/>
            <a:ext cx="0" cy="450838"/>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82E1E1D7-6267-FA77-9083-1E2D6F71B637}"/>
              </a:ext>
            </a:extLst>
          </p:cNvPr>
          <p:cNvCxnSpPr>
            <a:cxnSpLocks/>
          </p:cNvCxnSpPr>
          <p:nvPr/>
        </p:nvCxnSpPr>
        <p:spPr>
          <a:xfrm>
            <a:off x="2680788" y="1754819"/>
            <a:ext cx="0" cy="2340639"/>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C9B5952D-1AE5-FF29-06D6-4F6405300FF8}"/>
              </a:ext>
            </a:extLst>
          </p:cNvPr>
          <p:cNvCxnSpPr>
            <a:cxnSpLocks/>
          </p:cNvCxnSpPr>
          <p:nvPr/>
        </p:nvCxnSpPr>
        <p:spPr>
          <a:xfrm>
            <a:off x="5147925" y="1481685"/>
            <a:ext cx="0" cy="2613773"/>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B97CF400-A2E7-E195-008E-ADA5917B189D}"/>
              </a:ext>
            </a:extLst>
          </p:cNvPr>
          <p:cNvCxnSpPr>
            <a:cxnSpLocks/>
          </p:cNvCxnSpPr>
          <p:nvPr/>
        </p:nvCxnSpPr>
        <p:spPr>
          <a:xfrm>
            <a:off x="7347219" y="1481685"/>
            <a:ext cx="0" cy="2613773"/>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B43C7F84-B874-CDBF-D248-9398E7B3BCDB}"/>
              </a:ext>
            </a:extLst>
          </p:cNvPr>
          <p:cNvCxnSpPr>
            <a:cxnSpLocks/>
          </p:cNvCxnSpPr>
          <p:nvPr/>
        </p:nvCxnSpPr>
        <p:spPr>
          <a:xfrm>
            <a:off x="9397286" y="1758685"/>
            <a:ext cx="0" cy="2336773"/>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535FA8CC-70BD-7BF0-868E-E3870C3768D3}"/>
              </a:ext>
            </a:extLst>
          </p:cNvPr>
          <p:cNvCxnSpPr>
            <a:cxnSpLocks/>
          </p:cNvCxnSpPr>
          <p:nvPr/>
        </p:nvCxnSpPr>
        <p:spPr>
          <a:xfrm flipH="1">
            <a:off x="716719" y="4649456"/>
            <a:ext cx="0" cy="1729961"/>
          </a:xfrm>
          <a:prstGeom prst="line">
            <a:avLst/>
          </a:prstGeom>
          <a:ln w="19050">
            <a:solidFill>
              <a:schemeClr val="accent4">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1FD0BB9-AA1C-176F-6338-7AC08D99662D}"/>
              </a:ext>
            </a:extLst>
          </p:cNvPr>
          <p:cNvCxnSpPr>
            <a:cxnSpLocks/>
          </p:cNvCxnSpPr>
          <p:nvPr/>
        </p:nvCxnSpPr>
        <p:spPr>
          <a:xfrm>
            <a:off x="716719" y="1439371"/>
            <a:ext cx="0" cy="2855333"/>
          </a:xfrm>
          <a:prstGeom prst="line">
            <a:avLst/>
          </a:prstGeom>
          <a:ln w="19050">
            <a:solidFill>
              <a:schemeClr val="accent4">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FBDEA569-CABC-3218-94AF-0053035644B1}"/>
              </a:ext>
            </a:extLst>
          </p:cNvPr>
          <p:cNvSpPr txBox="1"/>
          <p:nvPr/>
        </p:nvSpPr>
        <p:spPr>
          <a:xfrm rot="16200000">
            <a:off x="-190162" y="2565367"/>
            <a:ext cx="144385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05154D"/>
                </a:solidFill>
                <a:effectLst/>
                <a:uLnTx/>
                <a:uFillTx/>
                <a:latin typeface="Aptos SemiBold"/>
                <a:ea typeface="+mn-ea"/>
                <a:cs typeface="+mn-cs"/>
              </a:rPr>
              <a:t>Playbook</a:t>
            </a:r>
          </a:p>
        </p:txBody>
      </p:sp>
      <p:sp>
        <p:nvSpPr>
          <p:cNvPr id="94" name="TextBox 93">
            <a:extLst>
              <a:ext uri="{FF2B5EF4-FFF2-40B4-BE49-F238E27FC236}">
                <a16:creationId xmlns:a16="http://schemas.microsoft.com/office/drawing/2014/main" id="{EBC43D1F-C6E1-8218-BF0E-C2A72B282E33}"/>
              </a:ext>
            </a:extLst>
          </p:cNvPr>
          <p:cNvSpPr txBox="1"/>
          <p:nvPr/>
        </p:nvSpPr>
        <p:spPr>
          <a:xfrm rot="16200000">
            <a:off x="-333215" y="5283604"/>
            <a:ext cx="172996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05154D"/>
                </a:solidFill>
                <a:effectLst/>
                <a:uLnTx/>
                <a:uFillTx/>
                <a:latin typeface="Aptos SemiBold"/>
                <a:ea typeface="+mn-ea"/>
                <a:cs typeface="+mn-cs"/>
              </a:rPr>
              <a:t>Case Study</a:t>
            </a:r>
          </a:p>
        </p:txBody>
      </p:sp>
      <p:cxnSp>
        <p:nvCxnSpPr>
          <p:cNvPr id="95" name="Straight Connector 94">
            <a:extLst>
              <a:ext uri="{FF2B5EF4-FFF2-40B4-BE49-F238E27FC236}">
                <a16:creationId xmlns:a16="http://schemas.microsoft.com/office/drawing/2014/main" id="{283855B8-41B1-AAF3-FBA7-129D5F8E63A3}"/>
              </a:ext>
            </a:extLst>
          </p:cNvPr>
          <p:cNvCxnSpPr>
            <a:cxnSpLocks/>
          </p:cNvCxnSpPr>
          <p:nvPr/>
        </p:nvCxnSpPr>
        <p:spPr>
          <a:xfrm flipH="1">
            <a:off x="869119" y="4485529"/>
            <a:ext cx="10805855" cy="0"/>
          </a:xfrm>
          <a:prstGeom prst="line">
            <a:avLst/>
          </a:prstGeom>
          <a:ln w="19050">
            <a:solidFill>
              <a:schemeClr val="accent4">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9" name="Arrow: Right 28">
            <a:extLst>
              <a:ext uri="{FF2B5EF4-FFF2-40B4-BE49-F238E27FC236}">
                <a16:creationId xmlns:a16="http://schemas.microsoft.com/office/drawing/2014/main" id="{F7ACA5FF-F986-A2AA-0E07-65349F555FE8}"/>
              </a:ext>
            </a:extLst>
          </p:cNvPr>
          <p:cNvSpPr/>
          <p:nvPr/>
        </p:nvSpPr>
        <p:spPr>
          <a:xfrm>
            <a:off x="818056" y="2355359"/>
            <a:ext cx="10811078" cy="555074"/>
          </a:xfrm>
          <a:prstGeom prst="rightArrow">
            <a:avLst/>
          </a:prstGeom>
          <a:gradFill>
            <a:gsLst>
              <a:gs pos="9000">
                <a:schemeClr val="accent6">
                  <a:lumMod val="20000"/>
                  <a:lumOff val="80000"/>
                  <a:alpha val="50000"/>
                </a:schemeClr>
              </a:gs>
              <a:gs pos="64000">
                <a:srgbClr val="FFB898"/>
              </a:gs>
              <a:gs pos="33000">
                <a:schemeClr val="accent6">
                  <a:lumMod val="40000"/>
                  <a:lumOff val="60000"/>
                </a:schemeClr>
              </a:gs>
              <a:gs pos="90000">
                <a:schemeClr val="accent6"/>
              </a:gs>
            </a:gsLst>
            <a:lin ang="0" scaled="0"/>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a:ln>
                  <a:noFill/>
                </a:ln>
                <a:solidFill>
                  <a:schemeClr val="tx1"/>
                </a:solidFill>
                <a:effectLst/>
                <a:uLnTx/>
                <a:uFillTx/>
                <a:latin typeface="+mj-lt"/>
                <a:ea typeface="+mn-ea"/>
                <a:cs typeface="+mn-cs"/>
              </a:rPr>
              <a:t>Expedite Time to Value Responsibly</a:t>
            </a:r>
          </a:p>
        </p:txBody>
      </p:sp>
      <p:sp>
        <p:nvSpPr>
          <p:cNvPr id="32" name="Arrow: Right 31">
            <a:extLst>
              <a:ext uri="{FF2B5EF4-FFF2-40B4-BE49-F238E27FC236}">
                <a16:creationId xmlns:a16="http://schemas.microsoft.com/office/drawing/2014/main" id="{012F8AC7-C416-8FE2-DCD2-9D3113D9D839}"/>
              </a:ext>
            </a:extLst>
          </p:cNvPr>
          <p:cNvSpPr/>
          <p:nvPr/>
        </p:nvSpPr>
        <p:spPr>
          <a:xfrm>
            <a:off x="818056" y="3503076"/>
            <a:ext cx="10811078" cy="555074"/>
          </a:xfrm>
          <a:prstGeom prst="rightArrow">
            <a:avLst/>
          </a:prstGeom>
          <a:gradFill>
            <a:gsLst>
              <a:gs pos="9000">
                <a:schemeClr val="accent6">
                  <a:lumMod val="20000"/>
                  <a:lumOff val="80000"/>
                  <a:alpha val="63000"/>
                </a:schemeClr>
              </a:gs>
              <a:gs pos="64000">
                <a:srgbClr val="FFB898"/>
              </a:gs>
              <a:gs pos="33000">
                <a:schemeClr val="accent6">
                  <a:lumMod val="40000"/>
                  <a:lumOff val="60000"/>
                </a:schemeClr>
              </a:gs>
              <a:gs pos="90000">
                <a:schemeClr val="accent6"/>
              </a:gs>
            </a:gsLst>
            <a:lin ang="0" scaled="0"/>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a:ln>
                  <a:noFill/>
                </a:ln>
                <a:solidFill>
                  <a:schemeClr val="tx1"/>
                </a:solidFill>
                <a:effectLst/>
                <a:uLnTx/>
                <a:uFillTx/>
                <a:latin typeface="+mj-lt"/>
                <a:ea typeface="+mn-ea"/>
                <a:cs typeface="+mn-cs"/>
              </a:rPr>
              <a:t>Reduce Risk, Optimize for AI and Ensure Compliance</a:t>
            </a:r>
          </a:p>
        </p:txBody>
      </p:sp>
      <p:sp>
        <p:nvSpPr>
          <p:cNvPr id="34" name="Rectangle: Rounded Corners 33">
            <a:extLst>
              <a:ext uri="{FF2B5EF4-FFF2-40B4-BE49-F238E27FC236}">
                <a16:creationId xmlns:a16="http://schemas.microsoft.com/office/drawing/2014/main" id="{066451B4-27A0-D346-D910-F18CF657DDFD}"/>
              </a:ext>
              <a:ext uri="{C183D7F6-B498-43B3-948B-1728B52AA6E4}">
                <adec:decorative xmlns:adec="http://schemas.microsoft.com/office/drawing/2017/decorative" val="0"/>
              </a:ext>
            </a:extLst>
          </p:cNvPr>
          <p:cNvSpPr>
            <a:spLocks/>
          </p:cNvSpPr>
          <p:nvPr/>
        </p:nvSpPr>
        <p:spPr bwMode="auto">
          <a:xfrm>
            <a:off x="917443" y="1411625"/>
            <a:ext cx="4140291" cy="320054"/>
          </a:xfrm>
          <a:prstGeom prst="roundRect">
            <a:avLst>
              <a:gd name="adj" fmla="val 15168"/>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13716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ptos SemiBold"/>
                <a:ea typeface="+mn-ea"/>
                <a:cs typeface="+mn-cs"/>
              </a:rPr>
              <a:t>Assess and Remediate</a:t>
            </a:r>
          </a:p>
        </p:txBody>
      </p:sp>
      <p:sp>
        <p:nvSpPr>
          <p:cNvPr id="37" name="Rectangle: Rounded Corners 36">
            <a:extLst>
              <a:ext uri="{FF2B5EF4-FFF2-40B4-BE49-F238E27FC236}">
                <a16:creationId xmlns:a16="http://schemas.microsoft.com/office/drawing/2014/main" id="{2E722DBC-3A02-2352-FB92-F32216C59067}"/>
              </a:ext>
              <a:ext uri="{C183D7F6-B498-43B3-948B-1728B52AA6E4}">
                <adec:decorative xmlns:adec="http://schemas.microsoft.com/office/drawing/2017/decorative" val="0"/>
              </a:ext>
            </a:extLst>
          </p:cNvPr>
          <p:cNvSpPr>
            <a:spLocks/>
          </p:cNvSpPr>
          <p:nvPr/>
        </p:nvSpPr>
        <p:spPr bwMode="auto">
          <a:xfrm>
            <a:off x="7435320" y="1387058"/>
            <a:ext cx="4140291" cy="320054"/>
          </a:xfrm>
          <a:prstGeom prst="roundRect">
            <a:avLst>
              <a:gd name="adj" fmla="val 15168"/>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13716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ptos SemiBold"/>
                <a:ea typeface="+mn-ea"/>
                <a:cs typeface="+mn-cs"/>
              </a:rPr>
              <a:t>Implement Data Protection and Security Controls</a:t>
            </a:r>
          </a:p>
        </p:txBody>
      </p:sp>
      <p:sp>
        <p:nvSpPr>
          <p:cNvPr id="39" name="Rectangle: Rounded Corners 38">
            <a:extLst>
              <a:ext uri="{FF2B5EF4-FFF2-40B4-BE49-F238E27FC236}">
                <a16:creationId xmlns:a16="http://schemas.microsoft.com/office/drawing/2014/main" id="{D3B3A68B-59C3-DE36-071F-13CF76894CF3}"/>
              </a:ext>
              <a:ext uri="{C183D7F6-B498-43B3-948B-1728B52AA6E4}">
                <adec:decorative xmlns:adec="http://schemas.microsoft.com/office/drawing/2017/decorative" val="0"/>
              </a:ext>
            </a:extLst>
          </p:cNvPr>
          <p:cNvSpPr>
            <a:spLocks/>
          </p:cNvSpPr>
          <p:nvPr/>
        </p:nvSpPr>
        <p:spPr bwMode="auto">
          <a:xfrm>
            <a:off x="5352740" y="1407459"/>
            <a:ext cx="1803820" cy="296029"/>
          </a:xfrm>
          <a:prstGeom prst="roundRect">
            <a:avLst>
              <a:gd name="adj" fmla="val 15168"/>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13716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ptos SemiBold"/>
                <a:ea typeface="+mn-ea"/>
                <a:cs typeface="+mn-cs"/>
              </a:rPr>
              <a:t>Educate</a:t>
            </a:r>
          </a:p>
        </p:txBody>
      </p:sp>
      <p:sp>
        <p:nvSpPr>
          <p:cNvPr id="42" name="Rectangle: Rounded Corners 41">
            <a:extLst>
              <a:ext uri="{FF2B5EF4-FFF2-40B4-BE49-F238E27FC236}">
                <a16:creationId xmlns:a16="http://schemas.microsoft.com/office/drawing/2014/main" id="{C8A3847E-F584-9240-406A-B168254FEA61}"/>
              </a:ext>
              <a:ext uri="{C183D7F6-B498-43B3-948B-1728B52AA6E4}">
                <adec:decorative xmlns:adec="http://schemas.microsoft.com/office/drawing/2017/decorative" val="0"/>
              </a:ext>
            </a:extLst>
          </p:cNvPr>
          <p:cNvSpPr>
            <a:spLocks/>
          </p:cNvSpPr>
          <p:nvPr/>
        </p:nvSpPr>
        <p:spPr bwMode="auto">
          <a:xfrm>
            <a:off x="818056" y="4121025"/>
            <a:ext cx="10757553" cy="301876"/>
          </a:xfrm>
          <a:prstGeom prst="roundRect">
            <a:avLst>
              <a:gd name="adj" fmla="val 15168"/>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13716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ptos SemiBold"/>
                <a:ea typeface="+mn-ea"/>
                <a:cs typeface="+mn-cs"/>
              </a:rPr>
              <a:t>Implement Responsible AI Controls and Improve Effectiveness</a:t>
            </a:r>
          </a:p>
        </p:txBody>
      </p:sp>
      <p:sp>
        <p:nvSpPr>
          <p:cNvPr id="44" name="Rectangle: Rounded Corners 43">
            <a:extLst>
              <a:ext uri="{FF2B5EF4-FFF2-40B4-BE49-F238E27FC236}">
                <a16:creationId xmlns:a16="http://schemas.microsoft.com/office/drawing/2014/main" id="{78756C15-B290-3A02-FA56-E08F2A6D99D8}"/>
              </a:ext>
              <a:ext uri="{C183D7F6-B498-43B3-948B-1728B52AA6E4}">
                <adec:decorative xmlns:adec="http://schemas.microsoft.com/office/drawing/2017/decorative" val="0"/>
              </a:ext>
            </a:extLst>
          </p:cNvPr>
          <p:cNvSpPr>
            <a:spLocks/>
          </p:cNvSpPr>
          <p:nvPr/>
        </p:nvSpPr>
        <p:spPr bwMode="auto">
          <a:xfrm>
            <a:off x="844355" y="4536017"/>
            <a:ext cx="3513794" cy="333203"/>
          </a:xfrm>
          <a:prstGeom prst="roundRect">
            <a:avLst>
              <a:gd name="adj" fmla="val 15168"/>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13716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ptos SemiBold"/>
                <a:ea typeface="+mn-ea"/>
                <a:cs typeface="+mn-cs"/>
              </a:rPr>
              <a:t>Client Ask </a:t>
            </a:r>
          </a:p>
        </p:txBody>
      </p:sp>
      <p:sp>
        <p:nvSpPr>
          <p:cNvPr id="47" name="Rectangle: Rounded Corners 46">
            <a:extLst>
              <a:ext uri="{FF2B5EF4-FFF2-40B4-BE49-F238E27FC236}">
                <a16:creationId xmlns:a16="http://schemas.microsoft.com/office/drawing/2014/main" id="{4A93561A-54EC-A405-484A-6F5151F066F7}"/>
              </a:ext>
              <a:ext uri="{C183D7F6-B498-43B3-948B-1728B52AA6E4}">
                <adec:decorative xmlns:adec="http://schemas.microsoft.com/office/drawing/2017/decorative" val="0"/>
              </a:ext>
            </a:extLst>
          </p:cNvPr>
          <p:cNvSpPr>
            <a:spLocks/>
          </p:cNvSpPr>
          <p:nvPr/>
        </p:nvSpPr>
        <p:spPr bwMode="auto">
          <a:xfrm>
            <a:off x="4497753" y="4529004"/>
            <a:ext cx="3513794" cy="333203"/>
          </a:xfrm>
          <a:prstGeom prst="roundRect">
            <a:avLst>
              <a:gd name="adj" fmla="val 15168"/>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13716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ptos SemiBold"/>
                <a:ea typeface="+mn-ea"/>
                <a:cs typeface="+mn-cs"/>
              </a:rPr>
              <a:t>Work Done </a:t>
            </a:r>
          </a:p>
        </p:txBody>
      </p:sp>
      <p:sp>
        <p:nvSpPr>
          <p:cNvPr id="49" name="Rectangle: Rounded Corners 48">
            <a:extLst>
              <a:ext uri="{FF2B5EF4-FFF2-40B4-BE49-F238E27FC236}">
                <a16:creationId xmlns:a16="http://schemas.microsoft.com/office/drawing/2014/main" id="{8D72F19A-C354-82B1-43E2-F3525568BAC7}"/>
              </a:ext>
              <a:ext uri="{C183D7F6-B498-43B3-948B-1728B52AA6E4}">
                <adec:decorative xmlns:adec="http://schemas.microsoft.com/office/drawing/2017/decorative" val="0"/>
              </a:ext>
            </a:extLst>
          </p:cNvPr>
          <p:cNvSpPr>
            <a:spLocks/>
          </p:cNvSpPr>
          <p:nvPr/>
        </p:nvSpPr>
        <p:spPr bwMode="auto">
          <a:xfrm>
            <a:off x="8171105" y="4526516"/>
            <a:ext cx="3513794" cy="333203"/>
          </a:xfrm>
          <a:prstGeom prst="roundRect">
            <a:avLst>
              <a:gd name="adj" fmla="val 15168"/>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13716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ptos SemiBold"/>
                <a:ea typeface="+mn-ea"/>
                <a:cs typeface="+mn-cs"/>
              </a:rPr>
              <a:t>Outcome</a:t>
            </a:r>
          </a:p>
        </p:txBody>
      </p:sp>
      <p:pic>
        <p:nvPicPr>
          <p:cNvPr id="4" name="Picture 3">
            <a:extLst>
              <a:ext uri="{FF2B5EF4-FFF2-40B4-BE49-F238E27FC236}">
                <a16:creationId xmlns:a16="http://schemas.microsoft.com/office/drawing/2014/main" id="{66C544C2-CA27-4724-F88E-666BB523C2DD}"/>
              </a:ext>
            </a:extLst>
          </p:cNvPr>
          <p:cNvPicPr>
            <a:picLocks noChangeAspect="1"/>
          </p:cNvPicPr>
          <p:nvPr/>
        </p:nvPicPr>
        <p:blipFill>
          <a:blip r:embed="rId3"/>
          <a:stretch>
            <a:fillRect/>
          </a:stretch>
        </p:blipFill>
        <p:spPr>
          <a:xfrm>
            <a:off x="531765" y="341985"/>
            <a:ext cx="1947851" cy="950847"/>
          </a:xfrm>
          <a:prstGeom prst="rect">
            <a:avLst/>
          </a:prstGeom>
        </p:spPr>
      </p:pic>
    </p:spTree>
    <p:extLst>
      <p:ext uri="{BB962C8B-B14F-4D97-AF65-F5344CB8AC3E}">
        <p14:creationId xmlns:p14="http://schemas.microsoft.com/office/powerpoint/2010/main" val="366159966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D330D27-6CB7-0C4D-F1B8-3CEF363A6E5C}"/>
              </a:ext>
            </a:extLst>
          </p:cNvPr>
          <p:cNvSpPr>
            <a:spLocks noGrp="1"/>
          </p:cNvSpPr>
          <p:nvPr>
            <p:ph sz="half" idx="2"/>
          </p:nvPr>
        </p:nvSpPr>
        <p:spPr>
          <a:xfrm>
            <a:off x="373677" y="1826538"/>
            <a:ext cx="3185796" cy="4641176"/>
          </a:xfr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The manufacturer has Microsoft 365 with an E5 license but were utilizing close to none of the E5 capabiliti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The goal was to design and pilot the following solu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Microsoft Information Protection (MI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Data Loss Prevention (DL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Data Lifecycle Management (DL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Insider Risk Management (IR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When the engagement ends, the client's technical team will be able to expand on what was done in the current scope.</a:t>
            </a:r>
          </a:p>
          <a:p>
            <a:endParaRPr lang="en-US" sz="3600">
              <a:latin typeface="+mn-lt"/>
            </a:endParaRPr>
          </a:p>
        </p:txBody>
      </p:sp>
      <p:sp>
        <p:nvSpPr>
          <p:cNvPr id="5" name="Content Placeholder 4">
            <a:extLst>
              <a:ext uri="{FF2B5EF4-FFF2-40B4-BE49-F238E27FC236}">
                <a16:creationId xmlns:a16="http://schemas.microsoft.com/office/drawing/2014/main" id="{E71156E6-AEE5-24CF-BFB4-9F512DFA53F2}"/>
              </a:ext>
            </a:extLst>
          </p:cNvPr>
          <p:cNvSpPr>
            <a:spLocks noGrp="1"/>
          </p:cNvSpPr>
          <p:nvPr>
            <p:ph sz="quarter" idx="4"/>
          </p:nvPr>
        </p:nvSpPr>
        <p:spPr>
          <a:xfrm>
            <a:off x="8461243" y="1853684"/>
            <a:ext cx="3256855" cy="464117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mn-lt"/>
                <a:ea typeface="+mn-ea"/>
                <a:cs typeface="+mn-cs"/>
              </a:rPr>
              <a:t>Outcom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Blueprint documenting the implementation and </a:t>
            </a:r>
            <a:r>
              <a:rPr kumimoji="0" lang="en-US" sz="1600" b="0" i="0" u="none" strike="noStrike" kern="1200" cap="none" spc="0" normalizeH="0" baseline="0" noProof="0">
                <a:ln>
                  <a:noFill/>
                </a:ln>
                <a:solidFill>
                  <a:srgbClr val="000000"/>
                </a:solidFill>
                <a:effectLst/>
                <a:uLnTx/>
                <a:uFillTx/>
                <a:latin typeface="+mn-lt"/>
                <a:ea typeface="+mn-ea"/>
                <a:cs typeface="+mn-cs"/>
              </a:rPr>
              <a:t>recommendations</a:t>
            </a:r>
            <a:r>
              <a:rPr kumimoji="0" lang="en-US" sz="1400" b="0" i="0" u="none" strike="noStrike" kern="1200" cap="none" spc="0" normalizeH="0" baseline="0" noProof="0">
                <a:ln>
                  <a:noFill/>
                </a:ln>
                <a:solidFill>
                  <a:srgbClr val="000000"/>
                </a:solidFill>
                <a:effectLst/>
                <a:uLnTx/>
                <a:uFillTx/>
                <a:latin typeface="+mn-lt"/>
                <a:ea typeface="+mn-ea"/>
                <a:cs typeface="+mn-cs"/>
              </a:rPr>
              <a:t> for moving forwa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Configuration shee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Configuration of MIP, DLP, DLM and IRM in production tena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Pilot with 40+ users testing MIP and DL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Positive feedbac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Education and awaren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DLP and IRM were tested and monitored by the project grou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Standard operating procedur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Tools and knowledge to expand.</a:t>
            </a:r>
          </a:p>
          <a:p>
            <a:endParaRPr lang="en-US">
              <a:latin typeface="+mn-lt"/>
            </a:endParaRPr>
          </a:p>
        </p:txBody>
      </p:sp>
      <p:sp>
        <p:nvSpPr>
          <p:cNvPr id="6" name="Title 5">
            <a:extLst>
              <a:ext uri="{FF2B5EF4-FFF2-40B4-BE49-F238E27FC236}">
                <a16:creationId xmlns:a16="http://schemas.microsoft.com/office/drawing/2014/main" id="{EA762A01-CA1A-B7F2-B9CA-00C9CC2B37AC}"/>
              </a:ext>
            </a:extLst>
          </p:cNvPr>
          <p:cNvSpPr>
            <a:spLocks noGrp="1"/>
          </p:cNvSpPr>
          <p:nvPr>
            <p:ph type="title"/>
          </p:nvPr>
        </p:nvSpPr>
        <p:spPr>
          <a:xfrm>
            <a:off x="583160" y="150154"/>
            <a:ext cx="11025680" cy="557366"/>
          </a:xfrm>
        </p:spPr>
        <p:txBody>
          <a:bodyPr>
            <a:noAutofit/>
          </a:bodyPr>
          <a:lstStyle/>
          <a:p>
            <a:r>
              <a:rPr lang="en-US" sz="3600"/>
              <a:t>Case study: Implementation in 8 Weeks</a:t>
            </a:r>
          </a:p>
        </p:txBody>
      </p:sp>
      <p:sp>
        <p:nvSpPr>
          <p:cNvPr id="7" name="Title 5">
            <a:extLst>
              <a:ext uri="{FF2B5EF4-FFF2-40B4-BE49-F238E27FC236}">
                <a16:creationId xmlns:a16="http://schemas.microsoft.com/office/drawing/2014/main" id="{79A12EE3-1DC9-78F7-CDE2-934A1C6C9CD4}"/>
              </a:ext>
            </a:extLst>
          </p:cNvPr>
          <p:cNvSpPr txBox="1">
            <a:spLocks/>
          </p:cNvSpPr>
          <p:nvPr/>
        </p:nvSpPr>
        <p:spPr>
          <a:xfrm>
            <a:off x="583160" y="564786"/>
            <a:ext cx="11025680" cy="557366"/>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4200" b="1" kern="1200">
                <a:solidFill>
                  <a:srgbClr val="091F2C"/>
                </a:solidFill>
                <a:latin typeface="Segoe UI" panose="020B0502040204020203" pitchFamily="34" charset="0"/>
                <a:ea typeface="+mj-ea"/>
                <a:cs typeface="Segoe UI" panose="020B0502040204020203" pitchFamily="34" charset="0"/>
              </a:defRPr>
            </a:lvl1pPr>
          </a:lstStyle>
          <a:p>
            <a:r>
              <a:rPr lang="en-US" sz="2000" b="0"/>
              <a:t>Manufacturer with more than 7,000 employees in over 40 countries </a:t>
            </a:r>
          </a:p>
        </p:txBody>
      </p:sp>
      <p:sp>
        <p:nvSpPr>
          <p:cNvPr id="8" name="Text Placeholder 7">
            <a:extLst>
              <a:ext uri="{FF2B5EF4-FFF2-40B4-BE49-F238E27FC236}">
                <a16:creationId xmlns:a16="http://schemas.microsoft.com/office/drawing/2014/main" id="{BFD42A6B-1567-4000-7976-77FF8DFDAE9B}"/>
              </a:ext>
              <a:ext uri="{C183D7F6-B498-43B3-948B-1728B52AA6E4}">
                <adec:decorative xmlns:adec="http://schemas.microsoft.com/office/drawing/2017/decorative" val="0"/>
              </a:ext>
            </a:extLst>
          </p:cNvPr>
          <p:cNvSpPr>
            <a:spLocks noGrp="1"/>
          </p:cNvSpPr>
          <p:nvPr>
            <p:ph type="body" idx="1"/>
          </p:nvPr>
        </p:nvSpPr>
        <p:spPr bwMode="auto">
          <a:xfrm>
            <a:off x="477430" y="1269663"/>
            <a:ext cx="2791752" cy="409364"/>
          </a:xfrm>
          <a:prstGeom prst="roundRect">
            <a:avLst>
              <a:gd name="adj" fmla="val 15168"/>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137160" tIns="45720" rIns="91440" bIns="4572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ptos SemiBold"/>
                <a:ea typeface="+mn-ea"/>
                <a:cs typeface="+mn-cs"/>
              </a:rPr>
              <a:t>Assess and Remediate</a:t>
            </a:r>
          </a:p>
        </p:txBody>
      </p:sp>
      <p:sp>
        <p:nvSpPr>
          <p:cNvPr id="9" name="Text Placeholder 7">
            <a:extLst>
              <a:ext uri="{FF2B5EF4-FFF2-40B4-BE49-F238E27FC236}">
                <a16:creationId xmlns:a16="http://schemas.microsoft.com/office/drawing/2014/main" id="{7B5E185D-7FC9-CDB4-1209-7524573EFD1A}"/>
              </a:ext>
              <a:ext uri="{C183D7F6-B498-43B3-948B-1728B52AA6E4}">
                <adec:decorative xmlns:adec="http://schemas.microsoft.com/office/drawing/2017/decorative" val="0"/>
              </a:ext>
            </a:extLst>
          </p:cNvPr>
          <p:cNvSpPr txBox="1">
            <a:spLocks/>
          </p:cNvSpPr>
          <p:nvPr/>
        </p:nvSpPr>
        <p:spPr bwMode="auto">
          <a:xfrm>
            <a:off x="3635701" y="1254648"/>
            <a:ext cx="4528621" cy="409364"/>
          </a:xfrm>
          <a:prstGeom prst="roundRect">
            <a:avLst>
              <a:gd name="adj" fmla="val 15168"/>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vert="horz" wrap="square" lIns="137160" tIns="45720" rIns="91440" bIns="4572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b="1" kern="1200">
                <a:solidFill>
                  <a:srgbClr val="091F2C"/>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rgbClr val="091F2C"/>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rgbClr val="091F2C"/>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rgbClr val="091F2C"/>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rgbClr val="091F2C"/>
                </a:solidFill>
                <a:latin typeface="Segoe UI" panose="020B0502040204020203" pitchFamily="34" charset="0"/>
                <a:ea typeface="+mn-ea"/>
                <a:cs typeface="Segoe UI" panose="020B0502040204020203"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nSpc>
                <a:spcPct val="100000"/>
              </a:lnSpc>
              <a:spcBef>
                <a:spcPts val="0"/>
              </a:spcBef>
              <a:buFontTx/>
              <a:buNone/>
              <a:defRPr/>
            </a:pPr>
            <a:r>
              <a:rPr lang="en-US" sz="1600" b="0">
                <a:solidFill>
                  <a:prstClr val="white"/>
                </a:solidFill>
                <a:latin typeface="Aptos SemiBold"/>
                <a:cs typeface="+mn-cs"/>
              </a:rPr>
              <a:t>Action </a:t>
            </a:r>
          </a:p>
        </p:txBody>
      </p:sp>
      <p:sp>
        <p:nvSpPr>
          <p:cNvPr id="10" name="Text Placeholder 7">
            <a:extLst>
              <a:ext uri="{FF2B5EF4-FFF2-40B4-BE49-F238E27FC236}">
                <a16:creationId xmlns:a16="http://schemas.microsoft.com/office/drawing/2014/main" id="{ED9E05A9-78EE-81CB-7DBB-C76F0C822655}"/>
              </a:ext>
              <a:ext uri="{C183D7F6-B498-43B3-948B-1728B52AA6E4}">
                <adec:decorative xmlns:adec="http://schemas.microsoft.com/office/drawing/2017/decorative" val="0"/>
              </a:ext>
            </a:extLst>
          </p:cNvPr>
          <p:cNvSpPr txBox="1">
            <a:spLocks/>
          </p:cNvSpPr>
          <p:nvPr/>
        </p:nvSpPr>
        <p:spPr bwMode="auto">
          <a:xfrm>
            <a:off x="8447157" y="1269663"/>
            <a:ext cx="2605214" cy="409364"/>
          </a:xfrm>
          <a:prstGeom prst="roundRect">
            <a:avLst>
              <a:gd name="adj" fmla="val 15168"/>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vert="horz" wrap="square" lIns="137160" tIns="45720" rIns="91440" bIns="4572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b="1" kern="1200">
                <a:solidFill>
                  <a:srgbClr val="091F2C"/>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rgbClr val="091F2C"/>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rgbClr val="091F2C"/>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rgbClr val="091F2C"/>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rgbClr val="091F2C"/>
                </a:solidFill>
                <a:latin typeface="Segoe UI" panose="020B0502040204020203" pitchFamily="34" charset="0"/>
                <a:ea typeface="+mn-ea"/>
                <a:cs typeface="Segoe UI" panose="020B0502040204020203"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nSpc>
                <a:spcPct val="100000"/>
              </a:lnSpc>
              <a:spcBef>
                <a:spcPts val="0"/>
              </a:spcBef>
              <a:buFontTx/>
              <a:buNone/>
              <a:defRPr/>
            </a:pPr>
            <a:r>
              <a:rPr lang="en-US" sz="1600" b="0">
                <a:solidFill>
                  <a:prstClr val="white"/>
                </a:solidFill>
                <a:latin typeface="Aptos SemiBold"/>
                <a:cs typeface="+mn-cs"/>
              </a:rPr>
              <a:t>After</a:t>
            </a:r>
          </a:p>
        </p:txBody>
      </p:sp>
      <p:grpSp>
        <p:nvGrpSpPr>
          <p:cNvPr id="99" name="Group 98">
            <a:extLst>
              <a:ext uri="{FF2B5EF4-FFF2-40B4-BE49-F238E27FC236}">
                <a16:creationId xmlns:a16="http://schemas.microsoft.com/office/drawing/2014/main" id="{C058352A-3D17-A862-DFC7-240D50FA9373}"/>
              </a:ext>
            </a:extLst>
          </p:cNvPr>
          <p:cNvGrpSpPr/>
          <p:nvPr/>
        </p:nvGrpSpPr>
        <p:grpSpPr>
          <a:xfrm>
            <a:off x="3559473" y="1736406"/>
            <a:ext cx="4581115" cy="3951800"/>
            <a:chOff x="7153672" y="1694505"/>
            <a:chExt cx="3695393" cy="3202243"/>
          </a:xfrm>
        </p:grpSpPr>
        <p:sp>
          <p:nvSpPr>
            <p:cNvPr id="100" name="Rectangle: Folded Corner 99">
              <a:extLst>
                <a:ext uri="{FF2B5EF4-FFF2-40B4-BE49-F238E27FC236}">
                  <a16:creationId xmlns:a16="http://schemas.microsoft.com/office/drawing/2014/main" id="{AB752215-D95F-E37E-424E-E12953FB7D37}"/>
                </a:ext>
              </a:extLst>
            </p:cNvPr>
            <p:cNvSpPr/>
            <p:nvPr/>
          </p:nvSpPr>
          <p:spPr>
            <a:xfrm>
              <a:off x="8580087" y="1694505"/>
              <a:ext cx="805376" cy="369495"/>
            </a:xfrm>
            <a:prstGeom prst="foldedCorner">
              <a:avLst/>
            </a:prstGeom>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91440" tIns="45720" rIns="91440" bIns="45720" rtlCol="0" anchor="ctr"/>
            <a:lstStyle/>
            <a:p>
              <a:pPr algn="ctr"/>
              <a:r>
                <a:rPr lang="en-US" sz="1600">
                  <a:solidFill>
                    <a:schemeClr val="tx1"/>
                  </a:solidFill>
                </a:rPr>
                <a:t>2 Months</a:t>
              </a:r>
              <a:endParaRPr lang="en-US" sz="1600">
                <a:solidFill>
                  <a:schemeClr val="tx1"/>
                </a:solidFill>
                <a:cs typeface="Arial"/>
              </a:endParaRPr>
            </a:p>
          </p:txBody>
        </p:sp>
        <p:sp>
          <p:nvSpPr>
            <p:cNvPr id="101" name="Arrow: U-Turn 100">
              <a:extLst>
                <a:ext uri="{FF2B5EF4-FFF2-40B4-BE49-F238E27FC236}">
                  <a16:creationId xmlns:a16="http://schemas.microsoft.com/office/drawing/2014/main" id="{D9DD45CB-2A7A-9CC5-D1EE-CA27C8B33D47}"/>
                </a:ext>
              </a:extLst>
            </p:cNvPr>
            <p:cNvSpPr/>
            <p:nvPr/>
          </p:nvSpPr>
          <p:spPr>
            <a:xfrm>
              <a:off x="9558784" y="1880761"/>
              <a:ext cx="1269438" cy="1560064"/>
            </a:xfrm>
            <a:prstGeom prst="uturnArrow">
              <a:avLst>
                <a:gd name="adj1" fmla="val 8344"/>
                <a:gd name="adj2" fmla="val 7870"/>
                <a:gd name="adj3" fmla="val 16703"/>
                <a:gd name="adj4" fmla="val 50814"/>
                <a:gd name="adj5" fmla="val 100000"/>
              </a:avLst>
            </a:prstGeom>
            <a:solidFill>
              <a:schemeClr val="accent6"/>
            </a:solidFill>
            <a:ln>
              <a:noFill/>
            </a:ln>
            <a:effectLst>
              <a:outerShdw blurRad="50800" dist="38100" dir="16200000"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102" name="Arrow: U-Turn 101">
              <a:extLst>
                <a:ext uri="{FF2B5EF4-FFF2-40B4-BE49-F238E27FC236}">
                  <a16:creationId xmlns:a16="http://schemas.microsoft.com/office/drawing/2014/main" id="{AB37F923-E833-386C-E82A-C7C8DA84CDA3}"/>
                </a:ext>
              </a:extLst>
            </p:cNvPr>
            <p:cNvSpPr/>
            <p:nvPr/>
          </p:nvSpPr>
          <p:spPr>
            <a:xfrm rot="10800000">
              <a:off x="8246548" y="2898095"/>
              <a:ext cx="1421586" cy="1869217"/>
            </a:xfrm>
            <a:prstGeom prst="uturnArrow">
              <a:avLst>
                <a:gd name="adj1" fmla="val 7841"/>
                <a:gd name="adj2" fmla="val 7870"/>
                <a:gd name="adj3" fmla="val 0"/>
                <a:gd name="adj4" fmla="val 47584"/>
                <a:gd name="adj5" fmla="val 100000"/>
              </a:avLst>
            </a:prstGeom>
            <a:ln>
              <a:noFill/>
            </a:ln>
            <a:effectLst>
              <a:outerShdw blurRad="50800" dist="38100" dir="16200000"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103" name="Arrow: U-Turn 102">
              <a:extLst>
                <a:ext uri="{FF2B5EF4-FFF2-40B4-BE49-F238E27FC236}">
                  <a16:creationId xmlns:a16="http://schemas.microsoft.com/office/drawing/2014/main" id="{573C7A3C-2C23-68E8-12AB-6E16E69AFDC5}"/>
                </a:ext>
              </a:extLst>
            </p:cNvPr>
            <p:cNvSpPr/>
            <p:nvPr/>
          </p:nvSpPr>
          <p:spPr>
            <a:xfrm>
              <a:off x="7215162" y="1928361"/>
              <a:ext cx="1234514" cy="1936147"/>
            </a:xfrm>
            <a:prstGeom prst="uturnArrow">
              <a:avLst>
                <a:gd name="adj1" fmla="val 9912"/>
                <a:gd name="adj2" fmla="val 7870"/>
                <a:gd name="adj3" fmla="val 0"/>
                <a:gd name="adj4" fmla="val 47720"/>
                <a:gd name="adj5" fmla="val 99831"/>
              </a:avLst>
            </a:prstGeom>
            <a:solidFill>
              <a:schemeClr val="accent3"/>
            </a:solidFill>
            <a:ln>
              <a:noFill/>
            </a:ln>
            <a:effectLst>
              <a:outerShdw blurRad="50800" dist="38100" dir="16200000"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104" name="TextBox 103">
              <a:extLst>
                <a:ext uri="{FF2B5EF4-FFF2-40B4-BE49-F238E27FC236}">
                  <a16:creationId xmlns:a16="http://schemas.microsoft.com/office/drawing/2014/main" id="{E0B86EA7-2F60-10E2-8FF4-4A1332EAB671}"/>
                </a:ext>
              </a:extLst>
            </p:cNvPr>
            <p:cNvSpPr txBox="1"/>
            <p:nvPr/>
          </p:nvSpPr>
          <p:spPr>
            <a:xfrm>
              <a:off x="7420360" y="3791361"/>
              <a:ext cx="726095" cy="823017"/>
            </a:xfrm>
            <a:prstGeom prst="rect">
              <a:avLst/>
            </a:prstGeom>
            <a:noFill/>
          </p:spPr>
          <p:txBody>
            <a:bodyPr wrap="square" rtlCol="0">
              <a:spAutoFit/>
            </a:bodyPr>
            <a:lstStyle/>
            <a:p>
              <a:pPr algn="ctr"/>
              <a:r>
                <a:rPr lang="en-US" sz="1000"/>
                <a:t>Establish pilot objectives and goals to achieve key outcomes.</a:t>
              </a:r>
            </a:p>
          </p:txBody>
        </p:sp>
        <p:sp>
          <p:nvSpPr>
            <p:cNvPr id="105" name="TextBox 104">
              <a:extLst>
                <a:ext uri="{FF2B5EF4-FFF2-40B4-BE49-F238E27FC236}">
                  <a16:creationId xmlns:a16="http://schemas.microsoft.com/office/drawing/2014/main" id="{6873F7CA-E557-3363-AB83-D9289954BF31}"/>
                </a:ext>
              </a:extLst>
            </p:cNvPr>
            <p:cNvSpPr txBox="1"/>
            <p:nvPr/>
          </p:nvSpPr>
          <p:spPr>
            <a:xfrm>
              <a:off x="7466661" y="2133077"/>
              <a:ext cx="711860" cy="1384165"/>
            </a:xfrm>
            <a:prstGeom prst="rect">
              <a:avLst/>
            </a:prstGeom>
            <a:noFill/>
          </p:spPr>
          <p:txBody>
            <a:bodyPr wrap="square" rtlCol="0">
              <a:spAutoFit/>
            </a:bodyPr>
            <a:lstStyle/>
            <a:p>
              <a:pPr algn="ctr"/>
              <a:r>
                <a:rPr lang="en-US" sz="1050"/>
                <a:t>Decide the scope. Keep what is realistic to achieve in 2 months. Take the rest in a backlog.</a:t>
              </a:r>
            </a:p>
          </p:txBody>
        </p:sp>
        <p:sp>
          <p:nvSpPr>
            <p:cNvPr id="106" name="TextBox 105">
              <a:extLst>
                <a:ext uri="{FF2B5EF4-FFF2-40B4-BE49-F238E27FC236}">
                  <a16:creationId xmlns:a16="http://schemas.microsoft.com/office/drawing/2014/main" id="{9FDA0533-10ED-1D87-A117-8801DA73B342}"/>
                </a:ext>
              </a:extLst>
            </p:cNvPr>
            <p:cNvSpPr txBox="1"/>
            <p:nvPr/>
          </p:nvSpPr>
          <p:spPr>
            <a:xfrm>
              <a:off x="8486335" y="3474037"/>
              <a:ext cx="846184" cy="947717"/>
            </a:xfrm>
            <a:prstGeom prst="rect">
              <a:avLst/>
            </a:prstGeom>
            <a:noFill/>
          </p:spPr>
          <p:txBody>
            <a:bodyPr wrap="square" rtlCol="0">
              <a:spAutoFit/>
            </a:bodyPr>
            <a:lstStyle/>
            <a:p>
              <a:pPr algn="ctr"/>
              <a:r>
                <a:rPr lang="en-US" sz="1000"/>
                <a:t>Provide high-level information about the workstreams in scope to the project group.</a:t>
              </a:r>
            </a:p>
          </p:txBody>
        </p:sp>
        <p:sp>
          <p:nvSpPr>
            <p:cNvPr id="107" name="TextBox 106">
              <a:extLst>
                <a:ext uri="{FF2B5EF4-FFF2-40B4-BE49-F238E27FC236}">
                  <a16:creationId xmlns:a16="http://schemas.microsoft.com/office/drawing/2014/main" id="{6B64CBAF-D101-29CF-5885-DEEB4F45AC11}"/>
                </a:ext>
              </a:extLst>
            </p:cNvPr>
            <p:cNvSpPr txBox="1"/>
            <p:nvPr/>
          </p:nvSpPr>
          <p:spPr>
            <a:xfrm>
              <a:off x="9435804" y="4572529"/>
              <a:ext cx="1152020" cy="324219"/>
            </a:xfrm>
            <a:prstGeom prst="rect">
              <a:avLst/>
            </a:prstGeom>
            <a:noFill/>
          </p:spPr>
          <p:txBody>
            <a:bodyPr wrap="square" rtlCol="0">
              <a:spAutoFit/>
            </a:bodyPr>
            <a:lstStyle/>
            <a:p>
              <a:pPr algn="ctr"/>
              <a:r>
                <a:rPr lang="en-US" sz="1000"/>
                <a:t>Identify KPIs to measure.</a:t>
              </a:r>
            </a:p>
          </p:txBody>
        </p:sp>
        <p:sp>
          <p:nvSpPr>
            <p:cNvPr id="108" name="TextBox 107">
              <a:extLst>
                <a:ext uri="{FF2B5EF4-FFF2-40B4-BE49-F238E27FC236}">
                  <a16:creationId xmlns:a16="http://schemas.microsoft.com/office/drawing/2014/main" id="{42B007BF-B9AB-C03C-4F3E-F079AF85CDAE}"/>
                </a:ext>
              </a:extLst>
            </p:cNvPr>
            <p:cNvSpPr txBox="1"/>
            <p:nvPr/>
          </p:nvSpPr>
          <p:spPr>
            <a:xfrm>
              <a:off x="8754858" y="2535433"/>
              <a:ext cx="857530" cy="573618"/>
            </a:xfrm>
            <a:prstGeom prst="rect">
              <a:avLst/>
            </a:prstGeom>
            <a:noFill/>
          </p:spPr>
          <p:txBody>
            <a:bodyPr wrap="square" rtlCol="0">
              <a:spAutoFit/>
            </a:bodyPr>
            <a:lstStyle/>
            <a:p>
              <a:pPr algn="ctr"/>
              <a:r>
                <a:rPr lang="en-US" sz="1000"/>
                <a:t>Assemble, engage and educate the pilot users.</a:t>
              </a:r>
            </a:p>
          </p:txBody>
        </p:sp>
        <p:sp>
          <p:nvSpPr>
            <p:cNvPr id="109" name="TextBox 108">
              <a:extLst>
                <a:ext uri="{FF2B5EF4-FFF2-40B4-BE49-F238E27FC236}">
                  <a16:creationId xmlns:a16="http://schemas.microsoft.com/office/drawing/2014/main" id="{F3F3CE9E-F617-BD32-CD58-8C1A925F644B}"/>
                </a:ext>
              </a:extLst>
            </p:cNvPr>
            <p:cNvSpPr txBox="1"/>
            <p:nvPr/>
          </p:nvSpPr>
          <p:spPr>
            <a:xfrm>
              <a:off x="9697314" y="2122744"/>
              <a:ext cx="876685" cy="584172"/>
            </a:xfrm>
            <a:prstGeom prst="rect">
              <a:avLst/>
            </a:prstGeom>
            <a:noFill/>
          </p:spPr>
          <p:txBody>
            <a:bodyPr wrap="square" rtlCol="0">
              <a:spAutoFit/>
            </a:bodyPr>
            <a:lstStyle/>
            <a:p>
              <a:pPr algn="ctr"/>
              <a:r>
                <a:rPr lang="en-US" sz="1000"/>
                <a:t>Testing of the implementations and collecting feedback.</a:t>
              </a:r>
            </a:p>
          </p:txBody>
        </p:sp>
        <p:sp>
          <p:nvSpPr>
            <p:cNvPr id="110" name="TextBox 109">
              <a:extLst>
                <a:ext uri="{FF2B5EF4-FFF2-40B4-BE49-F238E27FC236}">
                  <a16:creationId xmlns:a16="http://schemas.microsoft.com/office/drawing/2014/main" id="{D9DCFDB9-ED38-1C2C-35E2-6999D1798565}"/>
                </a:ext>
              </a:extLst>
            </p:cNvPr>
            <p:cNvSpPr txBox="1"/>
            <p:nvPr/>
          </p:nvSpPr>
          <p:spPr>
            <a:xfrm>
              <a:off x="9800832" y="2850498"/>
              <a:ext cx="786932" cy="448919"/>
            </a:xfrm>
            <a:prstGeom prst="rect">
              <a:avLst/>
            </a:prstGeom>
            <a:noFill/>
          </p:spPr>
          <p:txBody>
            <a:bodyPr wrap="square" rtlCol="0">
              <a:spAutoFit/>
            </a:bodyPr>
            <a:lstStyle/>
            <a:p>
              <a:pPr algn="ctr"/>
              <a:r>
                <a:rPr lang="en-US" sz="1000"/>
                <a:t>Create a high-level blueprint.</a:t>
              </a:r>
            </a:p>
          </p:txBody>
        </p:sp>
        <p:sp>
          <p:nvSpPr>
            <p:cNvPr id="111" name="Arrow: U-Turn 110">
              <a:extLst>
                <a:ext uri="{FF2B5EF4-FFF2-40B4-BE49-F238E27FC236}">
                  <a16:creationId xmlns:a16="http://schemas.microsoft.com/office/drawing/2014/main" id="{18BE045A-1A40-DBED-0A2E-0A07228FE592}"/>
                </a:ext>
              </a:extLst>
            </p:cNvPr>
            <p:cNvSpPr/>
            <p:nvPr/>
          </p:nvSpPr>
          <p:spPr>
            <a:xfrm>
              <a:off x="7269224" y="1972918"/>
              <a:ext cx="1192470" cy="1796456"/>
            </a:xfrm>
            <a:prstGeom prst="uturnArrow">
              <a:avLst>
                <a:gd name="adj1" fmla="val 2089"/>
                <a:gd name="adj2" fmla="val 7870"/>
                <a:gd name="adj3" fmla="val 0"/>
                <a:gd name="adj4" fmla="val 48090"/>
                <a:gd name="adj5" fmla="val 99831"/>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112" name="Oval 111">
              <a:extLst>
                <a:ext uri="{FF2B5EF4-FFF2-40B4-BE49-F238E27FC236}">
                  <a16:creationId xmlns:a16="http://schemas.microsoft.com/office/drawing/2014/main" id="{0D69F753-F742-F5F0-83CB-E7E2F67A13E2}"/>
                </a:ext>
              </a:extLst>
            </p:cNvPr>
            <p:cNvSpPr/>
            <p:nvPr/>
          </p:nvSpPr>
          <p:spPr>
            <a:xfrm>
              <a:off x="7711395" y="1880759"/>
              <a:ext cx="242048" cy="242047"/>
            </a:xfrm>
            <a:prstGeom prst="ellipse">
              <a:avLst/>
            </a:prstGeom>
            <a:solidFill>
              <a:schemeClr val="bg1"/>
            </a:solidFill>
            <a:ln w="571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2</a:t>
              </a:r>
            </a:p>
          </p:txBody>
        </p:sp>
        <p:sp>
          <p:nvSpPr>
            <p:cNvPr id="113" name="Oval 112">
              <a:extLst>
                <a:ext uri="{FF2B5EF4-FFF2-40B4-BE49-F238E27FC236}">
                  <a16:creationId xmlns:a16="http://schemas.microsoft.com/office/drawing/2014/main" id="{2CB317F5-4A34-4F38-589C-56320019C4D7}"/>
                </a:ext>
              </a:extLst>
            </p:cNvPr>
            <p:cNvSpPr/>
            <p:nvPr/>
          </p:nvSpPr>
          <p:spPr>
            <a:xfrm>
              <a:off x="7153672" y="3667043"/>
              <a:ext cx="242048" cy="242047"/>
            </a:xfrm>
            <a:prstGeom prst="ellipse">
              <a:avLst/>
            </a:prstGeom>
            <a:solidFill>
              <a:schemeClr val="bg1"/>
            </a:solidFill>
            <a:ln w="571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1</a:t>
              </a:r>
            </a:p>
          </p:txBody>
        </p:sp>
        <p:sp>
          <p:nvSpPr>
            <p:cNvPr id="114" name="Arrow: U-Turn 113">
              <a:extLst>
                <a:ext uri="{FF2B5EF4-FFF2-40B4-BE49-F238E27FC236}">
                  <a16:creationId xmlns:a16="http://schemas.microsoft.com/office/drawing/2014/main" id="{BE5594EF-AB6B-41F7-5BE1-AEC8DEC8680D}"/>
                </a:ext>
              </a:extLst>
            </p:cNvPr>
            <p:cNvSpPr/>
            <p:nvPr/>
          </p:nvSpPr>
          <p:spPr>
            <a:xfrm rot="10800000">
              <a:off x="8258567" y="3140142"/>
              <a:ext cx="1372385" cy="1593577"/>
            </a:xfrm>
            <a:prstGeom prst="uturnArrow">
              <a:avLst>
                <a:gd name="adj1" fmla="val 2089"/>
                <a:gd name="adj2" fmla="val 7870"/>
                <a:gd name="adj3" fmla="val 0"/>
                <a:gd name="adj4" fmla="val 69661"/>
                <a:gd name="adj5" fmla="val 99831"/>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115" name="Oval 114">
              <a:extLst>
                <a:ext uri="{FF2B5EF4-FFF2-40B4-BE49-F238E27FC236}">
                  <a16:creationId xmlns:a16="http://schemas.microsoft.com/office/drawing/2014/main" id="{2343ACB1-2D94-B9BD-EDF6-3DBD333883E5}"/>
                </a:ext>
              </a:extLst>
            </p:cNvPr>
            <p:cNvSpPr/>
            <p:nvPr/>
          </p:nvSpPr>
          <p:spPr>
            <a:xfrm>
              <a:off x="8875933" y="4573775"/>
              <a:ext cx="242048" cy="242047"/>
            </a:xfrm>
            <a:prstGeom prst="ellipse">
              <a:avLst/>
            </a:prstGeom>
            <a:solidFill>
              <a:schemeClr val="bg1"/>
            </a:solidFill>
            <a:ln w="571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4</a:t>
              </a:r>
            </a:p>
          </p:txBody>
        </p:sp>
        <p:sp>
          <p:nvSpPr>
            <p:cNvPr id="116" name="Arrow: U-Turn 115">
              <a:extLst>
                <a:ext uri="{FF2B5EF4-FFF2-40B4-BE49-F238E27FC236}">
                  <a16:creationId xmlns:a16="http://schemas.microsoft.com/office/drawing/2014/main" id="{5984BF61-A7FB-A204-83A5-80B299571B27}"/>
                </a:ext>
              </a:extLst>
            </p:cNvPr>
            <p:cNvSpPr/>
            <p:nvPr/>
          </p:nvSpPr>
          <p:spPr>
            <a:xfrm>
              <a:off x="9609878" y="1920186"/>
              <a:ext cx="1218343" cy="1259177"/>
            </a:xfrm>
            <a:prstGeom prst="uturnArrow">
              <a:avLst>
                <a:gd name="adj1" fmla="val 2089"/>
                <a:gd name="adj2" fmla="val 7870"/>
                <a:gd name="adj3" fmla="val 0"/>
                <a:gd name="adj4" fmla="val 48090"/>
                <a:gd name="adj5" fmla="val 99831"/>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117" name="Oval 116">
              <a:extLst>
                <a:ext uri="{FF2B5EF4-FFF2-40B4-BE49-F238E27FC236}">
                  <a16:creationId xmlns:a16="http://schemas.microsoft.com/office/drawing/2014/main" id="{2CAC92C3-13FC-3EE7-A20D-0E80195F5494}"/>
                </a:ext>
              </a:extLst>
            </p:cNvPr>
            <p:cNvSpPr/>
            <p:nvPr/>
          </p:nvSpPr>
          <p:spPr>
            <a:xfrm>
              <a:off x="10607017" y="2914657"/>
              <a:ext cx="242048" cy="242047"/>
            </a:xfrm>
            <a:prstGeom prst="ellipse">
              <a:avLst/>
            </a:prstGeom>
            <a:solidFill>
              <a:schemeClr val="bg1"/>
            </a:solidFill>
            <a:ln w="5715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7</a:t>
              </a:r>
            </a:p>
          </p:txBody>
        </p:sp>
        <p:sp>
          <p:nvSpPr>
            <p:cNvPr id="118" name="Oval 117">
              <a:extLst>
                <a:ext uri="{FF2B5EF4-FFF2-40B4-BE49-F238E27FC236}">
                  <a16:creationId xmlns:a16="http://schemas.microsoft.com/office/drawing/2014/main" id="{0B18308B-E25A-1A99-87D3-93BCFF373E7B}"/>
                </a:ext>
              </a:extLst>
            </p:cNvPr>
            <p:cNvSpPr/>
            <p:nvPr/>
          </p:nvSpPr>
          <p:spPr>
            <a:xfrm>
              <a:off x="9503253" y="2775412"/>
              <a:ext cx="242048" cy="242047"/>
            </a:xfrm>
            <a:prstGeom prst="ellipse">
              <a:avLst/>
            </a:prstGeom>
            <a:solidFill>
              <a:schemeClr val="bg1"/>
            </a:solidFill>
            <a:ln w="571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5</a:t>
              </a:r>
            </a:p>
          </p:txBody>
        </p:sp>
        <p:sp>
          <p:nvSpPr>
            <p:cNvPr id="119" name="Oval 118">
              <a:extLst>
                <a:ext uri="{FF2B5EF4-FFF2-40B4-BE49-F238E27FC236}">
                  <a16:creationId xmlns:a16="http://schemas.microsoft.com/office/drawing/2014/main" id="{25901902-5C80-18C1-6188-5BC86AE9CC7D}"/>
                </a:ext>
              </a:extLst>
            </p:cNvPr>
            <p:cNvSpPr/>
            <p:nvPr/>
          </p:nvSpPr>
          <p:spPr>
            <a:xfrm>
              <a:off x="10058656" y="1821952"/>
              <a:ext cx="242048" cy="242047"/>
            </a:xfrm>
            <a:prstGeom prst="ellipse">
              <a:avLst/>
            </a:prstGeom>
            <a:solidFill>
              <a:schemeClr val="bg1"/>
            </a:solidFill>
            <a:ln w="5715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6</a:t>
              </a:r>
            </a:p>
          </p:txBody>
        </p:sp>
        <p:sp>
          <p:nvSpPr>
            <p:cNvPr id="120" name="Oval 119">
              <a:extLst>
                <a:ext uri="{FF2B5EF4-FFF2-40B4-BE49-F238E27FC236}">
                  <a16:creationId xmlns:a16="http://schemas.microsoft.com/office/drawing/2014/main" id="{16A860B9-DFF5-FE63-5BDD-B01FA9A0A23D}"/>
                </a:ext>
              </a:extLst>
            </p:cNvPr>
            <p:cNvSpPr/>
            <p:nvPr/>
          </p:nvSpPr>
          <p:spPr>
            <a:xfrm>
              <a:off x="8241886" y="3743484"/>
              <a:ext cx="242048" cy="242047"/>
            </a:xfrm>
            <a:prstGeom prst="ellipse">
              <a:avLst/>
            </a:prstGeom>
            <a:solidFill>
              <a:schemeClr val="bg1"/>
            </a:solidFill>
            <a:ln w="571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3</a:t>
              </a:r>
            </a:p>
          </p:txBody>
        </p:sp>
      </p:grpSp>
      <p:sp>
        <p:nvSpPr>
          <p:cNvPr id="122" name="TextBox 121">
            <a:extLst>
              <a:ext uri="{FF2B5EF4-FFF2-40B4-BE49-F238E27FC236}">
                <a16:creationId xmlns:a16="http://schemas.microsoft.com/office/drawing/2014/main" id="{B17D662F-BE89-8230-F76F-92B9BA677C90}"/>
              </a:ext>
            </a:extLst>
          </p:cNvPr>
          <p:cNvSpPr txBox="1"/>
          <p:nvPr/>
        </p:nvSpPr>
        <p:spPr>
          <a:xfrm>
            <a:off x="3559473" y="5663863"/>
            <a:ext cx="4555275" cy="830997"/>
          </a:xfrm>
          <a:prstGeom prst="rect">
            <a:avLst/>
          </a:prstGeom>
          <a:noFill/>
        </p:spPr>
        <p:txBody>
          <a:bodyPr wrap="square">
            <a:spAutoFit/>
          </a:bodyPr>
          <a:lstStyle/>
          <a:p>
            <a:r>
              <a:rPr lang="en-US" sz="1200"/>
              <a:t>Pre-built templates to determine user stories and acceptance </a:t>
            </a:r>
          </a:p>
          <a:p>
            <a:r>
              <a:rPr lang="en-US" sz="1200"/>
              <a:t>Documented best practices to determine best approach for client</a:t>
            </a:r>
            <a:endParaRPr lang="en-US" sz="1200">
              <a:cs typeface="Arial"/>
            </a:endParaRPr>
          </a:p>
          <a:p>
            <a:r>
              <a:rPr lang="en-US" sz="1200"/>
              <a:t>Recommendations by Infotechtion to ensure successful implementation</a:t>
            </a:r>
          </a:p>
        </p:txBody>
      </p:sp>
      <p:pic>
        <p:nvPicPr>
          <p:cNvPr id="124" name="Picture 123">
            <a:extLst>
              <a:ext uri="{FF2B5EF4-FFF2-40B4-BE49-F238E27FC236}">
                <a16:creationId xmlns:a16="http://schemas.microsoft.com/office/drawing/2014/main" id="{44757E4F-79A4-E09C-DFBF-D33C16A8B580}"/>
              </a:ext>
            </a:extLst>
          </p:cNvPr>
          <p:cNvPicPr>
            <a:picLocks noChangeAspect="1"/>
          </p:cNvPicPr>
          <p:nvPr/>
        </p:nvPicPr>
        <p:blipFill>
          <a:blip r:embed="rId3"/>
          <a:stretch>
            <a:fillRect/>
          </a:stretch>
        </p:blipFill>
        <p:spPr>
          <a:xfrm>
            <a:off x="8759259" y="5737400"/>
            <a:ext cx="2803687" cy="809686"/>
          </a:xfrm>
          <a:prstGeom prst="rect">
            <a:avLst/>
          </a:prstGeom>
          <a:no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1811948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6" name="Rectangle 1005">
            <a:extLst>
              <a:ext uri="{FF2B5EF4-FFF2-40B4-BE49-F238E27FC236}">
                <a16:creationId xmlns:a16="http://schemas.microsoft.com/office/drawing/2014/main" id="{16F51B4F-42E2-E7EF-19B7-7BAC9B28E78E}"/>
              </a:ext>
            </a:extLst>
          </p:cNvPr>
          <p:cNvSpPr/>
          <p:nvPr/>
        </p:nvSpPr>
        <p:spPr bwMode="auto">
          <a:xfrm>
            <a:off x="2133545" y="4523706"/>
            <a:ext cx="9658027" cy="379768"/>
          </a:xfrm>
          <a:prstGeom prst="rect">
            <a:avLst/>
          </a:prstGeom>
          <a:solidFill>
            <a:schemeClr val="accent5">
              <a:lumMod val="20000"/>
              <a:lumOff val="80000"/>
            </a:schemeClr>
          </a:solidFill>
          <a:ln>
            <a:noFill/>
          </a:ln>
        </p:spPr>
        <p:txBody>
          <a:bodyPr wrap="square" lIns="0" tIns="0" rIns="0" bIns="0" numCol="1" rtlCol="0" anchor="ctr">
            <a:noAutofit/>
          </a:bodyPr>
          <a:lstStyle/>
          <a:p>
            <a:pPr algn="ctr" defTabSz="932472" fontAlgn="base">
              <a:spcBef>
                <a:spcPct val="0"/>
              </a:spcBef>
              <a:spcAft>
                <a:spcPts val="200"/>
              </a:spcAft>
              <a:defRPr/>
            </a:pPr>
            <a:r>
              <a:rPr lang="en-US" sz="1600">
                <a:solidFill>
                  <a:schemeClr val="accent1"/>
                </a:solidFill>
                <a:latin typeface="Barlow Condensed Medium" panose="00000606000000000000" pitchFamily="2" charset="0"/>
              </a:rPr>
              <a:t> </a:t>
            </a:r>
          </a:p>
        </p:txBody>
      </p:sp>
      <p:sp>
        <p:nvSpPr>
          <p:cNvPr id="994" name="Isosceles Triangle 993">
            <a:extLst>
              <a:ext uri="{FF2B5EF4-FFF2-40B4-BE49-F238E27FC236}">
                <a16:creationId xmlns:a16="http://schemas.microsoft.com/office/drawing/2014/main" id="{8FF73875-A2B6-4692-6817-EA54A8F0E052}"/>
              </a:ext>
            </a:extLst>
          </p:cNvPr>
          <p:cNvSpPr/>
          <p:nvPr/>
        </p:nvSpPr>
        <p:spPr>
          <a:xfrm rot="5400000">
            <a:off x="11708659" y="1008595"/>
            <a:ext cx="446673" cy="387156"/>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 name="Rectangle 51">
            <a:extLst>
              <a:ext uri="{FF2B5EF4-FFF2-40B4-BE49-F238E27FC236}">
                <a16:creationId xmlns:a16="http://schemas.microsoft.com/office/drawing/2014/main" id="{1422C728-89C0-80F4-E249-FDCA09938442}"/>
              </a:ext>
            </a:extLst>
          </p:cNvPr>
          <p:cNvSpPr/>
          <p:nvPr/>
        </p:nvSpPr>
        <p:spPr>
          <a:xfrm>
            <a:off x="9734548" y="978570"/>
            <a:ext cx="2003869" cy="444492"/>
          </a:xfrm>
          <a:prstGeom prst="rect">
            <a:avLst/>
          </a:prstGeom>
          <a:solidFill>
            <a:srgbClr val="004068"/>
          </a:solidFill>
          <a:ln>
            <a:noFill/>
          </a:ln>
        </p:spPr>
        <p:style>
          <a:lnRef idx="2">
            <a:schemeClr val="accent1">
              <a:shade val="15000"/>
            </a:schemeClr>
          </a:lnRef>
          <a:fillRef idx="1">
            <a:schemeClr val="accent1"/>
          </a:fillRef>
          <a:effectRef idx="0">
            <a:schemeClr val="accent1"/>
          </a:effectRef>
          <a:fontRef idx="minor">
            <a:schemeClr val="lt1"/>
          </a:fontRef>
        </p:style>
        <p:txBody>
          <a:bodyPr lIns="45357" tIns="45357" rIns="45357" bIns="45357" rtlCol="0" anchor="ctr"/>
          <a:lstStyle/>
          <a:p>
            <a:pPr marR="0" lvl="0" indent="0" algn="ctr" fontAlgn="base">
              <a:lnSpc>
                <a:spcPct val="100000"/>
              </a:lnSpc>
              <a:spcBef>
                <a:spcPct val="0"/>
              </a:spcBef>
              <a:spcAft>
                <a:spcPct val="0"/>
              </a:spcAft>
              <a:buClrTx/>
              <a:buSzTx/>
              <a:buFontTx/>
              <a:buNone/>
              <a:tabLst/>
              <a:defRPr/>
            </a:pPr>
            <a:r>
              <a:rPr lang="en-US" sz="1400">
                <a:solidFill>
                  <a:schemeClr val="bg1"/>
                </a:solidFill>
                <a:latin typeface="Barlow Condensed Medium" panose="00000606000000000000" pitchFamily="2" charset="0"/>
              </a:rPr>
              <a:t>          Records Management &amp;  </a:t>
            </a:r>
          </a:p>
          <a:p>
            <a:pPr marR="0" lvl="0" indent="0" algn="ctr" fontAlgn="base">
              <a:lnSpc>
                <a:spcPct val="100000"/>
              </a:lnSpc>
              <a:spcBef>
                <a:spcPct val="0"/>
              </a:spcBef>
              <a:spcAft>
                <a:spcPct val="0"/>
              </a:spcAft>
              <a:buClrTx/>
              <a:buSzTx/>
              <a:buFontTx/>
              <a:buNone/>
              <a:tabLst/>
              <a:defRPr/>
            </a:pPr>
            <a:r>
              <a:rPr lang="en-US" sz="1400">
                <a:solidFill>
                  <a:schemeClr val="bg1"/>
                </a:solidFill>
                <a:latin typeface="Barlow Condensed Medium" panose="00000606000000000000" pitchFamily="2" charset="0"/>
              </a:rPr>
              <a:t>     eDiscovery</a:t>
            </a:r>
          </a:p>
        </p:txBody>
      </p:sp>
      <p:sp>
        <p:nvSpPr>
          <p:cNvPr id="978" name="Isosceles Triangle 977">
            <a:extLst>
              <a:ext uri="{FF2B5EF4-FFF2-40B4-BE49-F238E27FC236}">
                <a16:creationId xmlns:a16="http://schemas.microsoft.com/office/drawing/2014/main" id="{13AA776B-CF90-12C4-CA70-AA0D0E06E9E1}"/>
              </a:ext>
            </a:extLst>
          </p:cNvPr>
          <p:cNvSpPr/>
          <p:nvPr/>
        </p:nvSpPr>
        <p:spPr>
          <a:xfrm rot="5400000">
            <a:off x="9704791" y="1008597"/>
            <a:ext cx="446673" cy="387156"/>
          </a:xfrm>
          <a:prstGeom prst="triangle">
            <a:avLst/>
          </a:prstGeom>
          <a:solidFill>
            <a:srgbClr val="5D7B9A"/>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a:extLst>
              <a:ext uri="{FF2B5EF4-FFF2-40B4-BE49-F238E27FC236}">
                <a16:creationId xmlns:a16="http://schemas.microsoft.com/office/drawing/2014/main" id="{0ADA7295-5DE0-4220-505F-4EDE5952F6EC}"/>
              </a:ext>
            </a:extLst>
          </p:cNvPr>
          <p:cNvSpPr/>
          <p:nvPr/>
        </p:nvSpPr>
        <p:spPr>
          <a:xfrm>
            <a:off x="7440418" y="978570"/>
            <a:ext cx="2303658" cy="44449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45357" tIns="45357" rIns="45357" bIns="45357" rtlCol="0" anchor="ctr"/>
          <a:lstStyle/>
          <a:p>
            <a:pPr marR="0" lvl="0" indent="0" algn="ctr" fontAlgn="base">
              <a:lnSpc>
                <a:spcPct val="100000"/>
              </a:lnSpc>
              <a:spcBef>
                <a:spcPct val="0"/>
              </a:spcBef>
              <a:spcAft>
                <a:spcPct val="0"/>
              </a:spcAft>
              <a:buClrTx/>
              <a:buSzTx/>
              <a:buFontTx/>
              <a:buNone/>
              <a:tabLst/>
              <a:defRPr/>
            </a:pPr>
            <a:r>
              <a:rPr lang="en-US" sz="1400">
                <a:solidFill>
                  <a:schemeClr val="bg1"/>
                </a:solidFill>
                <a:latin typeface="Barlow Condensed Medium" panose="00000606000000000000" pitchFamily="2" charset="0"/>
              </a:rPr>
              <a:t>        Insider Risk Management</a:t>
            </a:r>
            <a:endParaRPr lang="en-US" sz="1300">
              <a:solidFill>
                <a:schemeClr val="bg1"/>
              </a:solidFill>
              <a:latin typeface="Barlow Condensed Medium" panose="00000606000000000000" pitchFamily="2" charset="0"/>
            </a:endParaRPr>
          </a:p>
        </p:txBody>
      </p:sp>
      <p:sp>
        <p:nvSpPr>
          <p:cNvPr id="956" name="Isosceles Triangle 955">
            <a:extLst>
              <a:ext uri="{FF2B5EF4-FFF2-40B4-BE49-F238E27FC236}">
                <a16:creationId xmlns:a16="http://schemas.microsoft.com/office/drawing/2014/main" id="{E2EBCA8E-D029-1FC4-A7B1-D5AC051EAA60}"/>
              </a:ext>
            </a:extLst>
          </p:cNvPr>
          <p:cNvSpPr/>
          <p:nvPr/>
        </p:nvSpPr>
        <p:spPr>
          <a:xfrm rot="5400000">
            <a:off x="7401133" y="1008594"/>
            <a:ext cx="446673" cy="387156"/>
          </a:xfrm>
          <a:prstGeom prst="triangl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a:extLst>
              <a:ext uri="{FF2B5EF4-FFF2-40B4-BE49-F238E27FC236}">
                <a16:creationId xmlns:a16="http://schemas.microsoft.com/office/drawing/2014/main" id="{755A852A-3D64-CDB0-3D26-3BBD825BD3C6}"/>
              </a:ext>
            </a:extLst>
          </p:cNvPr>
          <p:cNvSpPr/>
          <p:nvPr/>
        </p:nvSpPr>
        <p:spPr>
          <a:xfrm>
            <a:off x="0" y="5538975"/>
            <a:ext cx="12192000" cy="131587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aphicFrame>
        <p:nvGraphicFramePr>
          <p:cNvPr id="34" name="think-cell data - do not delete" hidden="1">
            <a:extLst>
              <a:ext uri="{FF2B5EF4-FFF2-40B4-BE49-F238E27FC236}">
                <a16:creationId xmlns:a16="http://schemas.microsoft.com/office/drawing/2014/main" id="{0ECBB01C-6A0C-874D-A0E9-59747BECA8CB}"/>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34" name="think-cell data - do not delete" hidden="1">
                        <a:extLst>
                          <a:ext uri="{FF2B5EF4-FFF2-40B4-BE49-F238E27FC236}">
                            <a16:creationId xmlns:a16="http://schemas.microsoft.com/office/drawing/2014/main" id="{0ECBB01C-6A0C-874D-A0E9-59747BECA8CB}"/>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332E0F5-E1C2-BBED-8580-3186C8A81B6F}"/>
              </a:ext>
            </a:extLst>
          </p:cNvPr>
          <p:cNvSpPr>
            <a:spLocks noGrp="1"/>
          </p:cNvSpPr>
          <p:nvPr>
            <p:ph type="title"/>
          </p:nvPr>
        </p:nvSpPr>
        <p:spPr>
          <a:xfrm>
            <a:off x="686287" y="412484"/>
            <a:ext cx="10915161" cy="443201"/>
          </a:xfrm>
        </p:spPr>
        <p:txBody>
          <a:bodyPr vert="horz">
            <a:normAutofit fontScale="90000"/>
          </a:bodyPr>
          <a:lstStyle/>
          <a:p>
            <a:r>
              <a:rPr lang="en-US" sz="3600"/>
              <a:t>Protiviti Services &amp; Approach: Microsoft Purview for AI</a:t>
            </a:r>
          </a:p>
        </p:txBody>
      </p:sp>
      <p:sp>
        <p:nvSpPr>
          <p:cNvPr id="16" name="Rectangle 15">
            <a:extLst>
              <a:ext uri="{FF2B5EF4-FFF2-40B4-BE49-F238E27FC236}">
                <a16:creationId xmlns:a16="http://schemas.microsoft.com/office/drawing/2014/main" id="{FDB74FD4-039D-D78D-C88E-CAC5FC1A1B6E}"/>
              </a:ext>
            </a:extLst>
          </p:cNvPr>
          <p:cNvSpPr/>
          <p:nvPr/>
        </p:nvSpPr>
        <p:spPr>
          <a:xfrm>
            <a:off x="5050914" y="978570"/>
            <a:ext cx="2389504" cy="44449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45357" tIns="45357" rIns="45357" bIns="45357" rtlCol="0" anchor="ctr"/>
          <a:lstStyle/>
          <a:p>
            <a:pPr marR="0" lvl="0" indent="0" algn="ctr" fontAlgn="base">
              <a:lnSpc>
                <a:spcPct val="100000"/>
              </a:lnSpc>
              <a:spcBef>
                <a:spcPct val="0"/>
              </a:spcBef>
              <a:spcAft>
                <a:spcPct val="0"/>
              </a:spcAft>
              <a:buClrTx/>
              <a:buSzTx/>
              <a:buFontTx/>
              <a:buNone/>
              <a:tabLst/>
              <a:defRPr/>
            </a:pPr>
            <a:r>
              <a:rPr lang="en-US" sz="1400">
                <a:solidFill>
                  <a:schemeClr val="bg1"/>
                </a:solidFill>
                <a:latin typeface="Barlow Condensed Medium" panose="00000606000000000000" pitchFamily="2" charset="0"/>
              </a:rPr>
              <a:t> Data Loss Prevention</a:t>
            </a:r>
          </a:p>
        </p:txBody>
      </p:sp>
      <p:sp>
        <p:nvSpPr>
          <p:cNvPr id="30" name="Rectangle 29">
            <a:extLst>
              <a:ext uri="{FF2B5EF4-FFF2-40B4-BE49-F238E27FC236}">
                <a16:creationId xmlns:a16="http://schemas.microsoft.com/office/drawing/2014/main" id="{3D9B15AC-1D5C-C307-517C-F45578031FD4}"/>
              </a:ext>
            </a:extLst>
          </p:cNvPr>
          <p:cNvSpPr/>
          <p:nvPr/>
        </p:nvSpPr>
        <p:spPr>
          <a:xfrm>
            <a:off x="750288" y="3631900"/>
            <a:ext cx="2075197" cy="79508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173736" marR="0" lvl="0" indent="-173736" defTabSz="1219170" fontAlgn="auto">
              <a:lnSpc>
                <a:spcPct val="100000"/>
              </a:lnSpc>
              <a:spcBef>
                <a:spcPts val="100"/>
              </a:spcBef>
              <a:spcAft>
                <a:spcPts val="100"/>
              </a:spcAft>
              <a:buClr>
                <a:srgbClr val="3C3D3E"/>
              </a:buClr>
              <a:buSzPct val="100000"/>
              <a:buFont typeface="Arial" panose="020B0604020202020204" pitchFamily="34" charset="0"/>
              <a:buChar char="•"/>
              <a:tabLst/>
              <a:defRPr/>
            </a:pPr>
            <a:r>
              <a:rPr lang="en-US" sz="1000" kern="0">
                <a:solidFill>
                  <a:srgbClr val="000000"/>
                </a:solidFill>
                <a:ea typeface="Batang" panose="020B0503020000020004" pitchFamily="18" charset="-127"/>
                <a:cs typeface="Arial" panose="020B0604020202020204" pitchFamily="34" charset="0"/>
              </a:rPr>
              <a:t>Communication compliance monitoring</a:t>
            </a:r>
          </a:p>
          <a:p>
            <a:pPr marL="173736" marR="0" lvl="0" indent="-173736" defTabSz="1219170" fontAlgn="auto">
              <a:lnSpc>
                <a:spcPct val="100000"/>
              </a:lnSpc>
              <a:spcBef>
                <a:spcPts val="100"/>
              </a:spcBef>
              <a:spcAft>
                <a:spcPts val="100"/>
              </a:spcAft>
              <a:buClr>
                <a:srgbClr val="3C3D3E"/>
              </a:buClr>
              <a:buSzPct val="100000"/>
              <a:buFont typeface="Arial" panose="020B0604020202020204" pitchFamily="34" charset="0"/>
              <a:buChar char="•"/>
              <a:tabLst/>
              <a:defRPr/>
            </a:pPr>
            <a:r>
              <a:rPr lang="en-US" sz="1000" kern="0">
                <a:solidFill>
                  <a:srgbClr val="000000"/>
                </a:solidFill>
                <a:ea typeface="Batang" panose="020B0503020000020004" pitchFamily="18" charset="-127"/>
                <a:cs typeface="Arial" panose="020B0604020202020204" pitchFamily="34" charset="0"/>
              </a:rPr>
              <a:t>Defender for Cloud Apps monitoring &amp; policies to migrate shadow AI</a:t>
            </a:r>
          </a:p>
        </p:txBody>
      </p:sp>
      <p:sp>
        <p:nvSpPr>
          <p:cNvPr id="36" name="Rectangle 35">
            <a:extLst>
              <a:ext uri="{FF2B5EF4-FFF2-40B4-BE49-F238E27FC236}">
                <a16:creationId xmlns:a16="http://schemas.microsoft.com/office/drawing/2014/main" id="{C13F6FD3-DC63-3965-8E94-3D15520F0339}"/>
              </a:ext>
            </a:extLst>
          </p:cNvPr>
          <p:cNvSpPr/>
          <p:nvPr/>
        </p:nvSpPr>
        <p:spPr>
          <a:xfrm>
            <a:off x="5279809" y="3631900"/>
            <a:ext cx="2043396" cy="66684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Role &amp; responsibility definition, training</a:t>
            </a:r>
          </a:p>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Alert monitoring and resolution</a:t>
            </a:r>
          </a:p>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DLP policy optimization </a:t>
            </a:r>
          </a:p>
        </p:txBody>
      </p:sp>
      <p:sp>
        <p:nvSpPr>
          <p:cNvPr id="45" name="Rectangle 44">
            <a:extLst>
              <a:ext uri="{FF2B5EF4-FFF2-40B4-BE49-F238E27FC236}">
                <a16:creationId xmlns:a16="http://schemas.microsoft.com/office/drawing/2014/main" id="{8AABA096-0E33-0E33-216B-02E52C6ED40C}"/>
              </a:ext>
            </a:extLst>
          </p:cNvPr>
          <p:cNvSpPr/>
          <p:nvPr/>
        </p:nvSpPr>
        <p:spPr>
          <a:xfrm>
            <a:off x="7632582" y="3631900"/>
            <a:ext cx="2023680" cy="5129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Alert monitoring and resolution</a:t>
            </a:r>
          </a:p>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Refine IRM workflows</a:t>
            </a:r>
          </a:p>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Incident Response</a:t>
            </a:r>
          </a:p>
        </p:txBody>
      </p:sp>
      <p:grpSp>
        <p:nvGrpSpPr>
          <p:cNvPr id="23" name="Group 22">
            <a:extLst>
              <a:ext uri="{FF2B5EF4-FFF2-40B4-BE49-F238E27FC236}">
                <a16:creationId xmlns:a16="http://schemas.microsoft.com/office/drawing/2014/main" id="{681ED5B5-53F8-5A5F-F4D5-02AD222A06ED}"/>
              </a:ext>
            </a:extLst>
          </p:cNvPr>
          <p:cNvGrpSpPr/>
          <p:nvPr/>
        </p:nvGrpSpPr>
        <p:grpSpPr>
          <a:xfrm>
            <a:off x="80268" y="3684142"/>
            <a:ext cx="520931" cy="612174"/>
            <a:chOff x="762656" y="5425691"/>
            <a:chExt cx="520931" cy="612174"/>
          </a:xfrm>
        </p:grpSpPr>
        <p:sp>
          <p:nvSpPr>
            <p:cNvPr id="25" name="object 21">
              <a:extLst>
                <a:ext uri="{FF2B5EF4-FFF2-40B4-BE49-F238E27FC236}">
                  <a16:creationId xmlns:a16="http://schemas.microsoft.com/office/drawing/2014/main" id="{688822BC-30B4-800F-D414-4810B6C60DEB}"/>
                </a:ext>
              </a:extLst>
            </p:cNvPr>
            <p:cNvSpPr txBox="1"/>
            <p:nvPr/>
          </p:nvSpPr>
          <p:spPr>
            <a:xfrm>
              <a:off x="762656" y="5774545"/>
              <a:ext cx="520931" cy="263320"/>
            </a:xfrm>
            <a:prstGeom prst="rect">
              <a:avLst/>
            </a:prstGeom>
            <a:noFill/>
            <a:ln>
              <a:noFill/>
            </a:ln>
          </p:spPr>
          <p:txBody>
            <a:bodyPr vert="horz" wrap="square" lIns="0" tIns="16933" rIns="0" bIns="0" rtlCol="0">
              <a:spAutoFit/>
            </a:bodyPr>
            <a:lstStyle/>
            <a:p>
              <a:pPr marL="16933" marR="6773" lvl="0" indent="-2540" algn="ctr" defTabSz="1219170" rtl="0" eaLnBrk="1" fontAlgn="auto" latinLnBrk="0" hangingPunct="1">
                <a:lnSpc>
                  <a:spcPct val="100000"/>
                </a:lnSpc>
                <a:spcBef>
                  <a:spcPts val="133"/>
                </a:spcBef>
                <a:spcAft>
                  <a:spcPts val="0"/>
                </a:spcAft>
                <a:buClrTx/>
                <a:buSzTx/>
                <a:buFontTx/>
                <a:buNone/>
                <a:tabLst/>
                <a:defRPr/>
              </a:pPr>
              <a:r>
                <a:rPr kumimoji="0" lang="en-US" sz="1600" i="0" u="none" strike="noStrike" kern="0" cap="none" spc="0" normalizeH="0" baseline="0" noProof="0">
                  <a:ln>
                    <a:noFill/>
                  </a:ln>
                  <a:effectLst/>
                  <a:uLnTx/>
                  <a:uFillTx/>
                  <a:latin typeface="Barlow Condensed Medium" panose="00000606000000000000" pitchFamily="2" charset="0"/>
                  <a:cs typeface="Arial"/>
                </a:rPr>
                <a:t>Run</a:t>
              </a:r>
            </a:p>
          </p:txBody>
        </p:sp>
        <p:sp>
          <p:nvSpPr>
            <p:cNvPr id="26" name="Graphic 915">
              <a:extLst>
                <a:ext uri="{FF2B5EF4-FFF2-40B4-BE49-F238E27FC236}">
                  <a16:creationId xmlns:a16="http://schemas.microsoft.com/office/drawing/2014/main" id="{A04DD716-5E42-D4B5-5763-9006BFD7ABC3}"/>
                </a:ext>
              </a:extLst>
            </p:cNvPr>
            <p:cNvSpPr/>
            <p:nvPr/>
          </p:nvSpPr>
          <p:spPr>
            <a:xfrm>
              <a:off x="783033" y="5425691"/>
              <a:ext cx="409925" cy="329609"/>
            </a:xfrm>
            <a:custGeom>
              <a:avLst/>
              <a:gdLst>
                <a:gd name="connsiteX0" fmla="*/ 346960 w 427212"/>
                <a:gd name="connsiteY0" fmla="*/ 296385 h 343511"/>
                <a:gd name="connsiteX1" fmla="*/ 357069 w 427212"/>
                <a:gd name="connsiteY1" fmla="*/ 310147 h 343511"/>
                <a:gd name="connsiteX2" fmla="*/ 255508 w 427212"/>
                <a:gd name="connsiteY2" fmla="*/ 343511 h 343511"/>
                <a:gd name="connsiteX3" fmla="*/ 104054 w 427212"/>
                <a:gd name="connsiteY3" fmla="*/ 252639 h 343511"/>
                <a:gd name="connsiteX4" fmla="*/ 123724 w 427212"/>
                <a:gd name="connsiteY4" fmla="*/ 252639 h 343511"/>
                <a:gd name="connsiteX5" fmla="*/ 255508 w 427212"/>
                <a:gd name="connsiteY5" fmla="*/ 326437 h 343511"/>
                <a:gd name="connsiteX6" fmla="*/ 346960 w 427212"/>
                <a:gd name="connsiteY6" fmla="*/ 296385 h 343511"/>
                <a:gd name="connsiteX7" fmla="*/ 255508 w 427212"/>
                <a:gd name="connsiteY7" fmla="*/ 0 h 343511"/>
                <a:gd name="connsiteX8" fmla="*/ 103439 w 427212"/>
                <a:gd name="connsiteY8" fmla="*/ 92033 h 343511"/>
                <a:gd name="connsiteX9" fmla="*/ 123007 w 427212"/>
                <a:gd name="connsiteY9" fmla="*/ 92033 h 343511"/>
                <a:gd name="connsiteX10" fmla="*/ 255508 w 427212"/>
                <a:gd name="connsiteY10" fmla="*/ 17075 h 343511"/>
                <a:gd name="connsiteX11" fmla="*/ 410172 w 427212"/>
                <a:gd name="connsiteY11" fmla="*/ 171739 h 343511"/>
                <a:gd name="connsiteX12" fmla="*/ 380188 w 427212"/>
                <a:gd name="connsiteY12" fmla="*/ 263089 h 343511"/>
                <a:gd name="connsiteX13" fmla="*/ 393950 w 427212"/>
                <a:gd name="connsiteY13" fmla="*/ 273163 h 343511"/>
                <a:gd name="connsiteX14" fmla="*/ 427212 w 427212"/>
                <a:gd name="connsiteY14" fmla="*/ 171704 h 343511"/>
                <a:gd name="connsiteX15" fmla="*/ 255508 w 427212"/>
                <a:gd name="connsiteY15" fmla="*/ 0 h 343511"/>
                <a:gd name="connsiteX16" fmla="*/ 246970 w 427212"/>
                <a:gd name="connsiteY16" fmla="*/ 46444 h 343511"/>
                <a:gd name="connsiteX17" fmla="*/ 246970 w 427212"/>
                <a:gd name="connsiteY17" fmla="*/ 180276 h 343511"/>
                <a:gd name="connsiteX18" fmla="*/ 321417 w 427212"/>
                <a:gd name="connsiteY18" fmla="*/ 180276 h 343511"/>
                <a:gd name="connsiteX19" fmla="*/ 321417 w 427212"/>
                <a:gd name="connsiteY19" fmla="*/ 163201 h 343511"/>
                <a:gd name="connsiteX20" fmla="*/ 264045 w 427212"/>
                <a:gd name="connsiteY20" fmla="*/ 163201 h 343511"/>
                <a:gd name="connsiteX21" fmla="*/ 264045 w 427212"/>
                <a:gd name="connsiteY21" fmla="*/ 46444 h 343511"/>
                <a:gd name="connsiteX22" fmla="*/ 246970 w 427212"/>
                <a:gd name="connsiteY22" fmla="*/ 46444 h 343511"/>
                <a:gd name="connsiteX23" fmla="*/ 371036 w 427212"/>
                <a:gd name="connsiteY23" fmla="*/ 274529 h 343511"/>
                <a:gd name="connsiteX24" fmla="*/ 370934 w 427212"/>
                <a:gd name="connsiteY24" fmla="*/ 274529 h 343511"/>
                <a:gd name="connsiteX25" fmla="*/ 358742 w 427212"/>
                <a:gd name="connsiteY25" fmla="*/ 286755 h 343511"/>
                <a:gd name="connsiteX26" fmla="*/ 358742 w 427212"/>
                <a:gd name="connsiteY26" fmla="*/ 286789 h 343511"/>
                <a:gd name="connsiteX27" fmla="*/ 370592 w 427212"/>
                <a:gd name="connsiteY27" fmla="*/ 299049 h 343511"/>
                <a:gd name="connsiteX28" fmla="*/ 371036 w 427212"/>
                <a:gd name="connsiteY28" fmla="*/ 299083 h 343511"/>
                <a:gd name="connsiteX29" fmla="*/ 383330 w 427212"/>
                <a:gd name="connsiteY29" fmla="*/ 286789 h 343511"/>
                <a:gd name="connsiteX30" fmla="*/ 383296 w 427212"/>
                <a:gd name="connsiteY30" fmla="*/ 286277 h 343511"/>
                <a:gd name="connsiteX31" fmla="*/ 371036 w 427212"/>
                <a:gd name="connsiteY31" fmla="*/ 274529 h 343511"/>
                <a:gd name="connsiteX32" fmla="*/ 89609 w 427212"/>
                <a:gd name="connsiteY32" fmla="*/ 127242 h 343511"/>
                <a:gd name="connsiteX33" fmla="*/ 107367 w 427212"/>
                <a:gd name="connsiteY33" fmla="*/ 127242 h 343511"/>
                <a:gd name="connsiteX34" fmla="*/ 143736 w 427212"/>
                <a:gd name="connsiteY34" fmla="*/ 127242 h 343511"/>
                <a:gd name="connsiteX35" fmla="*/ 143736 w 427212"/>
                <a:gd name="connsiteY35" fmla="*/ 110167 h 343511"/>
                <a:gd name="connsiteX36" fmla="*/ 113616 w 427212"/>
                <a:gd name="connsiteY36" fmla="*/ 110167 h 343511"/>
                <a:gd name="connsiteX37" fmla="*/ 95175 w 427212"/>
                <a:gd name="connsiteY37" fmla="*/ 110167 h 343511"/>
                <a:gd name="connsiteX38" fmla="*/ 66694 w 427212"/>
                <a:gd name="connsiteY38" fmla="*/ 110167 h 343511"/>
                <a:gd name="connsiteX39" fmla="*/ 34116 w 427212"/>
                <a:gd name="connsiteY39" fmla="*/ 110167 h 343511"/>
                <a:gd name="connsiteX40" fmla="*/ 34116 w 427212"/>
                <a:gd name="connsiteY40" fmla="*/ 127242 h 343511"/>
                <a:gd name="connsiteX41" fmla="*/ 66694 w 427212"/>
                <a:gd name="connsiteY41" fmla="*/ 127242 h 343511"/>
                <a:gd name="connsiteX42" fmla="*/ 89609 w 427212"/>
                <a:gd name="connsiteY42" fmla="*/ 127242 h 343511"/>
                <a:gd name="connsiteX43" fmla="*/ 143736 w 427212"/>
                <a:gd name="connsiteY43" fmla="*/ 233310 h 343511"/>
                <a:gd name="connsiteX44" fmla="*/ 143736 w 427212"/>
                <a:gd name="connsiteY44" fmla="*/ 216236 h 343511"/>
                <a:gd name="connsiteX45" fmla="*/ 107367 w 427212"/>
                <a:gd name="connsiteY45" fmla="*/ 216236 h 343511"/>
                <a:gd name="connsiteX46" fmla="*/ 89609 w 427212"/>
                <a:gd name="connsiteY46" fmla="*/ 216236 h 343511"/>
                <a:gd name="connsiteX47" fmla="*/ 66694 w 427212"/>
                <a:gd name="connsiteY47" fmla="*/ 216236 h 343511"/>
                <a:gd name="connsiteX48" fmla="*/ 34116 w 427212"/>
                <a:gd name="connsiteY48" fmla="*/ 216236 h 343511"/>
                <a:gd name="connsiteX49" fmla="*/ 34116 w 427212"/>
                <a:gd name="connsiteY49" fmla="*/ 233310 h 343511"/>
                <a:gd name="connsiteX50" fmla="*/ 66694 w 427212"/>
                <a:gd name="connsiteY50" fmla="*/ 233310 h 343511"/>
                <a:gd name="connsiteX51" fmla="*/ 95175 w 427212"/>
                <a:gd name="connsiteY51" fmla="*/ 233310 h 343511"/>
                <a:gd name="connsiteX52" fmla="*/ 113616 w 427212"/>
                <a:gd name="connsiteY52" fmla="*/ 233310 h 343511"/>
                <a:gd name="connsiteX53" fmla="*/ 143736 w 427212"/>
                <a:gd name="connsiteY53" fmla="*/ 233310 h 343511"/>
                <a:gd name="connsiteX54" fmla="*/ 83974 w 427212"/>
                <a:gd name="connsiteY54" fmla="*/ 180276 h 343511"/>
                <a:gd name="connsiteX55" fmla="*/ 101083 w 427212"/>
                <a:gd name="connsiteY55" fmla="*/ 180276 h 343511"/>
                <a:gd name="connsiteX56" fmla="*/ 117885 w 427212"/>
                <a:gd name="connsiteY56" fmla="*/ 180276 h 343511"/>
                <a:gd name="connsiteX57" fmla="*/ 117885 w 427212"/>
                <a:gd name="connsiteY57" fmla="*/ 163201 h 343511"/>
                <a:gd name="connsiteX58" fmla="*/ 101083 w 427212"/>
                <a:gd name="connsiteY58" fmla="*/ 163201 h 343511"/>
                <a:gd name="connsiteX59" fmla="*/ 83974 w 427212"/>
                <a:gd name="connsiteY59" fmla="*/ 163201 h 343511"/>
                <a:gd name="connsiteX60" fmla="*/ 66728 w 427212"/>
                <a:gd name="connsiteY60" fmla="*/ 163201 h 343511"/>
                <a:gd name="connsiteX61" fmla="*/ 0 w 427212"/>
                <a:gd name="connsiteY61" fmla="*/ 163201 h 343511"/>
                <a:gd name="connsiteX62" fmla="*/ 0 w 427212"/>
                <a:gd name="connsiteY62" fmla="*/ 180276 h 343511"/>
                <a:gd name="connsiteX63" fmla="*/ 66728 w 427212"/>
                <a:gd name="connsiteY63" fmla="*/ 180276 h 343511"/>
                <a:gd name="connsiteX64" fmla="*/ 83974 w 427212"/>
                <a:gd name="connsiteY64" fmla="*/ 180276 h 343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27212" h="343511">
                  <a:moveTo>
                    <a:pt x="346960" y="296385"/>
                  </a:moveTo>
                  <a:lnTo>
                    <a:pt x="357069" y="310147"/>
                  </a:lnTo>
                  <a:cubicBezTo>
                    <a:pt x="328588" y="331081"/>
                    <a:pt x="293482" y="343511"/>
                    <a:pt x="255508" y="343511"/>
                  </a:cubicBezTo>
                  <a:cubicBezTo>
                    <a:pt x="190009" y="343511"/>
                    <a:pt x="133013" y="306664"/>
                    <a:pt x="104054" y="252639"/>
                  </a:cubicBezTo>
                  <a:lnTo>
                    <a:pt x="123724" y="252639"/>
                  </a:lnTo>
                  <a:cubicBezTo>
                    <a:pt x="150976" y="296897"/>
                    <a:pt x="199844" y="326437"/>
                    <a:pt x="255508" y="326437"/>
                  </a:cubicBezTo>
                  <a:cubicBezTo>
                    <a:pt x="289692" y="326402"/>
                    <a:pt x="321314" y="315235"/>
                    <a:pt x="346960" y="296385"/>
                  </a:cubicBezTo>
                  <a:close/>
                  <a:moveTo>
                    <a:pt x="255508" y="0"/>
                  </a:moveTo>
                  <a:cubicBezTo>
                    <a:pt x="189565" y="0"/>
                    <a:pt x="132227" y="37360"/>
                    <a:pt x="103439" y="92033"/>
                  </a:cubicBezTo>
                  <a:lnTo>
                    <a:pt x="123007" y="92033"/>
                  </a:lnTo>
                  <a:cubicBezTo>
                    <a:pt x="150122" y="47161"/>
                    <a:pt x="199366" y="17075"/>
                    <a:pt x="255508" y="17075"/>
                  </a:cubicBezTo>
                  <a:cubicBezTo>
                    <a:pt x="340814" y="17075"/>
                    <a:pt x="410172" y="86467"/>
                    <a:pt x="410172" y="171739"/>
                  </a:cubicBezTo>
                  <a:cubicBezTo>
                    <a:pt x="410172" y="205888"/>
                    <a:pt x="399039" y="237477"/>
                    <a:pt x="380188" y="263089"/>
                  </a:cubicBezTo>
                  <a:lnTo>
                    <a:pt x="393950" y="273163"/>
                  </a:lnTo>
                  <a:cubicBezTo>
                    <a:pt x="414850" y="244716"/>
                    <a:pt x="427212" y="209645"/>
                    <a:pt x="427212" y="171704"/>
                  </a:cubicBezTo>
                  <a:cubicBezTo>
                    <a:pt x="427246" y="77042"/>
                    <a:pt x="350205" y="0"/>
                    <a:pt x="255508" y="0"/>
                  </a:cubicBezTo>
                  <a:close/>
                  <a:moveTo>
                    <a:pt x="246970" y="46444"/>
                  </a:moveTo>
                  <a:lnTo>
                    <a:pt x="246970" y="180276"/>
                  </a:lnTo>
                  <a:lnTo>
                    <a:pt x="321417" y="180276"/>
                  </a:lnTo>
                  <a:lnTo>
                    <a:pt x="321417" y="163201"/>
                  </a:lnTo>
                  <a:lnTo>
                    <a:pt x="264045" y="163201"/>
                  </a:lnTo>
                  <a:lnTo>
                    <a:pt x="264045" y="46444"/>
                  </a:lnTo>
                  <a:lnTo>
                    <a:pt x="246970" y="46444"/>
                  </a:lnTo>
                  <a:close/>
                  <a:moveTo>
                    <a:pt x="371036" y="274529"/>
                  </a:moveTo>
                  <a:cubicBezTo>
                    <a:pt x="371002" y="274529"/>
                    <a:pt x="370968" y="274529"/>
                    <a:pt x="370934" y="274529"/>
                  </a:cubicBezTo>
                  <a:cubicBezTo>
                    <a:pt x="364206" y="274597"/>
                    <a:pt x="358776" y="280027"/>
                    <a:pt x="358742" y="286755"/>
                  </a:cubicBezTo>
                  <a:cubicBezTo>
                    <a:pt x="358742" y="286755"/>
                    <a:pt x="358742" y="286789"/>
                    <a:pt x="358742" y="286789"/>
                  </a:cubicBezTo>
                  <a:cubicBezTo>
                    <a:pt x="358742" y="293448"/>
                    <a:pt x="364035" y="298809"/>
                    <a:pt x="370592" y="299049"/>
                  </a:cubicBezTo>
                  <a:cubicBezTo>
                    <a:pt x="370729" y="299049"/>
                    <a:pt x="370865" y="299083"/>
                    <a:pt x="371036" y="299083"/>
                  </a:cubicBezTo>
                  <a:cubicBezTo>
                    <a:pt x="377832" y="299083"/>
                    <a:pt x="383330" y="293585"/>
                    <a:pt x="383330" y="286789"/>
                  </a:cubicBezTo>
                  <a:cubicBezTo>
                    <a:pt x="383330" y="286618"/>
                    <a:pt x="383296" y="286447"/>
                    <a:pt x="383296" y="286277"/>
                  </a:cubicBezTo>
                  <a:cubicBezTo>
                    <a:pt x="383023" y="279788"/>
                    <a:pt x="377661" y="274529"/>
                    <a:pt x="371036" y="274529"/>
                  </a:cubicBezTo>
                  <a:close/>
                  <a:moveTo>
                    <a:pt x="89609" y="127242"/>
                  </a:moveTo>
                  <a:lnTo>
                    <a:pt x="107367" y="127242"/>
                  </a:lnTo>
                  <a:lnTo>
                    <a:pt x="143736" y="127242"/>
                  </a:lnTo>
                  <a:lnTo>
                    <a:pt x="143736" y="110167"/>
                  </a:lnTo>
                  <a:lnTo>
                    <a:pt x="113616" y="110167"/>
                  </a:lnTo>
                  <a:lnTo>
                    <a:pt x="95175" y="110167"/>
                  </a:lnTo>
                  <a:lnTo>
                    <a:pt x="66694" y="110167"/>
                  </a:lnTo>
                  <a:lnTo>
                    <a:pt x="34116" y="110167"/>
                  </a:lnTo>
                  <a:lnTo>
                    <a:pt x="34116" y="127242"/>
                  </a:lnTo>
                  <a:lnTo>
                    <a:pt x="66694" y="127242"/>
                  </a:lnTo>
                  <a:lnTo>
                    <a:pt x="89609" y="127242"/>
                  </a:lnTo>
                  <a:close/>
                  <a:moveTo>
                    <a:pt x="143736" y="233310"/>
                  </a:moveTo>
                  <a:lnTo>
                    <a:pt x="143736" y="216236"/>
                  </a:lnTo>
                  <a:lnTo>
                    <a:pt x="107367" y="216236"/>
                  </a:lnTo>
                  <a:lnTo>
                    <a:pt x="89609" y="216236"/>
                  </a:lnTo>
                  <a:lnTo>
                    <a:pt x="66694" y="216236"/>
                  </a:lnTo>
                  <a:lnTo>
                    <a:pt x="34116" y="216236"/>
                  </a:lnTo>
                  <a:lnTo>
                    <a:pt x="34116" y="233310"/>
                  </a:lnTo>
                  <a:lnTo>
                    <a:pt x="66694" y="233310"/>
                  </a:lnTo>
                  <a:lnTo>
                    <a:pt x="95175" y="233310"/>
                  </a:lnTo>
                  <a:lnTo>
                    <a:pt x="113616" y="233310"/>
                  </a:lnTo>
                  <a:lnTo>
                    <a:pt x="143736" y="233310"/>
                  </a:lnTo>
                  <a:close/>
                  <a:moveTo>
                    <a:pt x="83974" y="180276"/>
                  </a:moveTo>
                  <a:lnTo>
                    <a:pt x="101083" y="180276"/>
                  </a:lnTo>
                  <a:lnTo>
                    <a:pt x="117885" y="180276"/>
                  </a:lnTo>
                  <a:lnTo>
                    <a:pt x="117885" y="163201"/>
                  </a:lnTo>
                  <a:lnTo>
                    <a:pt x="101083" y="163201"/>
                  </a:lnTo>
                  <a:lnTo>
                    <a:pt x="83974" y="163201"/>
                  </a:lnTo>
                  <a:lnTo>
                    <a:pt x="66728" y="163201"/>
                  </a:lnTo>
                  <a:lnTo>
                    <a:pt x="0" y="163201"/>
                  </a:lnTo>
                  <a:lnTo>
                    <a:pt x="0" y="180276"/>
                  </a:lnTo>
                  <a:lnTo>
                    <a:pt x="66728" y="180276"/>
                  </a:lnTo>
                  <a:lnTo>
                    <a:pt x="83974" y="180276"/>
                  </a:lnTo>
                  <a:close/>
                </a:path>
              </a:pathLst>
            </a:custGeom>
            <a:solidFill>
              <a:schemeClr val="tx1"/>
            </a:solidFill>
            <a:ln w="3373" cap="flat">
              <a:noFill/>
              <a:prstDash val="solid"/>
              <a:miter/>
            </a:ln>
          </p:spPr>
          <p:txBody>
            <a:bodyPr rtlCol="0" anchor="ctr"/>
            <a:lstStyle/>
            <a:p>
              <a:endParaRPr lang="en-US"/>
            </a:p>
          </p:txBody>
        </p:sp>
      </p:grpSp>
      <p:sp>
        <p:nvSpPr>
          <p:cNvPr id="29" name="Rectangle 28">
            <a:extLst>
              <a:ext uri="{FF2B5EF4-FFF2-40B4-BE49-F238E27FC236}">
                <a16:creationId xmlns:a16="http://schemas.microsoft.com/office/drawing/2014/main" id="{962CE5AE-DE18-39DF-E226-28E1A73C9305}"/>
              </a:ext>
            </a:extLst>
          </p:cNvPr>
          <p:cNvSpPr/>
          <p:nvPr/>
        </p:nvSpPr>
        <p:spPr>
          <a:xfrm>
            <a:off x="750288" y="2613053"/>
            <a:ext cx="2075197" cy="79508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173736" marR="0" lvl="0" indent="-173736" defTabSz="1219170" fontAlgn="auto">
              <a:lnSpc>
                <a:spcPct val="100000"/>
              </a:lnSpc>
              <a:spcBef>
                <a:spcPts val="100"/>
              </a:spcBef>
              <a:spcAft>
                <a:spcPts val="100"/>
              </a:spcAft>
              <a:buClr>
                <a:srgbClr val="3C3D3E"/>
              </a:buClr>
              <a:buSzPct val="100000"/>
              <a:buFont typeface="Arial" panose="020B0604020202020204" pitchFamily="34" charset="0"/>
              <a:buChar char="•"/>
              <a:tabLst/>
              <a:defRPr/>
            </a:pPr>
            <a:r>
              <a:rPr lang="en-US" sz="1000" kern="0">
                <a:solidFill>
                  <a:srgbClr val="000000"/>
                </a:solidFill>
                <a:ea typeface="Batang" panose="020B0503020000020004" pitchFamily="18" charset="-127"/>
                <a:cs typeface="Arial" panose="020B0604020202020204" pitchFamily="34" charset="0"/>
              </a:rPr>
              <a:t>Holistic Purview solution deployment for Copilot readiness</a:t>
            </a:r>
          </a:p>
          <a:p>
            <a:pPr marL="173736" marR="0" lvl="0" indent="-173736" defTabSz="1219170" fontAlgn="auto">
              <a:lnSpc>
                <a:spcPct val="100000"/>
              </a:lnSpc>
              <a:spcBef>
                <a:spcPts val="100"/>
              </a:spcBef>
              <a:spcAft>
                <a:spcPts val="100"/>
              </a:spcAft>
              <a:buClr>
                <a:srgbClr val="3C3D3E"/>
              </a:buClr>
              <a:buSzPct val="100000"/>
              <a:buFont typeface="Arial" panose="020B0604020202020204" pitchFamily="34" charset="0"/>
              <a:buChar char="•"/>
              <a:tabLst/>
              <a:defRPr/>
            </a:pPr>
            <a:r>
              <a:rPr lang="en-US" sz="1000" kern="0">
                <a:solidFill>
                  <a:srgbClr val="000000"/>
                </a:solidFill>
                <a:ea typeface="Batang" panose="020B0503020000020004" pitchFamily="18" charset="-127"/>
                <a:cs typeface="Arial" panose="020B0604020202020204" pitchFamily="34" charset="0"/>
              </a:rPr>
              <a:t>Implement DLP policies in Cloud &amp; Endpoint to mitigate sensitive data risk in Copilot prompts</a:t>
            </a:r>
          </a:p>
        </p:txBody>
      </p:sp>
      <p:sp>
        <p:nvSpPr>
          <p:cNvPr id="35" name="Rectangle 34">
            <a:extLst>
              <a:ext uri="{FF2B5EF4-FFF2-40B4-BE49-F238E27FC236}">
                <a16:creationId xmlns:a16="http://schemas.microsoft.com/office/drawing/2014/main" id="{82418185-D6B5-4590-5242-09B19887A420}"/>
              </a:ext>
            </a:extLst>
          </p:cNvPr>
          <p:cNvSpPr/>
          <p:nvPr/>
        </p:nvSpPr>
        <p:spPr>
          <a:xfrm>
            <a:off x="5279809" y="2613053"/>
            <a:ext cx="2024036" cy="82073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Cloud DLP, Endpoint, MDCA, </a:t>
            </a:r>
            <a:br>
              <a:rPr lang="en-US" sz="1000" kern="0">
                <a:solidFill>
                  <a:srgbClr val="000000"/>
                </a:solidFill>
                <a:ea typeface="Batang" panose="020B0503020000020004" pitchFamily="18" charset="-127"/>
                <a:cs typeface="Arial" panose="020B0604020202020204" pitchFamily="34" charset="0"/>
              </a:rPr>
            </a:br>
            <a:r>
              <a:rPr lang="en-US" sz="1000" kern="0">
                <a:solidFill>
                  <a:srgbClr val="000000"/>
                </a:solidFill>
                <a:ea typeface="Batang" panose="020B0503020000020004" pitchFamily="18" charset="-127"/>
                <a:cs typeface="Arial" panose="020B0604020202020204" pitchFamily="34" charset="0"/>
              </a:rPr>
              <a:t>on-premise DLP</a:t>
            </a:r>
          </a:p>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Pilot and false positive reduction methodology </a:t>
            </a:r>
          </a:p>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Production deployment services</a:t>
            </a:r>
          </a:p>
        </p:txBody>
      </p:sp>
      <p:sp>
        <p:nvSpPr>
          <p:cNvPr id="44" name="Rectangle 43">
            <a:extLst>
              <a:ext uri="{FF2B5EF4-FFF2-40B4-BE49-F238E27FC236}">
                <a16:creationId xmlns:a16="http://schemas.microsoft.com/office/drawing/2014/main" id="{7390048D-0F8F-CA5F-3BAF-9573AA5B4A9D}"/>
              </a:ext>
            </a:extLst>
          </p:cNvPr>
          <p:cNvSpPr/>
          <p:nvPr/>
        </p:nvSpPr>
        <p:spPr>
          <a:xfrm>
            <a:off x="7617649" y="2613053"/>
            <a:ext cx="2023680" cy="82073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Insider Risk Analytics</a:t>
            </a:r>
          </a:p>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M365 HR Connector implementation</a:t>
            </a:r>
          </a:p>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IRM policy design &amp; implementation</a:t>
            </a:r>
          </a:p>
        </p:txBody>
      </p:sp>
      <p:grpSp>
        <p:nvGrpSpPr>
          <p:cNvPr id="27" name="Group 26">
            <a:extLst>
              <a:ext uri="{FF2B5EF4-FFF2-40B4-BE49-F238E27FC236}">
                <a16:creationId xmlns:a16="http://schemas.microsoft.com/office/drawing/2014/main" id="{F4EA410B-BB6E-4768-333C-0CE60755EFB3}"/>
              </a:ext>
            </a:extLst>
          </p:cNvPr>
          <p:cNvGrpSpPr/>
          <p:nvPr/>
        </p:nvGrpSpPr>
        <p:grpSpPr>
          <a:xfrm>
            <a:off x="80268" y="2690916"/>
            <a:ext cx="520931" cy="710142"/>
            <a:chOff x="762656" y="4006025"/>
            <a:chExt cx="520931" cy="710142"/>
          </a:xfrm>
        </p:grpSpPr>
        <p:sp>
          <p:nvSpPr>
            <p:cNvPr id="31" name="object 21">
              <a:extLst>
                <a:ext uri="{FF2B5EF4-FFF2-40B4-BE49-F238E27FC236}">
                  <a16:creationId xmlns:a16="http://schemas.microsoft.com/office/drawing/2014/main" id="{1A5E93B2-305C-9ADB-602C-E4FCF0E03379}"/>
                </a:ext>
              </a:extLst>
            </p:cNvPr>
            <p:cNvSpPr txBox="1"/>
            <p:nvPr/>
          </p:nvSpPr>
          <p:spPr>
            <a:xfrm>
              <a:off x="762656" y="4452847"/>
              <a:ext cx="520931" cy="263320"/>
            </a:xfrm>
            <a:prstGeom prst="rect">
              <a:avLst/>
            </a:prstGeom>
            <a:noFill/>
            <a:ln>
              <a:noFill/>
            </a:ln>
          </p:spPr>
          <p:txBody>
            <a:bodyPr vert="horz" wrap="square" lIns="0" tIns="16933" rIns="0" bIns="0" rtlCol="0">
              <a:spAutoFit/>
            </a:bodyPr>
            <a:lstStyle/>
            <a:p>
              <a:pPr marL="16933" marR="6773" lvl="0" indent="-2540" algn="ctr" defTabSz="1219170" rtl="0" eaLnBrk="1" fontAlgn="auto" latinLnBrk="0" hangingPunct="1">
                <a:lnSpc>
                  <a:spcPct val="100000"/>
                </a:lnSpc>
                <a:spcBef>
                  <a:spcPts val="133"/>
                </a:spcBef>
                <a:spcAft>
                  <a:spcPts val="0"/>
                </a:spcAft>
                <a:buClrTx/>
                <a:buSzTx/>
                <a:buFontTx/>
                <a:buNone/>
                <a:tabLst/>
                <a:defRPr/>
              </a:pPr>
              <a:r>
                <a:rPr kumimoji="0" lang="en-US" sz="1600" i="0" u="none" strike="noStrike" kern="0" cap="none" spc="0" normalizeH="0" baseline="0" noProof="0">
                  <a:ln>
                    <a:noFill/>
                  </a:ln>
                  <a:effectLst/>
                  <a:uLnTx/>
                  <a:uFillTx/>
                  <a:latin typeface="Barlow Condensed Medium" panose="00000606000000000000" pitchFamily="2" charset="0"/>
                  <a:cs typeface="Arial"/>
                </a:rPr>
                <a:t>Build</a:t>
              </a:r>
            </a:p>
          </p:txBody>
        </p:sp>
        <p:grpSp>
          <p:nvGrpSpPr>
            <p:cNvPr id="32" name="Group 31">
              <a:extLst>
                <a:ext uri="{FF2B5EF4-FFF2-40B4-BE49-F238E27FC236}">
                  <a16:creationId xmlns:a16="http://schemas.microsoft.com/office/drawing/2014/main" id="{3C143CA4-BC28-6C2F-1F1E-297169F2289F}"/>
                </a:ext>
              </a:extLst>
            </p:cNvPr>
            <p:cNvGrpSpPr/>
            <p:nvPr/>
          </p:nvGrpSpPr>
          <p:grpSpPr>
            <a:xfrm>
              <a:off x="836450" y="4006025"/>
              <a:ext cx="373343" cy="380597"/>
              <a:chOff x="820802" y="3953499"/>
              <a:chExt cx="391901" cy="399516"/>
            </a:xfrm>
            <a:solidFill>
              <a:schemeClr val="tx1"/>
            </a:solidFill>
          </p:grpSpPr>
          <p:sp>
            <p:nvSpPr>
              <p:cNvPr id="37" name="Freeform: Shape 36">
                <a:extLst>
                  <a:ext uri="{FF2B5EF4-FFF2-40B4-BE49-F238E27FC236}">
                    <a16:creationId xmlns:a16="http://schemas.microsoft.com/office/drawing/2014/main" id="{2C800815-CFCB-BFE3-37EA-6F3C8810549B}"/>
                  </a:ext>
                </a:extLst>
              </p:cNvPr>
              <p:cNvSpPr/>
              <p:nvPr/>
            </p:nvSpPr>
            <p:spPr>
              <a:xfrm>
                <a:off x="820802" y="3953499"/>
                <a:ext cx="391901" cy="399516"/>
              </a:xfrm>
              <a:custGeom>
                <a:avLst/>
                <a:gdLst>
                  <a:gd name="connsiteX0" fmla="*/ 348873 w 391901"/>
                  <a:gd name="connsiteY0" fmla="*/ 235974 h 399516"/>
                  <a:gd name="connsiteX1" fmla="*/ 391901 w 391901"/>
                  <a:gd name="connsiteY1" fmla="*/ 235974 h 399516"/>
                  <a:gd name="connsiteX2" fmla="*/ 391901 w 391901"/>
                  <a:gd name="connsiteY2" fmla="*/ 235872 h 399516"/>
                  <a:gd name="connsiteX3" fmla="*/ 391901 w 391901"/>
                  <a:gd name="connsiteY3" fmla="*/ 155108 h 399516"/>
                  <a:gd name="connsiteX4" fmla="*/ 348873 w 391901"/>
                  <a:gd name="connsiteY4" fmla="*/ 155108 h 399516"/>
                  <a:gd name="connsiteX5" fmla="*/ 332754 w 391901"/>
                  <a:gd name="connsiteY5" fmla="*/ 116211 h 399516"/>
                  <a:gd name="connsiteX6" fmla="*/ 363182 w 391901"/>
                  <a:gd name="connsiteY6" fmla="*/ 85784 h 399516"/>
                  <a:gd name="connsiteX7" fmla="*/ 306083 w 391901"/>
                  <a:gd name="connsiteY7" fmla="*/ 28686 h 399516"/>
                  <a:gd name="connsiteX8" fmla="*/ 275656 w 391901"/>
                  <a:gd name="connsiteY8" fmla="*/ 59113 h 399516"/>
                  <a:gd name="connsiteX9" fmla="*/ 236794 w 391901"/>
                  <a:gd name="connsiteY9" fmla="*/ 42994 h 399516"/>
                  <a:gd name="connsiteX10" fmla="*/ 236794 w 391901"/>
                  <a:gd name="connsiteY10" fmla="*/ 0 h 399516"/>
                  <a:gd name="connsiteX11" fmla="*/ 156030 w 391901"/>
                  <a:gd name="connsiteY11" fmla="*/ 0 h 399516"/>
                  <a:gd name="connsiteX12" fmla="*/ 156030 w 391901"/>
                  <a:gd name="connsiteY12" fmla="*/ 43029 h 399516"/>
                  <a:gd name="connsiteX13" fmla="*/ 117167 w 391901"/>
                  <a:gd name="connsiteY13" fmla="*/ 59147 h 399516"/>
                  <a:gd name="connsiteX14" fmla="*/ 86740 w 391901"/>
                  <a:gd name="connsiteY14" fmla="*/ 28720 h 399516"/>
                  <a:gd name="connsiteX15" fmla="*/ 29608 w 391901"/>
                  <a:gd name="connsiteY15" fmla="*/ 85818 h 399516"/>
                  <a:gd name="connsiteX16" fmla="*/ 60035 w 391901"/>
                  <a:gd name="connsiteY16" fmla="*/ 116245 h 399516"/>
                  <a:gd name="connsiteX17" fmla="*/ 44156 w 391901"/>
                  <a:gd name="connsiteY17" fmla="*/ 154322 h 399516"/>
                  <a:gd name="connsiteX18" fmla="*/ 0 w 391901"/>
                  <a:gd name="connsiteY18" fmla="*/ 154322 h 399516"/>
                  <a:gd name="connsiteX19" fmla="*/ 0 w 391901"/>
                  <a:gd name="connsiteY19" fmla="*/ 399517 h 399516"/>
                  <a:gd name="connsiteX20" fmla="*/ 237886 w 391901"/>
                  <a:gd name="connsiteY20" fmla="*/ 399517 h 399516"/>
                  <a:gd name="connsiteX21" fmla="*/ 237886 w 391901"/>
                  <a:gd name="connsiteY21" fmla="*/ 347678 h 399516"/>
                  <a:gd name="connsiteX22" fmla="*/ 275588 w 391901"/>
                  <a:gd name="connsiteY22" fmla="*/ 331900 h 399516"/>
                  <a:gd name="connsiteX23" fmla="*/ 285320 w 391901"/>
                  <a:gd name="connsiteY23" fmla="*/ 341633 h 399516"/>
                  <a:gd name="connsiteX24" fmla="*/ 296043 w 391901"/>
                  <a:gd name="connsiteY24" fmla="*/ 330910 h 399516"/>
                  <a:gd name="connsiteX25" fmla="*/ 277842 w 391901"/>
                  <a:gd name="connsiteY25" fmla="*/ 312708 h 399516"/>
                  <a:gd name="connsiteX26" fmla="*/ 272719 w 391901"/>
                  <a:gd name="connsiteY26" fmla="*/ 315987 h 399516"/>
                  <a:gd name="connsiteX27" fmla="*/ 237886 w 391901"/>
                  <a:gd name="connsiteY27" fmla="*/ 331969 h 399516"/>
                  <a:gd name="connsiteX28" fmla="*/ 237886 w 391901"/>
                  <a:gd name="connsiteY28" fmla="*/ 277329 h 399516"/>
                  <a:gd name="connsiteX29" fmla="*/ 287062 w 391901"/>
                  <a:gd name="connsiteY29" fmla="*/ 196121 h 399516"/>
                  <a:gd name="connsiteX30" fmla="*/ 195404 w 391901"/>
                  <a:gd name="connsiteY30" fmla="*/ 104464 h 399516"/>
                  <a:gd name="connsiteX31" fmla="*/ 113787 w 391901"/>
                  <a:gd name="connsiteY31" fmla="*/ 154356 h 399516"/>
                  <a:gd name="connsiteX32" fmla="*/ 59898 w 391901"/>
                  <a:gd name="connsiteY32" fmla="*/ 154356 h 399516"/>
                  <a:gd name="connsiteX33" fmla="*/ 75983 w 391901"/>
                  <a:gd name="connsiteY33" fmla="*/ 119182 h 399516"/>
                  <a:gd name="connsiteX34" fmla="*/ 79227 w 391901"/>
                  <a:gd name="connsiteY34" fmla="*/ 114060 h 399516"/>
                  <a:gd name="connsiteX35" fmla="*/ 51020 w 391901"/>
                  <a:gd name="connsiteY35" fmla="*/ 85852 h 399516"/>
                  <a:gd name="connsiteX36" fmla="*/ 86672 w 391901"/>
                  <a:gd name="connsiteY36" fmla="*/ 50200 h 399516"/>
                  <a:gd name="connsiteX37" fmla="*/ 114879 w 391901"/>
                  <a:gd name="connsiteY37" fmla="*/ 78408 h 399516"/>
                  <a:gd name="connsiteX38" fmla="*/ 120002 w 391901"/>
                  <a:gd name="connsiteY38" fmla="*/ 75129 h 399516"/>
                  <a:gd name="connsiteX39" fmla="*/ 165216 w 391901"/>
                  <a:gd name="connsiteY39" fmla="*/ 56415 h 399516"/>
                  <a:gd name="connsiteX40" fmla="*/ 171158 w 391901"/>
                  <a:gd name="connsiteY40" fmla="*/ 55083 h 399516"/>
                  <a:gd name="connsiteX41" fmla="*/ 171158 w 391901"/>
                  <a:gd name="connsiteY41" fmla="*/ 15197 h 399516"/>
                  <a:gd name="connsiteX42" fmla="*/ 221597 w 391901"/>
                  <a:gd name="connsiteY42" fmla="*/ 15197 h 399516"/>
                  <a:gd name="connsiteX43" fmla="*/ 221597 w 391901"/>
                  <a:gd name="connsiteY43" fmla="*/ 55118 h 399516"/>
                  <a:gd name="connsiteX44" fmla="*/ 227539 w 391901"/>
                  <a:gd name="connsiteY44" fmla="*/ 56449 h 399516"/>
                  <a:gd name="connsiteX45" fmla="*/ 272753 w 391901"/>
                  <a:gd name="connsiteY45" fmla="*/ 75163 h 399516"/>
                  <a:gd name="connsiteX46" fmla="*/ 277876 w 391901"/>
                  <a:gd name="connsiteY46" fmla="*/ 78442 h 399516"/>
                  <a:gd name="connsiteX47" fmla="*/ 306083 w 391901"/>
                  <a:gd name="connsiteY47" fmla="*/ 50234 h 399516"/>
                  <a:gd name="connsiteX48" fmla="*/ 341736 w 391901"/>
                  <a:gd name="connsiteY48" fmla="*/ 85886 h 399516"/>
                  <a:gd name="connsiteX49" fmla="*/ 313528 w 391901"/>
                  <a:gd name="connsiteY49" fmla="*/ 114094 h 399516"/>
                  <a:gd name="connsiteX50" fmla="*/ 316772 w 391901"/>
                  <a:gd name="connsiteY50" fmla="*/ 119216 h 399516"/>
                  <a:gd name="connsiteX51" fmla="*/ 335486 w 391901"/>
                  <a:gd name="connsiteY51" fmla="*/ 164431 h 399516"/>
                  <a:gd name="connsiteX52" fmla="*/ 336818 w 391901"/>
                  <a:gd name="connsiteY52" fmla="*/ 170373 h 399516"/>
                  <a:gd name="connsiteX53" fmla="*/ 376739 w 391901"/>
                  <a:gd name="connsiteY53" fmla="*/ 170373 h 399516"/>
                  <a:gd name="connsiteX54" fmla="*/ 376739 w 391901"/>
                  <a:gd name="connsiteY54" fmla="*/ 220812 h 399516"/>
                  <a:gd name="connsiteX55" fmla="*/ 336818 w 391901"/>
                  <a:gd name="connsiteY55" fmla="*/ 220812 h 399516"/>
                  <a:gd name="connsiteX56" fmla="*/ 335486 w 391901"/>
                  <a:gd name="connsiteY56" fmla="*/ 226754 h 399516"/>
                  <a:gd name="connsiteX57" fmla="*/ 316772 w 391901"/>
                  <a:gd name="connsiteY57" fmla="*/ 271968 h 399516"/>
                  <a:gd name="connsiteX58" fmla="*/ 313528 w 391901"/>
                  <a:gd name="connsiteY58" fmla="*/ 277090 h 399516"/>
                  <a:gd name="connsiteX59" fmla="*/ 341736 w 391901"/>
                  <a:gd name="connsiteY59" fmla="*/ 305298 h 399516"/>
                  <a:gd name="connsiteX60" fmla="*/ 316055 w 391901"/>
                  <a:gd name="connsiteY60" fmla="*/ 330978 h 399516"/>
                  <a:gd name="connsiteX61" fmla="*/ 326778 w 391901"/>
                  <a:gd name="connsiteY61" fmla="*/ 341701 h 399516"/>
                  <a:gd name="connsiteX62" fmla="*/ 363147 w 391901"/>
                  <a:gd name="connsiteY62" fmla="*/ 305332 h 399516"/>
                  <a:gd name="connsiteX63" fmla="*/ 332720 w 391901"/>
                  <a:gd name="connsiteY63" fmla="*/ 274905 h 399516"/>
                  <a:gd name="connsiteX64" fmla="*/ 348839 w 391901"/>
                  <a:gd name="connsiteY64" fmla="*/ 236008 h 399516"/>
                  <a:gd name="connsiteX65" fmla="*/ 220812 w 391901"/>
                  <a:gd name="connsiteY65" fmla="*/ 382442 h 399516"/>
                  <a:gd name="connsiteX66" fmla="*/ 173753 w 391901"/>
                  <a:gd name="connsiteY66" fmla="*/ 382442 h 399516"/>
                  <a:gd name="connsiteX67" fmla="*/ 173753 w 391901"/>
                  <a:gd name="connsiteY67" fmla="*/ 242121 h 399516"/>
                  <a:gd name="connsiteX68" fmla="*/ 220812 w 391901"/>
                  <a:gd name="connsiteY68" fmla="*/ 242121 h 399516"/>
                  <a:gd name="connsiteX69" fmla="*/ 220812 w 391901"/>
                  <a:gd name="connsiteY69" fmla="*/ 382442 h 399516"/>
                  <a:gd name="connsiteX70" fmla="*/ 195404 w 391901"/>
                  <a:gd name="connsiteY70" fmla="*/ 119763 h 399516"/>
                  <a:gd name="connsiteX71" fmla="*/ 271763 w 391901"/>
                  <a:gd name="connsiteY71" fmla="*/ 196087 h 399516"/>
                  <a:gd name="connsiteX72" fmla="*/ 237921 w 391901"/>
                  <a:gd name="connsiteY72" fmla="*/ 259469 h 399516"/>
                  <a:gd name="connsiteX73" fmla="*/ 237921 w 391901"/>
                  <a:gd name="connsiteY73" fmla="*/ 225046 h 399516"/>
                  <a:gd name="connsiteX74" fmla="*/ 173788 w 391901"/>
                  <a:gd name="connsiteY74" fmla="*/ 225046 h 399516"/>
                  <a:gd name="connsiteX75" fmla="*/ 173788 w 391901"/>
                  <a:gd name="connsiteY75" fmla="*/ 154322 h 399516"/>
                  <a:gd name="connsiteX76" fmla="*/ 131544 w 391901"/>
                  <a:gd name="connsiteY76" fmla="*/ 154322 h 399516"/>
                  <a:gd name="connsiteX77" fmla="*/ 195438 w 391901"/>
                  <a:gd name="connsiteY77" fmla="*/ 119729 h 399516"/>
                  <a:gd name="connsiteX78" fmla="*/ 156679 w 391901"/>
                  <a:gd name="connsiteY78" fmla="*/ 171431 h 399516"/>
                  <a:gd name="connsiteX79" fmla="*/ 156679 w 391901"/>
                  <a:gd name="connsiteY79" fmla="*/ 382476 h 399516"/>
                  <a:gd name="connsiteX80" fmla="*/ 17075 w 391901"/>
                  <a:gd name="connsiteY80" fmla="*/ 382476 h 399516"/>
                  <a:gd name="connsiteX81" fmla="*/ 17075 w 391901"/>
                  <a:gd name="connsiteY81" fmla="*/ 171431 h 399516"/>
                  <a:gd name="connsiteX82" fmla="*/ 156679 w 391901"/>
                  <a:gd name="connsiteY82" fmla="*/ 171431 h 399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91901" h="399516">
                    <a:moveTo>
                      <a:pt x="348873" y="235974"/>
                    </a:moveTo>
                    <a:lnTo>
                      <a:pt x="391901" y="235974"/>
                    </a:lnTo>
                    <a:lnTo>
                      <a:pt x="391901" y="235872"/>
                    </a:lnTo>
                    <a:cubicBezTo>
                      <a:pt x="391901" y="235872"/>
                      <a:pt x="391901" y="155108"/>
                      <a:pt x="391901" y="155108"/>
                    </a:cubicBezTo>
                    <a:lnTo>
                      <a:pt x="348873" y="155108"/>
                    </a:lnTo>
                    <a:cubicBezTo>
                      <a:pt x="345253" y="141482"/>
                      <a:pt x="339857" y="128437"/>
                      <a:pt x="332754" y="116211"/>
                    </a:cubicBezTo>
                    <a:lnTo>
                      <a:pt x="363182" y="85784"/>
                    </a:lnTo>
                    <a:lnTo>
                      <a:pt x="306083" y="28686"/>
                    </a:lnTo>
                    <a:lnTo>
                      <a:pt x="275656" y="59113"/>
                    </a:lnTo>
                    <a:cubicBezTo>
                      <a:pt x="263430" y="51976"/>
                      <a:pt x="250419" y="46614"/>
                      <a:pt x="236794" y="42994"/>
                    </a:cubicBezTo>
                    <a:lnTo>
                      <a:pt x="236794" y="0"/>
                    </a:lnTo>
                    <a:lnTo>
                      <a:pt x="156030" y="0"/>
                    </a:lnTo>
                    <a:lnTo>
                      <a:pt x="156030" y="43029"/>
                    </a:lnTo>
                    <a:cubicBezTo>
                      <a:pt x="142404" y="46648"/>
                      <a:pt x="129359" y="52044"/>
                      <a:pt x="117167" y="59147"/>
                    </a:cubicBezTo>
                    <a:lnTo>
                      <a:pt x="86740" y="28720"/>
                    </a:lnTo>
                    <a:lnTo>
                      <a:pt x="29608" y="85818"/>
                    </a:lnTo>
                    <a:lnTo>
                      <a:pt x="60035" y="116245"/>
                    </a:lnTo>
                    <a:cubicBezTo>
                      <a:pt x="53069" y="128198"/>
                      <a:pt x="47775" y="140970"/>
                      <a:pt x="44156" y="154322"/>
                    </a:cubicBezTo>
                    <a:lnTo>
                      <a:pt x="0" y="154322"/>
                    </a:lnTo>
                    <a:lnTo>
                      <a:pt x="0" y="399517"/>
                    </a:lnTo>
                    <a:lnTo>
                      <a:pt x="237886" y="399517"/>
                    </a:lnTo>
                    <a:lnTo>
                      <a:pt x="237886" y="347678"/>
                    </a:lnTo>
                    <a:cubicBezTo>
                      <a:pt x="251102" y="344092"/>
                      <a:pt x="263738" y="338833"/>
                      <a:pt x="275588" y="331900"/>
                    </a:cubicBezTo>
                    <a:lnTo>
                      <a:pt x="285320" y="341633"/>
                    </a:lnTo>
                    <a:lnTo>
                      <a:pt x="296043" y="330910"/>
                    </a:lnTo>
                    <a:lnTo>
                      <a:pt x="277842" y="312708"/>
                    </a:lnTo>
                    <a:lnTo>
                      <a:pt x="272719" y="315987"/>
                    </a:lnTo>
                    <a:cubicBezTo>
                      <a:pt x="261825" y="322919"/>
                      <a:pt x="250146" y="328246"/>
                      <a:pt x="237886" y="331969"/>
                    </a:cubicBezTo>
                    <a:lnTo>
                      <a:pt x="237886" y="277329"/>
                    </a:lnTo>
                    <a:cubicBezTo>
                      <a:pt x="267972" y="261586"/>
                      <a:pt x="287062" y="230510"/>
                      <a:pt x="287062" y="196121"/>
                    </a:cubicBezTo>
                    <a:cubicBezTo>
                      <a:pt x="287062" y="145580"/>
                      <a:pt x="245946" y="104464"/>
                      <a:pt x="195404" y="104464"/>
                    </a:cubicBezTo>
                    <a:cubicBezTo>
                      <a:pt x="160640" y="104464"/>
                      <a:pt x="129393" y="123827"/>
                      <a:pt x="113787" y="154356"/>
                    </a:cubicBezTo>
                    <a:lnTo>
                      <a:pt x="59898" y="154356"/>
                    </a:lnTo>
                    <a:cubicBezTo>
                      <a:pt x="63621" y="141994"/>
                      <a:pt x="68982" y="130178"/>
                      <a:pt x="75983" y="119182"/>
                    </a:cubicBezTo>
                    <a:lnTo>
                      <a:pt x="79227" y="114060"/>
                    </a:lnTo>
                    <a:lnTo>
                      <a:pt x="51020" y="85852"/>
                    </a:lnTo>
                    <a:lnTo>
                      <a:pt x="86672" y="50200"/>
                    </a:lnTo>
                    <a:lnTo>
                      <a:pt x="114879" y="78408"/>
                    </a:lnTo>
                    <a:lnTo>
                      <a:pt x="120002" y="75129"/>
                    </a:lnTo>
                    <a:cubicBezTo>
                      <a:pt x="133935" y="66284"/>
                      <a:pt x="149166" y="59967"/>
                      <a:pt x="165216" y="56415"/>
                    </a:cubicBezTo>
                    <a:lnTo>
                      <a:pt x="171158" y="55083"/>
                    </a:lnTo>
                    <a:lnTo>
                      <a:pt x="171158" y="15197"/>
                    </a:lnTo>
                    <a:lnTo>
                      <a:pt x="221597" y="15197"/>
                    </a:lnTo>
                    <a:lnTo>
                      <a:pt x="221597" y="55118"/>
                    </a:lnTo>
                    <a:lnTo>
                      <a:pt x="227539" y="56449"/>
                    </a:lnTo>
                    <a:cubicBezTo>
                      <a:pt x="243589" y="60035"/>
                      <a:pt x="258820" y="66319"/>
                      <a:pt x="272753" y="75163"/>
                    </a:cubicBezTo>
                    <a:lnTo>
                      <a:pt x="277876" y="78442"/>
                    </a:lnTo>
                    <a:lnTo>
                      <a:pt x="306083" y="50234"/>
                    </a:lnTo>
                    <a:lnTo>
                      <a:pt x="341736" y="85886"/>
                    </a:lnTo>
                    <a:lnTo>
                      <a:pt x="313528" y="114094"/>
                    </a:lnTo>
                    <a:lnTo>
                      <a:pt x="316772" y="119216"/>
                    </a:lnTo>
                    <a:cubicBezTo>
                      <a:pt x="325617" y="133150"/>
                      <a:pt x="331935" y="148380"/>
                      <a:pt x="335486" y="164431"/>
                    </a:cubicBezTo>
                    <a:lnTo>
                      <a:pt x="336818" y="170373"/>
                    </a:lnTo>
                    <a:lnTo>
                      <a:pt x="376739" y="170373"/>
                    </a:lnTo>
                    <a:lnTo>
                      <a:pt x="376739" y="220812"/>
                    </a:lnTo>
                    <a:lnTo>
                      <a:pt x="336818" y="220812"/>
                    </a:lnTo>
                    <a:lnTo>
                      <a:pt x="335486" y="226754"/>
                    </a:lnTo>
                    <a:cubicBezTo>
                      <a:pt x="331900" y="242804"/>
                      <a:pt x="325617" y="258035"/>
                      <a:pt x="316772" y="271968"/>
                    </a:cubicBezTo>
                    <a:lnTo>
                      <a:pt x="313528" y="277090"/>
                    </a:lnTo>
                    <a:lnTo>
                      <a:pt x="341736" y="305298"/>
                    </a:lnTo>
                    <a:lnTo>
                      <a:pt x="316055" y="330978"/>
                    </a:lnTo>
                    <a:lnTo>
                      <a:pt x="326778" y="341701"/>
                    </a:lnTo>
                    <a:lnTo>
                      <a:pt x="363147" y="305332"/>
                    </a:lnTo>
                    <a:lnTo>
                      <a:pt x="332720" y="274905"/>
                    </a:lnTo>
                    <a:cubicBezTo>
                      <a:pt x="339857" y="262679"/>
                      <a:pt x="345219" y="249668"/>
                      <a:pt x="348839" y="236008"/>
                    </a:cubicBezTo>
                    <a:close/>
                    <a:moveTo>
                      <a:pt x="220812" y="382442"/>
                    </a:moveTo>
                    <a:lnTo>
                      <a:pt x="173753" y="382442"/>
                    </a:lnTo>
                    <a:lnTo>
                      <a:pt x="173753" y="242121"/>
                    </a:lnTo>
                    <a:lnTo>
                      <a:pt x="220812" y="242121"/>
                    </a:lnTo>
                    <a:lnTo>
                      <a:pt x="220812" y="382442"/>
                    </a:lnTo>
                    <a:close/>
                    <a:moveTo>
                      <a:pt x="195404" y="119763"/>
                    </a:moveTo>
                    <a:cubicBezTo>
                      <a:pt x="237511" y="119763"/>
                      <a:pt x="271763" y="154015"/>
                      <a:pt x="271763" y="196087"/>
                    </a:cubicBezTo>
                    <a:cubicBezTo>
                      <a:pt x="271763" y="221904"/>
                      <a:pt x="258820" y="245468"/>
                      <a:pt x="237921" y="259469"/>
                    </a:cubicBezTo>
                    <a:lnTo>
                      <a:pt x="237921" y="225046"/>
                    </a:lnTo>
                    <a:lnTo>
                      <a:pt x="173788" y="225046"/>
                    </a:lnTo>
                    <a:lnTo>
                      <a:pt x="173788" y="154322"/>
                    </a:lnTo>
                    <a:lnTo>
                      <a:pt x="131544" y="154322"/>
                    </a:lnTo>
                    <a:cubicBezTo>
                      <a:pt x="145478" y="132979"/>
                      <a:pt x="169246" y="119729"/>
                      <a:pt x="195438" y="119729"/>
                    </a:cubicBezTo>
                    <a:close/>
                    <a:moveTo>
                      <a:pt x="156679" y="171431"/>
                    </a:moveTo>
                    <a:lnTo>
                      <a:pt x="156679" y="382476"/>
                    </a:lnTo>
                    <a:lnTo>
                      <a:pt x="17075" y="382476"/>
                    </a:lnTo>
                    <a:lnTo>
                      <a:pt x="17075" y="171431"/>
                    </a:lnTo>
                    <a:lnTo>
                      <a:pt x="156679" y="171431"/>
                    </a:lnTo>
                    <a:close/>
                  </a:path>
                </a:pathLst>
              </a:custGeom>
              <a:grpFill/>
              <a:ln w="3373"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3773F6AB-76B0-2D20-342B-9596288DEB34}"/>
                  </a:ext>
                </a:extLst>
              </p:cNvPr>
              <p:cNvSpPr/>
              <p:nvPr/>
            </p:nvSpPr>
            <p:spPr>
              <a:xfrm>
                <a:off x="872232" y="4172842"/>
                <a:ext cx="17074" cy="22572"/>
              </a:xfrm>
              <a:custGeom>
                <a:avLst/>
                <a:gdLst>
                  <a:gd name="connsiteX0" fmla="*/ 0 w 17074"/>
                  <a:gd name="connsiteY0" fmla="*/ 0 h 22572"/>
                  <a:gd name="connsiteX1" fmla="*/ 17075 w 17074"/>
                  <a:gd name="connsiteY1" fmla="*/ 0 h 22572"/>
                  <a:gd name="connsiteX2" fmla="*/ 17075 w 17074"/>
                  <a:gd name="connsiteY2" fmla="*/ 22573 h 22572"/>
                  <a:gd name="connsiteX3" fmla="*/ 0 w 17074"/>
                  <a:gd name="connsiteY3" fmla="*/ 22573 h 22572"/>
                </a:gdLst>
                <a:ahLst/>
                <a:cxnLst>
                  <a:cxn ang="0">
                    <a:pos x="connsiteX0" y="connsiteY0"/>
                  </a:cxn>
                  <a:cxn ang="0">
                    <a:pos x="connsiteX1" y="connsiteY1"/>
                  </a:cxn>
                  <a:cxn ang="0">
                    <a:pos x="connsiteX2" y="connsiteY2"/>
                  </a:cxn>
                  <a:cxn ang="0">
                    <a:pos x="connsiteX3" y="connsiteY3"/>
                  </a:cxn>
                </a:cxnLst>
                <a:rect l="l" t="t" r="r" b="b"/>
                <a:pathLst>
                  <a:path w="17074" h="22572">
                    <a:moveTo>
                      <a:pt x="0" y="0"/>
                    </a:moveTo>
                    <a:lnTo>
                      <a:pt x="17075" y="0"/>
                    </a:lnTo>
                    <a:lnTo>
                      <a:pt x="17075" y="22573"/>
                    </a:lnTo>
                    <a:lnTo>
                      <a:pt x="0" y="22573"/>
                    </a:lnTo>
                    <a:close/>
                  </a:path>
                </a:pathLst>
              </a:custGeom>
              <a:grpFill/>
              <a:ln w="3373"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686E70CE-731E-7894-D49A-81064DA0872D}"/>
                  </a:ext>
                </a:extLst>
              </p:cNvPr>
              <p:cNvSpPr/>
              <p:nvPr/>
            </p:nvSpPr>
            <p:spPr>
              <a:xfrm>
                <a:off x="872232" y="4216895"/>
                <a:ext cx="17074" cy="22572"/>
              </a:xfrm>
              <a:custGeom>
                <a:avLst/>
                <a:gdLst>
                  <a:gd name="connsiteX0" fmla="*/ 0 w 17074"/>
                  <a:gd name="connsiteY0" fmla="*/ 0 h 22572"/>
                  <a:gd name="connsiteX1" fmla="*/ 17075 w 17074"/>
                  <a:gd name="connsiteY1" fmla="*/ 0 h 22572"/>
                  <a:gd name="connsiteX2" fmla="*/ 17075 w 17074"/>
                  <a:gd name="connsiteY2" fmla="*/ 22573 h 22572"/>
                  <a:gd name="connsiteX3" fmla="*/ 0 w 17074"/>
                  <a:gd name="connsiteY3" fmla="*/ 22573 h 22572"/>
                </a:gdLst>
                <a:ahLst/>
                <a:cxnLst>
                  <a:cxn ang="0">
                    <a:pos x="connsiteX0" y="connsiteY0"/>
                  </a:cxn>
                  <a:cxn ang="0">
                    <a:pos x="connsiteX1" y="connsiteY1"/>
                  </a:cxn>
                  <a:cxn ang="0">
                    <a:pos x="connsiteX2" y="connsiteY2"/>
                  </a:cxn>
                  <a:cxn ang="0">
                    <a:pos x="connsiteX3" y="connsiteY3"/>
                  </a:cxn>
                </a:cxnLst>
                <a:rect l="l" t="t" r="r" b="b"/>
                <a:pathLst>
                  <a:path w="17074" h="22572">
                    <a:moveTo>
                      <a:pt x="0" y="0"/>
                    </a:moveTo>
                    <a:lnTo>
                      <a:pt x="17075" y="0"/>
                    </a:lnTo>
                    <a:lnTo>
                      <a:pt x="17075" y="22573"/>
                    </a:lnTo>
                    <a:lnTo>
                      <a:pt x="0" y="22573"/>
                    </a:lnTo>
                    <a:close/>
                  </a:path>
                </a:pathLst>
              </a:custGeom>
              <a:grpFill/>
              <a:ln w="3373"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AEF53D21-952D-13AE-A512-7EF3DC4C9315}"/>
                  </a:ext>
                </a:extLst>
              </p:cNvPr>
              <p:cNvSpPr/>
              <p:nvPr/>
            </p:nvSpPr>
            <p:spPr>
              <a:xfrm>
                <a:off x="872232" y="4260948"/>
                <a:ext cx="17074" cy="22572"/>
              </a:xfrm>
              <a:custGeom>
                <a:avLst/>
                <a:gdLst>
                  <a:gd name="connsiteX0" fmla="*/ 0 w 17074"/>
                  <a:gd name="connsiteY0" fmla="*/ 0 h 22572"/>
                  <a:gd name="connsiteX1" fmla="*/ 17075 w 17074"/>
                  <a:gd name="connsiteY1" fmla="*/ 0 h 22572"/>
                  <a:gd name="connsiteX2" fmla="*/ 17075 w 17074"/>
                  <a:gd name="connsiteY2" fmla="*/ 22573 h 22572"/>
                  <a:gd name="connsiteX3" fmla="*/ 0 w 17074"/>
                  <a:gd name="connsiteY3" fmla="*/ 22573 h 22572"/>
                </a:gdLst>
                <a:ahLst/>
                <a:cxnLst>
                  <a:cxn ang="0">
                    <a:pos x="connsiteX0" y="connsiteY0"/>
                  </a:cxn>
                  <a:cxn ang="0">
                    <a:pos x="connsiteX1" y="connsiteY1"/>
                  </a:cxn>
                  <a:cxn ang="0">
                    <a:pos x="connsiteX2" y="connsiteY2"/>
                  </a:cxn>
                  <a:cxn ang="0">
                    <a:pos x="connsiteX3" y="connsiteY3"/>
                  </a:cxn>
                </a:cxnLst>
                <a:rect l="l" t="t" r="r" b="b"/>
                <a:pathLst>
                  <a:path w="17074" h="22572">
                    <a:moveTo>
                      <a:pt x="0" y="0"/>
                    </a:moveTo>
                    <a:lnTo>
                      <a:pt x="17075" y="0"/>
                    </a:lnTo>
                    <a:lnTo>
                      <a:pt x="17075" y="22573"/>
                    </a:lnTo>
                    <a:lnTo>
                      <a:pt x="0" y="22573"/>
                    </a:lnTo>
                    <a:close/>
                  </a:path>
                </a:pathLst>
              </a:custGeom>
              <a:grpFill/>
              <a:ln w="3373"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2B3114CF-2CA4-C7AD-2057-C74084C01529}"/>
                  </a:ext>
                </a:extLst>
              </p:cNvPr>
              <p:cNvSpPr/>
              <p:nvPr/>
            </p:nvSpPr>
            <p:spPr>
              <a:xfrm>
                <a:off x="926086" y="4260948"/>
                <a:ext cx="17074" cy="22572"/>
              </a:xfrm>
              <a:custGeom>
                <a:avLst/>
                <a:gdLst>
                  <a:gd name="connsiteX0" fmla="*/ 0 w 17074"/>
                  <a:gd name="connsiteY0" fmla="*/ 0 h 22572"/>
                  <a:gd name="connsiteX1" fmla="*/ 17075 w 17074"/>
                  <a:gd name="connsiteY1" fmla="*/ 0 h 22572"/>
                  <a:gd name="connsiteX2" fmla="*/ 17075 w 17074"/>
                  <a:gd name="connsiteY2" fmla="*/ 22573 h 22572"/>
                  <a:gd name="connsiteX3" fmla="*/ 0 w 17074"/>
                  <a:gd name="connsiteY3" fmla="*/ 22573 h 22572"/>
                </a:gdLst>
                <a:ahLst/>
                <a:cxnLst>
                  <a:cxn ang="0">
                    <a:pos x="connsiteX0" y="connsiteY0"/>
                  </a:cxn>
                  <a:cxn ang="0">
                    <a:pos x="connsiteX1" y="connsiteY1"/>
                  </a:cxn>
                  <a:cxn ang="0">
                    <a:pos x="connsiteX2" y="connsiteY2"/>
                  </a:cxn>
                  <a:cxn ang="0">
                    <a:pos x="connsiteX3" y="connsiteY3"/>
                  </a:cxn>
                </a:cxnLst>
                <a:rect l="l" t="t" r="r" b="b"/>
                <a:pathLst>
                  <a:path w="17074" h="22572">
                    <a:moveTo>
                      <a:pt x="0" y="0"/>
                    </a:moveTo>
                    <a:lnTo>
                      <a:pt x="17075" y="0"/>
                    </a:lnTo>
                    <a:lnTo>
                      <a:pt x="17075" y="22573"/>
                    </a:lnTo>
                    <a:lnTo>
                      <a:pt x="0" y="22573"/>
                    </a:lnTo>
                    <a:close/>
                  </a:path>
                </a:pathLst>
              </a:custGeom>
              <a:grpFill/>
              <a:ln w="3373"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511B0587-8FC3-3413-4F44-1C9D90C5FA5C}"/>
                  </a:ext>
                </a:extLst>
              </p:cNvPr>
              <p:cNvSpPr/>
              <p:nvPr/>
            </p:nvSpPr>
            <p:spPr>
              <a:xfrm>
                <a:off x="926086" y="4172842"/>
                <a:ext cx="17074" cy="22572"/>
              </a:xfrm>
              <a:custGeom>
                <a:avLst/>
                <a:gdLst>
                  <a:gd name="connsiteX0" fmla="*/ 0 w 17074"/>
                  <a:gd name="connsiteY0" fmla="*/ 0 h 22572"/>
                  <a:gd name="connsiteX1" fmla="*/ 17075 w 17074"/>
                  <a:gd name="connsiteY1" fmla="*/ 0 h 22572"/>
                  <a:gd name="connsiteX2" fmla="*/ 17075 w 17074"/>
                  <a:gd name="connsiteY2" fmla="*/ 22573 h 22572"/>
                  <a:gd name="connsiteX3" fmla="*/ 0 w 17074"/>
                  <a:gd name="connsiteY3" fmla="*/ 22573 h 22572"/>
                </a:gdLst>
                <a:ahLst/>
                <a:cxnLst>
                  <a:cxn ang="0">
                    <a:pos x="connsiteX0" y="connsiteY0"/>
                  </a:cxn>
                  <a:cxn ang="0">
                    <a:pos x="connsiteX1" y="connsiteY1"/>
                  </a:cxn>
                  <a:cxn ang="0">
                    <a:pos x="connsiteX2" y="connsiteY2"/>
                  </a:cxn>
                  <a:cxn ang="0">
                    <a:pos x="connsiteX3" y="connsiteY3"/>
                  </a:cxn>
                </a:cxnLst>
                <a:rect l="l" t="t" r="r" b="b"/>
                <a:pathLst>
                  <a:path w="17074" h="22572">
                    <a:moveTo>
                      <a:pt x="0" y="0"/>
                    </a:moveTo>
                    <a:lnTo>
                      <a:pt x="17075" y="0"/>
                    </a:lnTo>
                    <a:lnTo>
                      <a:pt x="17075" y="22573"/>
                    </a:lnTo>
                    <a:lnTo>
                      <a:pt x="0" y="22573"/>
                    </a:lnTo>
                    <a:close/>
                  </a:path>
                </a:pathLst>
              </a:custGeom>
              <a:grpFill/>
              <a:ln w="3373"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36AAF530-082C-2ACE-97A6-756FCE6E32C4}"/>
                  </a:ext>
                </a:extLst>
              </p:cNvPr>
              <p:cNvSpPr/>
              <p:nvPr/>
            </p:nvSpPr>
            <p:spPr>
              <a:xfrm>
                <a:off x="926086" y="4216895"/>
                <a:ext cx="17074" cy="22572"/>
              </a:xfrm>
              <a:custGeom>
                <a:avLst/>
                <a:gdLst>
                  <a:gd name="connsiteX0" fmla="*/ 0 w 17074"/>
                  <a:gd name="connsiteY0" fmla="*/ 0 h 22572"/>
                  <a:gd name="connsiteX1" fmla="*/ 17075 w 17074"/>
                  <a:gd name="connsiteY1" fmla="*/ 0 h 22572"/>
                  <a:gd name="connsiteX2" fmla="*/ 17075 w 17074"/>
                  <a:gd name="connsiteY2" fmla="*/ 22573 h 22572"/>
                  <a:gd name="connsiteX3" fmla="*/ 0 w 17074"/>
                  <a:gd name="connsiteY3" fmla="*/ 22573 h 22572"/>
                </a:gdLst>
                <a:ahLst/>
                <a:cxnLst>
                  <a:cxn ang="0">
                    <a:pos x="connsiteX0" y="connsiteY0"/>
                  </a:cxn>
                  <a:cxn ang="0">
                    <a:pos x="connsiteX1" y="connsiteY1"/>
                  </a:cxn>
                  <a:cxn ang="0">
                    <a:pos x="connsiteX2" y="connsiteY2"/>
                  </a:cxn>
                  <a:cxn ang="0">
                    <a:pos x="connsiteX3" y="connsiteY3"/>
                  </a:cxn>
                </a:cxnLst>
                <a:rect l="l" t="t" r="r" b="b"/>
                <a:pathLst>
                  <a:path w="17074" h="22572">
                    <a:moveTo>
                      <a:pt x="0" y="0"/>
                    </a:moveTo>
                    <a:lnTo>
                      <a:pt x="17075" y="0"/>
                    </a:lnTo>
                    <a:lnTo>
                      <a:pt x="17075" y="22573"/>
                    </a:lnTo>
                    <a:lnTo>
                      <a:pt x="0" y="22573"/>
                    </a:lnTo>
                    <a:close/>
                  </a:path>
                </a:pathLst>
              </a:custGeom>
              <a:grpFill/>
              <a:ln w="3373"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01DD7A30-CAF7-7E6D-14CD-BC222F4DC411}"/>
                  </a:ext>
                </a:extLst>
              </p:cNvPr>
              <p:cNvSpPr/>
              <p:nvPr/>
            </p:nvSpPr>
            <p:spPr>
              <a:xfrm>
                <a:off x="1117290" y="4293322"/>
                <a:ext cx="24587" cy="24587"/>
              </a:xfrm>
              <a:custGeom>
                <a:avLst/>
                <a:gdLst>
                  <a:gd name="connsiteX0" fmla="*/ 12294 w 24587"/>
                  <a:gd name="connsiteY0" fmla="*/ 0 h 24587"/>
                  <a:gd name="connsiteX1" fmla="*/ 0 w 24587"/>
                  <a:gd name="connsiteY1" fmla="*/ 12294 h 24587"/>
                  <a:gd name="connsiteX2" fmla="*/ 12294 w 24587"/>
                  <a:gd name="connsiteY2" fmla="*/ 24588 h 24587"/>
                  <a:gd name="connsiteX3" fmla="*/ 24588 w 24587"/>
                  <a:gd name="connsiteY3" fmla="*/ 12294 h 24587"/>
                  <a:gd name="connsiteX4" fmla="*/ 12294 w 24587"/>
                  <a:gd name="connsiteY4" fmla="*/ 0 h 24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7" h="24587">
                    <a:moveTo>
                      <a:pt x="12294" y="0"/>
                    </a:moveTo>
                    <a:cubicBezTo>
                      <a:pt x="5498" y="0"/>
                      <a:pt x="0" y="5498"/>
                      <a:pt x="0" y="12294"/>
                    </a:cubicBezTo>
                    <a:cubicBezTo>
                      <a:pt x="0" y="19090"/>
                      <a:pt x="5498" y="24588"/>
                      <a:pt x="12294" y="24588"/>
                    </a:cubicBezTo>
                    <a:cubicBezTo>
                      <a:pt x="19090" y="24588"/>
                      <a:pt x="24588" y="19090"/>
                      <a:pt x="24588" y="12294"/>
                    </a:cubicBezTo>
                    <a:cubicBezTo>
                      <a:pt x="24588" y="5498"/>
                      <a:pt x="19090" y="0"/>
                      <a:pt x="12294" y="0"/>
                    </a:cubicBezTo>
                    <a:close/>
                  </a:path>
                </a:pathLst>
              </a:custGeom>
              <a:grpFill/>
              <a:ln w="3373" cap="flat">
                <a:noFill/>
                <a:prstDash val="solid"/>
                <a:miter/>
              </a:ln>
            </p:spPr>
            <p:txBody>
              <a:bodyPr rtlCol="0" anchor="ctr"/>
              <a:lstStyle/>
              <a:p>
                <a:endParaRPr lang="en-US"/>
              </a:p>
            </p:txBody>
          </p:sp>
        </p:grpSp>
      </p:grpSp>
      <p:sp>
        <p:nvSpPr>
          <p:cNvPr id="28" name="Rectangle 27">
            <a:extLst>
              <a:ext uri="{FF2B5EF4-FFF2-40B4-BE49-F238E27FC236}">
                <a16:creationId xmlns:a16="http://schemas.microsoft.com/office/drawing/2014/main" id="{235B013C-BF8F-B0BB-D4D1-0615BB8C25CA}"/>
              </a:ext>
            </a:extLst>
          </p:cNvPr>
          <p:cNvSpPr/>
          <p:nvPr/>
        </p:nvSpPr>
        <p:spPr>
          <a:xfrm>
            <a:off x="750288" y="1606176"/>
            <a:ext cx="2040695" cy="82073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173736" indent="-173736" defTabSz="1219170">
              <a:spcBef>
                <a:spcPts val="100"/>
              </a:spcBef>
              <a:spcAft>
                <a:spcPts val="100"/>
              </a:spcAft>
              <a:buClr>
                <a:srgbClr val="3C3D3E"/>
              </a:buClr>
              <a:buSzPct val="100000"/>
              <a:buFont typeface="Arial" panose="020B0604020202020204" pitchFamily="34" charset="0"/>
              <a:buChar char="•"/>
              <a:defRPr/>
            </a:pPr>
            <a:r>
              <a:rPr kumimoji="0" lang="en-US" sz="1000" b="0" i="0" u="none" strike="noStrike" kern="0" cap="none" spc="0" normalizeH="0" baseline="0" noProof="0">
                <a:ln>
                  <a:noFill/>
                </a:ln>
                <a:solidFill>
                  <a:srgbClr val="000000"/>
                </a:solidFill>
                <a:effectLst/>
                <a:uLnTx/>
                <a:uFillTx/>
                <a:ea typeface="Batang" panose="020B0503020000020004" pitchFamily="18" charset="-127"/>
                <a:cs typeface="Arial" panose="020B0604020202020204" pitchFamily="34" charset="0"/>
              </a:rPr>
              <a:t>Current state assessment of oversharing across the org</a:t>
            </a:r>
          </a:p>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Assess shadow AI usage</a:t>
            </a:r>
          </a:p>
          <a:p>
            <a:pPr marL="173736" indent="-173736" defTabSz="1219170">
              <a:spcBef>
                <a:spcPts val="100"/>
              </a:spcBef>
              <a:spcAft>
                <a:spcPts val="100"/>
              </a:spcAft>
              <a:buClr>
                <a:srgbClr val="3C3D3E"/>
              </a:buClr>
              <a:buSzPct val="100000"/>
              <a:buFont typeface="Arial" panose="020B0604020202020204" pitchFamily="34" charset="0"/>
              <a:buChar char="•"/>
              <a:defRPr/>
            </a:pPr>
            <a:r>
              <a:rPr kumimoji="0" lang="en-US" sz="1000" b="0" i="0" u="none" strike="noStrike" kern="0" cap="none" spc="0" normalizeH="0" baseline="0" noProof="0">
                <a:ln>
                  <a:noFill/>
                </a:ln>
                <a:solidFill>
                  <a:srgbClr val="000000"/>
                </a:solidFill>
                <a:effectLst/>
                <a:uLnTx/>
                <a:uFillTx/>
                <a:ea typeface="Batang" panose="020B0503020000020004" pitchFamily="18" charset="-127"/>
                <a:cs typeface="Arial" panose="020B0604020202020204" pitchFamily="34" charset="0"/>
              </a:rPr>
              <a:t>Plan </a:t>
            </a:r>
            <a:r>
              <a:rPr lang="en-US" sz="1000" kern="0">
                <a:solidFill>
                  <a:srgbClr val="000000"/>
                </a:solidFill>
                <a:ea typeface="Batang" panose="020B0503020000020004" pitchFamily="18" charset="-127"/>
                <a:cs typeface="Arial" panose="020B0604020202020204" pitchFamily="34" charset="0"/>
              </a:rPr>
              <a:t>DLP policies to facilitate best M365 Copilot experience</a:t>
            </a:r>
            <a:endParaRPr kumimoji="0" lang="en-US" sz="1000" b="0" i="0" u="none" strike="noStrike" kern="0" cap="none" spc="0" normalizeH="0" baseline="0" noProof="0">
              <a:ln>
                <a:noFill/>
              </a:ln>
              <a:solidFill>
                <a:srgbClr val="000000"/>
              </a:solidFill>
              <a:effectLst/>
              <a:uLnTx/>
              <a:uFillTx/>
              <a:ea typeface="Batang" panose="020B0503020000020004" pitchFamily="18" charset="-127"/>
              <a:cs typeface="Arial" panose="020B0604020202020204" pitchFamily="34" charset="0"/>
            </a:endParaRPr>
          </a:p>
        </p:txBody>
      </p:sp>
      <p:sp>
        <p:nvSpPr>
          <p:cNvPr id="33" name="Rectangle 32">
            <a:extLst>
              <a:ext uri="{FF2B5EF4-FFF2-40B4-BE49-F238E27FC236}">
                <a16:creationId xmlns:a16="http://schemas.microsoft.com/office/drawing/2014/main" id="{F378B830-2122-7A09-CC63-3966F01DBA1C}"/>
              </a:ext>
            </a:extLst>
          </p:cNvPr>
          <p:cNvSpPr/>
          <p:nvPr/>
        </p:nvSpPr>
        <p:spPr>
          <a:xfrm>
            <a:off x="5279809" y="1597054"/>
            <a:ext cx="2024036" cy="66684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173736" marR="0" lvl="0" indent="-173736" defTabSz="1219170" fontAlgn="auto">
              <a:lnSpc>
                <a:spcPct val="100000"/>
              </a:lnSpc>
              <a:spcBef>
                <a:spcPts val="100"/>
              </a:spcBef>
              <a:spcAft>
                <a:spcPts val="100"/>
              </a:spcAft>
              <a:buClr>
                <a:srgbClr val="3C3D3E"/>
              </a:buClr>
              <a:buSzPct val="100000"/>
              <a:buFont typeface="Arial" panose="020B0604020202020204" pitchFamily="34" charset="0"/>
              <a:buChar char="•"/>
              <a:tabLst/>
              <a:defRPr/>
            </a:pPr>
            <a:r>
              <a:rPr lang="en-US" sz="1000" kern="0">
                <a:solidFill>
                  <a:srgbClr val="000000"/>
                </a:solidFill>
                <a:ea typeface="Batang" panose="020B0503020000020004" pitchFamily="18" charset="-127"/>
                <a:cs typeface="Arial" panose="020B0604020202020204" pitchFamily="34" charset="0"/>
              </a:rPr>
              <a:t>Industry-specific rules </a:t>
            </a:r>
          </a:p>
          <a:p>
            <a:pPr marL="173736" marR="0" lvl="0" indent="-173736" defTabSz="1219170" fontAlgn="auto">
              <a:lnSpc>
                <a:spcPct val="100000"/>
              </a:lnSpc>
              <a:spcBef>
                <a:spcPts val="100"/>
              </a:spcBef>
              <a:spcAft>
                <a:spcPts val="100"/>
              </a:spcAft>
              <a:buClr>
                <a:srgbClr val="3C3D3E"/>
              </a:buClr>
              <a:buSzPct val="100000"/>
              <a:buFont typeface="Arial" panose="020B0604020202020204" pitchFamily="34" charset="0"/>
              <a:buChar char="•"/>
              <a:tabLst/>
              <a:defRPr/>
            </a:pPr>
            <a:r>
              <a:rPr lang="en-US" sz="1000" kern="0">
                <a:solidFill>
                  <a:srgbClr val="000000"/>
                </a:solidFill>
                <a:ea typeface="Batang" panose="020B0503020000020004" pitchFamily="18" charset="-127"/>
                <a:cs typeface="Arial" panose="020B0604020202020204" pitchFamily="34" charset="0"/>
              </a:rPr>
              <a:t>Library of DLP policies</a:t>
            </a:r>
          </a:p>
          <a:p>
            <a:pPr marL="173736" marR="0" lvl="0" indent="-173736" defTabSz="1219170" fontAlgn="auto">
              <a:lnSpc>
                <a:spcPct val="100000"/>
              </a:lnSpc>
              <a:spcBef>
                <a:spcPts val="100"/>
              </a:spcBef>
              <a:spcAft>
                <a:spcPts val="100"/>
              </a:spcAft>
              <a:buClr>
                <a:srgbClr val="3C3D3E"/>
              </a:buClr>
              <a:buSzPct val="100000"/>
              <a:buFont typeface="Arial" panose="020B0604020202020204" pitchFamily="34" charset="0"/>
              <a:buChar char="•"/>
              <a:tabLst/>
              <a:defRPr/>
            </a:pPr>
            <a:r>
              <a:rPr lang="en-US" sz="1000" kern="0">
                <a:solidFill>
                  <a:srgbClr val="000000"/>
                </a:solidFill>
                <a:ea typeface="Batang" panose="020B0503020000020004" pitchFamily="18" charset="-127"/>
                <a:cs typeface="Arial" panose="020B0604020202020204" pitchFamily="34" charset="0"/>
              </a:rPr>
              <a:t>Migrate legacy DLP solutions to modern MSFT Cloud &amp; Endpoint</a:t>
            </a:r>
          </a:p>
        </p:txBody>
      </p:sp>
      <p:sp>
        <p:nvSpPr>
          <p:cNvPr id="42" name="Rectangle 41">
            <a:extLst>
              <a:ext uri="{FF2B5EF4-FFF2-40B4-BE49-F238E27FC236}">
                <a16:creationId xmlns:a16="http://schemas.microsoft.com/office/drawing/2014/main" id="{780010C3-0C7C-C538-9F2D-D2B528763A1C}"/>
              </a:ext>
            </a:extLst>
          </p:cNvPr>
          <p:cNvSpPr/>
          <p:nvPr/>
        </p:nvSpPr>
        <p:spPr>
          <a:xfrm>
            <a:off x="7632582" y="1619673"/>
            <a:ext cx="2075197" cy="82073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Industry specific use cases </a:t>
            </a:r>
            <a:br>
              <a:rPr lang="en-US" sz="1000" kern="0">
                <a:solidFill>
                  <a:srgbClr val="000000"/>
                </a:solidFill>
                <a:ea typeface="Batang" panose="020B0503020000020004" pitchFamily="18" charset="-127"/>
                <a:cs typeface="Arial" panose="020B0604020202020204" pitchFamily="34" charset="0"/>
              </a:rPr>
            </a:br>
            <a:r>
              <a:rPr lang="en-US" sz="1000" kern="0">
                <a:solidFill>
                  <a:srgbClr val="000000"/>
                </a:solidFill>
                <a:ea typeface="Batang" panose="020B0503020000020004" pitchFamily="18" charset="-127"/>
                <a:cs typeface="Arial" panose="020B0604020202020204" pitchFamily="34" charset="0"/>
              </a:rPr>
              <a:t>and roles</a:t>
            </a:r>
          </a:p>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Workflow &amp; escalation workflow </a:t>
            </a:r>
          </a:p>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Planning integration with HR systems</a:t>
            </a:r>
          </a:p>
        </p:txBody>
      </p:sp>
      <p:grpSp>
        <p:nvGrpSpPr>
          <p:cNvPr id="51" name="Group 50">
            <a:extLst>
              <a:ext uri="{FF2B5EF4-FFF2-40B4-BE49-F238E27FC236}">
                <a16:creationId xmlns:a16="http://schemas.microsoft.com/office/drawing/2014/main" id="{A943C62B-E154-E45C-31F6-E44C121F610E}"/>
              </a:ext>
            </a:extLst>
          </p:cNvPr>
          <p:cNvGrpSpPr/>
          <p:nvPr/>
        </p:nvGrpSpPr>
        <p:grpSpPr>
          <a:xfrm>
            <a:off x="80268" y="1729510"/>
            <a:ext cx="520931" cy="654864"/>
            <a:chOff x="762656" y="2580735"/>
            <a:chExt cx="520931" cy="654864"/>
          </a:xfrm>
        </p:grpSpPr>
        <p:sp>
          <p:nvSpPr>
            <p:cNvPr id="53" name="object 21">
              <a:extLst>
                <a:ext uri="{FF2B5EF4-FFF2-40B4-BE49-F238E27FC236}">
                  <a16:creationId xmlns:a16="http://schemas.microsoft.com/office/drawing/2014/main" id="{E74F7AE9-94BE-73D9-9511-D1C53235862D}"/>
                </a:ext>
              </a:extLst>
            </p:cNvPr>
            <p:cNvSpPr txBox="1"/>
            <p:nvPr/>
          </p:nvSpPr>
          <p:spPr>
            <a:xfrm>
              <a:off x="762656" y="2972279"/>
              <a:ext cx="520931" cy="263320"/>
            </a:xfrm>
            <a:prstGeom prst="rect">
              <a:avLst/>
            </a:prstGeom>
            <a:noFill/>
            <a:ln>
              <a:noFill/>
            </a:ln>
          </p:spPr>
          <p:txBody>
            <a:bodyPr vert="horz" wrap="square" lIns="0" tIns="16933" rIns="0" bIns="0" rtlCol="0">
              <a:spAutoFit/>
            </a:bodyPr>
            <a:lstStyle/>
            <a:p>
              <a:pPr marL="16933" marR="6773" lvl="0" indent="-2540" algn="ctr" defTabSz="1219170" rtl="0" eaLnBrk="1" fontAlgn="auto" latinLnBrk="0" hangingPunct="1">
                <a:lnSpc>
                  <a:spcPct val="100000"/>
                </a:lnSpc>
                <a:spcBef>
                  <a:spcPts val="133"/>
                </a:spcBef>
                <a:spcAft>
                  <a:spcPts val="0"/>
                </a:spcAft>
                <a:buClrTx/>
                <a:buSzTx/>
                <a:buFontTx/>
                <a:buNone/>
                <a:tabLst/>
                <a:defRPr/>
              </a:pPr>
              <a:r>
                <a:rPr kumimoji="0" lang="en-US" sz="1600" i="0" u="none" strike="noStrike" kern="0" cap="none" spc="0" normalizeH="0" baseline="0" noProof="0">
                  <a:ln>
                    <a:noFill/>
                  </a:ln>
                  <a:effectLst/>
                  <a:uLnTx/>
                  <a:uFillTx/>
                  <a:latin typeface="Barlow Condensed Medium" panose="00000606000000000000" pitchFamily="2" charset="0"/>
                  <a:cs typeface="Arial"/>
                </a:rPr>
                <a:t>Plan</a:t>
              </a:r>
            </a:p>
          </p:txBody>
        </p:sp>
        <p:grpSp>
          <p:nvGrpSpPr>
            <p:cNvPr id="59" name="Group 58">
              <a:extLst>
                <a:ext uri="{FF2B5EF4-FFF2-40B4-BE49-F238E27FC236}">
                  <a16:creationId xmlns:a16="http://schemas.microsoft.com/office/drawing/2014/main" id="{BB5EB077-DE94-95E4-7948-65D8AED72289}"/>
                </a:ext>
              </a:extLst>
            </p:cNvPr>
            <p:cNvGrpSpPr/>
            <p:nvPr/>
          </p:nvGrpSpPr>
          <p:grpSpPr>
            <a:xfrm>
              <a:off x="851016" y="2580735"/>
              <a:ext cx="344210" cy="357461"/>
              <a:chOff x="788474" y="2408654"/>
              <a:chExt cx="434759" cy="451492"/>
            </a:xfrm>
            <a:solidFill>
              <a:schemeClr val="tx1"/>
            </a:solidFill>
          </p:grpSpPr>
          <p:sp>
            <p:nvSpPr>
              <p:cNvPr id="60" name="Freeform: Shape 59">
                <a:extLst>
                  <a:ext uri="{FF2B5EF4-FFF2-40B4-BE49-F238E27FC236}">
                    <a16:creationId xmlns:a16="http://schemas.microsoft.com/office/drawing/2014/main" id="{A68F49BF-B9C1-A2AA-1D4F-6C070324589F}"/>
                  </a:ext>
                </a:extLst>
              </p:cNvPr>
              <p:cNvSpPr/>
              <p:nvPr/>
            </p:nvSpPr>
            <p:spPr>
              <a:xfrm>
                <a:off x="917526" y="2496931"/>
                <a:ext cx="235086" cy="17074"/>
              </a:xfrm>
              <a:custGeom>
                <a:avLst/>
                <a:gdLst>
                  <a:gd name="connsiteX0" fmla="*/ 0 w 235086"/>
                  <a:gd name="connsiteY0" fmla="*/ 17075 h 17074"/>
                  <a:gd name="connsiteX1" fmla="*/ 0 w 235086"/>
                  <a:gd name="connsiteY1" fmla="*/ 0 h 17074"/>
                  <a:gd name="connsiteX2" fmla="*/ 235086 w 235086"/>
                  <a:gd name="connsiteY2" fmla="*/ 0 h 17074"/>
                  <a:gd name="connsiteX3" fmla="*/ 235086 w 235086"/>
                  <a:gd name="connsiteY3" fmla="*/ 17075 h 17074"/>
                  <a:gd name="connsiteX4" fmla="*/ 0 w 235086"/>
                  <a:gd name="connsiteY4" fmla="*/ 17075 h 17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86" h="17074">
                    <a:moveTo>
                      <a:pt x="0" y="17075"/>
                    </a:moveTo>
                    <a:lnTo>
                      <a:pt x="0" y="0"/>
                    </a:lnTo>
                    <a:lnTo>
                      <a:pt x="235086" y="0"/>
                    </a:lnTo>
                    <a:lnTo>
                      <a:pt x="235086" y="17075"/>
                    </a:lnTo>
                    <a:lnTo>
                      <a:pt x="0" y="17075"/>
                    </a:lnTo>
                    <a:close/>
                  </a:path>
                </a:pathLst>
              </a:custGeom>
              <a:grpFill/>
              <a:ln w="3373"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5B335600-4675-AFEA-33B5-4D83010FDC6B}"/>
                  </a:ext>
                </a:extLst>
              </p:cNvPr>
              <p:cNvSpPr/>
              <p:nvPr/>
            </p:nvSpPr>
            <p:spPr>
              <a:xfrm>
                <a:off x="917526" y="2496931"/>
                <a:ext cx="235086" cy="17074"/>
              </a:xfrm>
              <a:custGeom>
                <a:avLst/>
                <a:gdLst>
                  <a:gd name="connsiteX0" fmla="*/ 0 w 235086"/>
                  <a:gd name="connsiteY0" fmla="*/ 0 h 17074"/>
                  <a:gd name="connsiteX1" fmla="*/ 235086 w 235086"/>
                  <a:gd name="connsiteY1" fmla="*/ 0 h 17074"/>
                  <a:gd name="connsiteX2" fmla="*/ 235086 w 235086"/>
                  <a:gd name="connsiteY2" fmla="*/ 17075 h 17074"/>
                  <a:gd name="connsiteX3" fmla="*/ 0 w 235086"/>
                  <a:gd name="connsiteY3" fmla="*/ 17075 h 17074"/>
                </a:gdLst>
                <a:ahLst/>
                <a:cxnLst>
                  <a:cxn ang="0">
                    <a:pos x="connsiteX0" y="connsiteY0"/>
                  </a:cxn>
                  <a:cxn ang="0">
                    <a:pos x="connsiteX1" y="connsiteY1"/>
                  </a:cxn>
                  <a:cxn ang="0">
                    <a:pos x="connsiteX2" y="connsiteY2"/>
                  </a:cxn>
                  <a:cxn ang="0">
                    <a:pos x="connsiteX3" y="connsiteY3"/>
                  </a:cxn>
                </a:cxnLst>
                <a:rect l="l" t="t" r="r" b="b"/>
                <a:pathLst>
                  <a:path w="235086" h="17074">
                    <a:moveTo>
                      <a:pt x="0" y="0"/>
                    </a:moveTo>
                    <a:lnTo>
                      <a:pt x="235086" y="0"/>
                    </a:lnTo>
                    <a:lnTo>
                      <a:pt x="235086" y="17075"/>
                    </a:lnTo>
                    <a:lnTo>
                      <a:pt x="0" y="17075"/>
                    </a:lnTo>
                    <a:close/>
                  </a:path>
                </a:pathLst>
              </a:custGeom>
              <a:grpFill/>
              <a:ln w="3373" cap="flat">
                <a:noFill/>
                <a:prstDash val="solid"/>
                <a:miter/>
              </a:ln>
            </p:spPr>
            <p:txBody>
              <a:bodyPr rtlCol="0" anchor="ctr"/>
              <a:lstStyle/>
              <a:p>
                <a:endParaRPr lang="en-US"/>
              </a:p>
            </p:txBody>
          </p:sp>
          <p:sp>
            <p:nvSpPr>
              <p:cNvPr id="898" name="Freeform: Shape 897">
                <a:extLst>
                  <a:ext uri="{FF2B5EF4-FFF2-40B4-BE49-F238E27FC236}">
                    <a16:creationId xmlns:a16="http://schemas.microsoft.com/office/drawing/2014/main" id="{939D6840-5A00-21A9-D78C-D672ACBD1292}"/>
                  </a:ext>
                </a:extLst>
              </p:cNvPr>
              <p:cNvSpPr/>
              <p:nvPr/>
            </p:nvSpPr>
            <p:spPr>
              <a:xfrm>
                <a:off x="921760" y="2590877"/>
                <a:ext cx="19738" cy="409"/>
              </a:xfrm>
              <a:custGeom>
                <a:avLst/>
                <a:gdLst>
                  <a:gd name="connsiteX0" fmla="*/ 0 w 19738"/>
                  <a:gd name="connsiteY0" fmla="*/ 410 h 409"/>
                  <a:gd name="connsiteX1" fmla="*/ 19738 w 19738"/>
                  <a:gd name="connsiteY1" fmla="*/ 410 h 409"/>
                  <a:gd name="connsiteX2" fmla="*/ 9869 w 19738"/>
                  <a:gd name="connsiteY2" fmla="*/ 0 h 409"/>
                  <a:gd name="connsiteX3" fmla="*/ 0 w 19738"/>
                  <a:gd name="connsiteY3" fmla="*/ 410 h 409"/>
                </a:gdLst>
                <a:ahLst/>
                <a:cxnLst>
                  <a:cxn ang="0">
                    <a:pos x="connsiteX0" y="connsiteY0"/>
                  </a:cxn>
                  <a:cxn ang="0">
                    <a:pos x="connsiteX1" y="connsiteY1"/>
                  </a:cxn>
                  <a:cxn ang="0">
                    <a:pos x="connsiteX2" y="connsiteY2"/>
                  </a:cxn>
                  <a:cxn ang="0">
                    <a:pos x="connsiteX3" y="connsiteY3"/>
                  </a:cxn>
                </a:cxnLst>
                <a:rect l="l" t="t" r="r" b="b"/>
                <a:pathLst>
                  <a:path w="19738" h="409">
                    <a:moveTo>
                      <a:pt x="0" y="410"/>
                    </a:moveTo>
                    <a:lnTo>
                      <a:pt x="19738" y="410"/>
                    </a:lnTo>
                    <a:cubicBezTo>
                      <a:pt x="16460" y="171"/>
                      <a:pt x="13182" y="0"/>
                      <a:pt x="9869" y="0"/>
                    </a:cubicBezTo>
                    <a:cubicBezTo>
                      <a:pt x="6557" y="0"/>
                      <a:pt x="3244" y="171"/>
                      <a:pt x="0" y="410"/>
                    </a:cubicBezTo>
                    <a:close/>
                  </a:path>
                </a:pathLst>
              </a:custGeom>
              <a:grpFill/>
              <a:ln w="3373" cap="flat">
                <a:noFill/>
                <a:prstDash val="solid"/>
                <a:miter/>
              </a:ln>
            </p:spPr>
            <p:txBody>
              <a:bodyPr rtlCol="0" anchor="ctr"/>
              <a:lstStyle/>
              <a:p>
                <a:endParaRPr lang="en-US"/>
              </a:p>
            </p:txBody>
          </p:sp>
          <p:sp>
            <p:nvSpPr>
              <p:cNvPr id="899" name="Freeform: Shape 898">
                <a:extLst>
                  <a:ext uri="{FF2B5EF4-FFF2-40B4-BE49-F238E27FC236}">
                    <a16:creationId xmlns:a16="http://schemas.microsoft.com/office/drawing/2014/main" id="{EDF26ABC-85A4-07AA-FC7C-157EAF4958C1}"/>
                  </a:ext>
                </a:extLst>
              </p:cNvPr>
              <p:cNvSpPr/>
              <p:nvPr/>
            </p:nvSpPr>
            <p:spPr>
              <a:xfrm>
                <a:off x="788474" y="2408654"/>
                <a:ext cx="430661" cy="451492"/>
              </a:xfrm>
              <a:custGeom>
                <a:avLst/>
                <a:gdLst>
                  <a:gd name="connsiteX0" fmla="*/ 49210 w 430661"/>
                  <a:gd name="connsiteY0" fmla="*/ 0 h 451492"/>
                  <a:gd name="connsiteX1" fmla="*/ 49210 w 430661"/>
                  <a:gd name="connsiteY1" fmla="*/ 200424 h 451492"/>
                  <a:gd name="connsiteX2" fmla="*/ 0 w 430661"/>
                  <a:gd name="connsiteY2" fmla="*/ 308303 h 451492"/>
                  <a:gd name="connsiteX3" fmla="*/ 143189 w 430661"/>
                  <a:gd name="connsiteY3" fmla="*/ 451493 h 451492"/>
                  <a:gd name="connsiteX4" fmla="*/ 232218 w 430661"/>
                  <a:gd name="connsiteY4" fmla="*/ 420348 h 451492"/>
                  <a:gd name="connsiteX5" fmla="*/ 398083 w 430661"/>
                  <a:gd name="connsiteY5" fmla="*/ 420348 h 451492"/>
                  <a:gd name="connsiteX6" fmla="*/ 398083 w 430661"/>
                  <a:gd name="connsiteY6" fmla="*/ 403273 h 451492"/>
                  <a:gd name="connsiteX7" fmla="*/ 250249 w 430661"/>
                  <a:gd name="connsiteY7" fmla="*/ 403273 h 451492"/>
                  <a:gd name="connsiteX8" fmla="*/ 283545 w 430661"/>
                  <a:gd name="connsiteY8" fmla="*/ 336681 h 451492"/>
                  <a:gd name="connsiteX9" fmla="*/ 364172 w 430661"/>
                  <a:gd name="connsiteY9" fmla="*/ 336681 h 451492"/>
                  <a:gd name="connsiteX10" fmla="*/ 364172 w 430661"/>
                  <a:gd name="connsiteY10" fmla="*/ 320597 h 451492"/>
                  <a:gd name="connsiteX11" fmla="*/ 285833 w 430661"/>
                  <a:gd name="connsiteY11" fmla="*/ 320597 h 451492"/>
                  <a:gd name="connsiteX12" fmla="*/ 286379 w 430661"/>
                  <a:gd name="connsiteY12" fmla="*/ 308337 h 451492"/>
                  <a:gd name="connsiteX13" fmla="*/ 277944 w 430661"/>
                  <a:gd name="connsiteY13" fmla="*/ 259913 h 451492"/>
                  <a:gd name="connsiteX14" fmla="*/ 364172 w 430661"/>
                  <a:gd name="connsiteY14" fmla="*/ 259913 h 451492"/>
                  <a:gd name="connsiteX15" fmla="*/ 364172 w 430661"/>
                  <a:gd name="connsiteY15" fmla="*/ 242838 h 451492"/>
                  <a:gd name="connsiteX16" fmla="*/ 270465 w 430661"/>
                  <a:gd name="connsiteY16" fmla="*/ 242838 h 451492"/>
                  <a:gd name="connsiteX17" fmla="*/ 211728 w 430661"/>
                  <a:gd name="connsiteY17" fmla="*/ 182667 h 451492"/>
                  <a:gd name="connsiteX18" fmla="*/ 364172 w 430661"/>
                  <a:gd name="connsiteY18" fmla="*/ 182667 h 451492"/>
                  <a:gd name="connsiteX19" fmla="*/ 364172 w 430661"/>
                  <a:gd name="connsiteY19" fmla="*/ 165592 h 451492"/>
                  <a:gd name="connsiteX20" fmla="*/ 153639 w 430661"/>
                  <a:gd name="connsiteY20" fmla="*/ 165592 h 451492"/>
                  <a:gd name="connsiteX21" fmla="*/ 143189 w 430661"/>
                  <a:gd name="connsiteY21" fmla="*/ 165182 h 451492"/>
                  <a:gd name="connsiteX22" fmla="*/ 132740 w 430661"/>
                  <a:gd name="connsiteY22" fmla="*/ 165592 h 451492"/>
                  <a:gd name="connsiteX23" fmla="*/ 129052 w 430661"/>
                  <a:gd name="connsiteY23" fmla="*/ 165592 h 451492"/>
                  <a:gd name="connsiteX24" fmla="*/ 129052 w 430661"/>
                  <a:gd name="connsiteY24" fmla="*/ 165865 h 451492"/>
                  <a:gd name="connsiteX25" fmla="*/ 66284 w 430661"/>
                  <a:gd name="connsiteY25" fmla="*/ 187652 h 451492"/>
                  <a:gd name="connsiteX26" fmla="*/ 66284 w 430661"/>
                  <a:gd name="connsiteY26" fmla="*/ 17075 h 451492"/>
                  <a:gd name="connsiteX27" fmla="*/ 413586 w 430661"/>
                  <a:gd name="connsiteY27" fmla="*/ 17075 h 451492"/>
                  <a:gd name="connsiteX28" fmla="*/ 413586 w 430661"/>
                  <a:gd name="connsiteY28" fmla="*/ 387735 h 451492"/>
                  <a:gd name="connsiteX29" fmla="*/ 430661 w 430661"/>
                  <a:gd name="connsiteY29" fmla="*/ 387735 h 451492"/>
                  <a:gd name="connsiteX30" fmla="*/ 430661 w 430661"/>
                  <a:gd name="connsiteY30" fmla="*/ 0 h 451492"/>
                  <a:gd name="connsiteX31" fmla="*/ 49210 w 430661"/>
                  <a:gd name="connsiteY31" fmla="*/ 0 h 451492"/>
                  <a:gd name="connsiteX32" fmla="*/ 133320 w 430661"/>
                  <a:gd name="connsiteY32" fmla="*/ 182632 h 451492"/>
                  <a:gd name="connsiteX33" fmla="*/ 143189 w 430661"/>
                  <a:gd name="connsiteY33" fmla="*/ 182223 h 451492"/>
                  <a:gd name="connsiteX34" fmla="*/ 153059 w 430661"/>
                  <a:gd name="connsiteY34" fmla="*/ 182632 h 451492"/>
                  <a:gd name="connsiteX35" fmla="*/ 269270 w 430661"/>
                  <a:gd name="connsiteY35" fmla="*/ 308303 h 451492"/>
                  <a:gd name="connsiteX36" fmla="*/ 143155 w 430661"/>
                  <a:gd name="connsiteY36" fmla="*/ 434418 h 451492"/>
                  <a:gd name="connsiteX37" fmla="*/ 17075 w 430661"/>
                  <a:gd name="connsiteY37" fmla="*/ 308303 h 451492"/>
                  <a:gd name="connsiteX38" fmla="*/ 133286 w 430661"/>
                  <a:gd name="connsiteY38" fmla="*/ 182632 h 451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0661" h="451492">
                    <a:moveTo>
                      <a:pt x="49210" y="0"/>
                    </a:moveTo>
                    <a:lnTo>
                      <a:pt x="49210" y="200424"/>
                    </a:lnTo>
                    <a:cubicBezTo>
                      <a:pt x="19090" y="226685"/>
                      <a:pt x="0" y="265309"/>
                      <a:pt x="0" y="308303"/>
                    </a:cubicBezTo>
                    <a:cubicBezTo>
                      <a:pt x="0" y="387257"/>
                      <a:pt x="64236" y="451493"/>
                      <a:pt x="143189" y="451493"/>
                    </a:cubicBezTo>
                    <a:cubicBezTo>
                      <a:pt x="176827" y="451493"/>
                      <a:pt x="207732" y="439813"/>
                      <a:pt x="232218" y="420348"/>
                    </a:cubicBezTo>
                    <a:lnTo>
                      <a:pt x="398083" y="420348"/>
                    </a:lnTo>
                    <a:lnTo>
                      <a:pt x="398083" y="403273"/>
                    </a:lnTo>
                    <a:lnTo>
                      <a:pt x="250249" y="403273"/>
                    </a:lnTo>
                    <a:cubicBezTo>
                      <a:pt x="266709" y="384730"/>
                      <a:pt x="278456" y="361918"/>
                      <a:pt x="283545" y="336681"/>
                    </a:cubicBezTo>
                    <a:lnTo>
                      <a:pt x="364172" y="336681"/>
                    </a:lnTo>
                    <a:lnTo>
                      <a:pt x="364172" y="320597"/>
                    </a:lnTo>
                    <a:lnTo>
                      <a:pt x="285833" y="320597"/>
                    </a:lnTo>
                    <a:cubicBezTo>
                      <a:pt x="286174" y="316533"/>
                      <a:pt x="286379" y="312469"/>
                      <a:pt x="286379" y="308337"/>
                    </a:cubicBezTo>
                    <a:cubicBezTo>
                      <a:pt x="286379" y="291365"/>
                      <a:pt x="283374" y="275041"/>
                      <a:pt x="277944" y="259913"/>
                    </a:cubicBezTo>
                    <a:lnTo>
                      <a:pt x="364172" y="259913"/>
                    </a:lnTo>
                    <a:lnTo>
                      <a:pt x="364172" y="242838"/>
                    </a:lnTo>
                    <a:lnTo>
                      <a:pt x="270465" y="242838"/>
                    </a:lnTo>
                    <a:cubicBezTo>
                      <a:pt x="257318" y="217397"/>
                      <a:pt x="236828" y="196361"/>
                      <a:pt x="211728" y="182667"/>
                    </a:cubicBezTo>
                    <a:lnTo>
                      <a:pt x="364172" y="182667"/>
                    </a:lnTo>
                    <a:lnTo>
                      <a:pt x="364172" y="165592"/>
                    </a:lnTo>
                    <a:lnTo>
                      <a:pt x="153639" y="165592"/>
                    </a:lnTo>
                    <a:cubicBezTo>
                      <a:pt x="150190" y="165353"/>
                      <a:pt x="146707" y="165182"/>
                      <a:pt x="143189" y="165182"/>
                    </a:cubicBezTo>
                    <a:cubicBezTo>
                      <a:pt x="139672" y="165182"/>
                      <a:pt x="136189" y="165353"/>
                      <a:pt x="132740" y="165592"/>
                    </a:cubicBezTo>
                    <a:lnTo>
                      <a:pt x="129052" y="165592"/>
                    </a:lnTo>
                    <a:lnTo>
                      <a:pt x="129052" y="165865"/>
                    </a:lnTo>
                    <a:cubicBezTo>
                      <a:pt x="106103" y="168119"/>
                      <a:pt x="84759" y="175837"/>
                      <a:pt x="66284" y="187652"/>
                    </a:cubicBezTo>
                    <a:lnTo>
                      <a:pt x="66284" y="17075"/>
                    </a:lnTo>
                    <a:lnTo>
                      <a:pt x="413586" y="17075"/>
                    </a:lnTo>
                    <a:lnTo>
                      <a:pt x="413586" y="387735"/>
                    </a:lnTo>
                    <a:lnTo>
                      <a:pt x="430661" y="387735"/>
                    </a:lnTo>
                    <a:lnTo>
                      <a:pt x="430661" y="0"/>
                    </a:lnTo>
                    <a:lnTo>
                      <a:pt x="49210" y="0"/>
                    </a:lnTo>
                    <a:close/>
                    <a:moveTo>
                      <a:pt x="133320" y="182632"/>
                    </a:moveTo>
                    <a:cubicBezTo>
                      <a:pt x="136599" y="182393"/>
                      <a:pt x="139877" y="182223"/>
                      <a:pt x="143189" y="182223"/>
                    </a:cubicBezTo>
                    <a:cubicBezTo>
                      <a:pt x="146502" y="182223"/>
                      <a:pt x="149815" y="182393"/>
                      <a:pt x="153059" y="182632"/>
                    </a:cubicBezTo>
                    <a:cubicBezTo>
                      <a:pt x="217977" y="187686"/>
                      <a:pt x="269270" y="242087"/>
                      <a:pt x="269270" y="308303"/>
                    </a:cubicBezTo>
                    <a:cubicBezTo>
                      <a:pt x="269270" y="377832"/>
                      <a:pt x="212718" y="434418"/>
                      <a:pt x="143155" y="434418"/>
                    </a:cubicBezTo>
                    <a:cubicBezTo>
                      <a:pt x="73593" y="434418"/>
                      <a:pt x="17075" y="377832"/>
                      <a:pt x="17075" y="308303"/>
                    </a:cubicBezTo>
                    <a:cubicBezTo>
                      <a:pt x="17075" y="238774"/>
                      <a:pt x="68368" y="187686"/>
                      <a:pt x="133286" y="182632"/>
                    </a:cubicBezTo>
                    <a:close/>
                  </a:path>
                </a:pathLst>
              </a:custGeom>
              <a:grpFill/>
              <a:ln w="3373" cap="flat">
                <a:noFill/>
                <a:prstDash val="solid"/>
                <a:miter/>
              </a:ln>
            </p:spPr>
            <p:txBody>
              <a:bodyPr rtlCol="0" anchor="ctr"/>
              <a:lstStyle/>
              <a:p>
                <a:endParaRPr lang="en-US"/>
              </a:p>
            </p:txBody>
          </p:sp>
          <p:sp>
            <p:nvSpPr>
              <p:cNvPr id="900" name="Freeform: Shape 899">
                <a:extLst>
                  <a:ext uri="{FF2B5EF4-FFF2-40B4-BE49-F238E27FC236}">
                    <a16:creationId xmlns:a16="http://schemas.microsoft.com/office/drawing/2014/main" id="{47AFF52C-9B58-679D-425F-8DCB3D20E9CA}"/>
                  </a:ext>
                </a:extLst>
              </p:cNvPr>
              <p:cNvSpPr/>
              <p:nvPr/>
            </p:nvSpPr>
            <p:spPr>
              <a:xfrm>
                <a:off x="848407" y="2662489"/>
                <a:ext cx="166479" cy="124509"/>
              </a:xfrm>
              <a:custGeom>
                <a:avLst/>
                <a:gdLst>
                  <a:gd name="connsiteX0" fmla="*/ 54059 w 166479"/>
                  <a:gd name="connsiteY0" fmla="*/ 100366 h 124509"/>
                  <a:gd name="connsiteX1" fmla="*/ 12089 w 166479"/>
                  <a:gd name="connsiteY1" fmla="*/ 58396 h 124509"/>
                  <a:gd name="connsiteX2" fmla="*/ 0 w 166479"/>
                  <a:gd name="connsiteY2" fmla="*/ 70451 h 124509"/>
                  <a:gd name="connsiteX3" fmla="*/ 54059 w 166479"/>
                  <a:gd name="connsiteY3" fmla="*/ 124510 h 124509"/>
                  <a:gd name="connsiteX4" fmla="*/ 166480 w 166479"/>
                  <a:gd name="connsiteY4" fmla="*/ 12089 h 124509"/>
                  <a:gd name="connsiteX5" fmla="*/ 154391 w 166479"/>
                  <a:gd name="connsiteY5" fmla="*/ 0 h 124509"/>
                  <a:gd name="connsiteX6" fmla="*/ 54059 w 166479"/>
                  <a:gd name="connsiteY6" fmla="*/ 100366 h 12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479" h="124509">
                    <a:moveTo>
                      <a:pt x="54059" y="100366"/>
                    </a:moveTo>
                    <a:lnTo>
                      <a:pt x="12089" y="58396"/>
                    </a:lnTo>
                    <a:lnTo>
                      <a:pt x="0" y="70451"/>
                    </a:lnTo>
                    <a:lnTo>
                      <a:pt x="54059" y="124510"/>
                    </a:lnTo>
                    <a:lnTo>
                      <a:pt x="166480" y="12089"/>
                    </a:lnTo>
                    <a:lnTo>
                      <a:pt x="154391" y="0"/>
                    </a:lnTo>
                    <a:lnTo>
                      <a:pt x="54059" y="100366"/>
                    </a:lnTo>
                    <a:close/>
                  </a:path>
                </a:pathLst>
              </a:custGeom>
              <a:grpFill/>
              <a:ln w="3373" cap="flat">
                <a:noFill/>
                <a:prstDash val="solid"/>
                <a:miter/>
              </a:ln>
            </p:spPr>
            <p:txBody>
              <a:bodyPr rtlCol="0" anchor="ctr"/>
              <a:lstStyle/>
              <a:p>
                <a:endParaRPr lang="en-US"/>
              </a:p>
            </p:txBody>
          </p:sp>
          <p:sp>
            <p:nvSpPr>
              <p:cNvPr id="901" name="Freeform: Shape 900">
                <a:extLst>
                  <a:ext uri="{FF2B5EF4-FFF2-40B4-BE49-F238E27FC236}">
                    <a16:creationId xmlns:a16="http://schemas.microsoft.com/office/drawing/2014/main" id="{04A17224-87AE-EC37-32BC-C80C8CCB33F6}"/>
                  </a:ext>
                </a:extLst>
              </p:cNvPr>
              <p:cNvSpPr/>
              <p:nvPr/>
            </p:nvSpPr>
            <p:spPr>
              <a:xfrm>
                <a:off x="1198646" y="2808137"/>
                <a:ext cx="24587" cy="24587"/>
              </a:xfrm>
              <a:custGeom>
                <a:avLst/>
                <a:gdLst>
                  <a:gd name="connsiteX0" fmla="*/ 20490 w 24587"/>
                  <a:gd name="connsiteY0" fmla="*/ 3176 h 24587"/>
                  <a:gd name="connsiteX1" fmla="*/ 12294 w 24587"/>
                  <a:gd name="connsiteY1" fmla="*/ 0 h 24587"/>
                  <a:gd name="connsiteX2" fmla="*/ 0 w 24587"/>
                  <a:gd name="connsiteY2" fmla="*/ 12294 h 24587"/>
                  <a:gd name="connsiteX3" fmla="*/ 3483 w 24587"/>
                  <a:gd name="connsiteY3" fmla="*/ 20831 h 24587"/>
                  <a:gd name="connsiteX4" fmla="*/ 12294 w 24587"/>
                  <a:gd name="connsiteY4" fmla="*/ 24588 h 24587"/>
                  <a:gd name="connsiteX5" fmla="*/ 24588 w 24587"/>
                  <a:gd name="connsiteY5" fmla="*/ 12294 h 24587"/>
                  <a:gd name="connsiteX6" fmla="*/ 20490 w 24587"/>
                  <a:gd name="connsiteY6" fmla="*/ 3176 h 2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87" h="24587">
                    <a:moveTo>
                      <a:pt x="20490" y="3176"/>
                    </a:moveTo>
                    <a:cubicBezTo>
                      <a:pt x="18304" y="1229"/>
                      <a:pt x="15470" y="0"/>
                      <a:pt x="12294" y="0"/>
                    </a:cubicBezTo>
                    <a:cubicBezTo>
                      <a:pt x="5498" y="0"/>
                      <a:pt x="0" y="5498"/>
                      <a:pt x="0" y="12294"/>
                    </a:cubicBezTo>
                    <a:cubicBezTo>
                      <a:pt x="0" y="15606"/>
                      <a:pt x="1332" y="18612"/>
                      <a:pt x="3483" y="20831"/>
                    </a:cubicBezTo>
                    <a:cubicBezTo>
                      <a:pt x="5703" y="23153"/>
                      <a:pt x="8845" y="24588"/>
                      <a:pt x="12294" y="24588"/>
                    </a:cubicBezTo>
                    <a:cubicBezTo>
                      <a:pt x="19090" y="24588"/>
                      <a:pt x="24588" y="19090"/>
                      <a:pt x="24588" y="12294"/>
                    </a:cubicBezTo>
                    <a:cubicBezTo>
                      <a:pt x="24588" y="8674"/>
                      <a:pt x="22983" y="5430"/>
                      <a:pt x="20490" y="3176"/>
                    </a:cubicBezTo>
                    <a:close/>
                  </a:path>
                </a:pathLst>
              </a:custGeom>
              <a:grpFill/>
              <a:ln w="3373" cap="flat">
                <a:noFill/>
                <a:prstDash val="solid"/>
                <a:miter/>
              </a:ln>
            </p:spPr>
            <p:txBody>
              <a:bodyPr rtlCol="0" anchor="ctr"/>
              <a:lstStyle/>
              <a:p>
                <a:endParaRPr lang="en-US"/>
              </a:p>
            </p:txBody>
          </p:sp>
        </p:grpSp>
      </p:grpSp>
      <p:cxnSp>
        <p:nvCxnSpPr>
          <p:cNvPr id="909" name="Straight Connector 908">
            <a:extLst>
              <a:ext uri="{FF2B5EF4-FFF2-40B4-BE49-F238E27FC236}">
                <a16:creationId xmlns:a16="http://schemas.microsoft.com/office/drawing/2014/main" id="{1897C7AB-8249-3FBD-8644-01C6BA9FE5D1}"/>
              </a:ext>
            </a:extLst>
          </p:cNvPr>
          <p:cNvCxnSpPr>
            <a:cxnSpLocks/>
          </p:cNvCxnSpPr>
          <p:nvPr/>
        </p:nvCxnSpPr>
        <p:spPr>
          <a:xfrm>
            <a:off x="686288" y="2513729"/>
            <a:ext cx="2109317" cy="0"/>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11" name="Straight Connector 910">
            <a:extLst>
              <a:ext uri="{FF2B5EF4-FFF2-40B4-BE49-F238E27FC236}">
                <a16:creationId xmlns:a16="http://schemas.microsoft.com/office/drawing/2014/main" id="{42F1F94F-3429-BCF6-65A2-870E5862747A}"/>
              </a:ext>
            </a:extLst>
          </p:cNvPr>
          <p:cNvCxnSpPr>
            <a:cxnSpLocks/>
          </p:cNvCxnSpPr>
          <p:nvPr/>
        </p:nvCxnSpPr>
        <p:spPr>
          <a:xfrm>
            <a:off x="686288" y="3537833"/>
            <a:ext cx="2109317" cy="0"/>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31" name="Straight Connector 930">
            <a:extLst>
              <a:ext uri="{FF2B5EF4-FFF2-40B4-BE49-F238E27FC236}">
                <a16:creationId xmlns:a16="http://schemas.microsoft.com/office/drawing/2014/main" id="{BD27DC66-B7B7-1A59-758E-D689C87F6FB1}"/>
              </a:ext>
            </a:extLst>
          </p:cNvPr>
          <p:cNvCxnSpPr>
            <a:cxnSpLocks/>
          </p:cNvCxnSpPr>
          <p:nvPr/>
        </p:nvCxnSpPr>
        <p:spPr>
          <a:xfrm>
            <a:off x="2880442" y="1620827"/>
            <a:ext cx="0" cy="806087"/>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38" name="Straight Connector 937">
            <a:extLst>
              <a:ext uri="{FF2B5EF4-FFF2-40B4-BE49-F238E27FC236}">
                <a16:creationId xmlns:a16="http://schemas.microsoft.com/office/drawing/2014/main" id="{A8AF9D9F-EC94-614E-0FC6-95C05F898EC7}"/>
              </a:ext>
            </a:extLst>
          </p:cNvPr>
          <p:cNvCxnSpPr>
            <a:cxnSpLocks/>
          </p:cNvCxnSpPr>
          <p:nvPr/>
        </p:nvCxnSpPr>
        <p:spPr>
          <a:xfrm>
            <a:off x="2880442" y="2613053"/>
            <a:ext cx="0" cy="820738"/>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42" name="Straight Connector 941">
            <a:extLst>
              <a:ext uri="{FF2B5EF4-FFF2-40B4-BE49-F238E27FC236}">
                <a16:creationId xmlns:a16="http://schemas.microsoft.com/office/drawing/2014/main" id="{F5135BBE-9445-4C68-230B-9ACA3CC904BC}"/>
              </a:ext>
            </a:extLst>
          </p:cNvPr>
          <p:cNvCxnSpPr>
            <a:cxnSpLocks/>
          </p:cNvCxnSpPr>
          <p:nvPr/>
        </p:nvCxnSpPr>
        <p:spPr>
          <a:xfrm>
            <a:off x="2880442" y="3631900"/>
            <a:ext cx="0" cy="741895"/>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45" name="Oval 944">
            <a:extLst>
              <a:ext uri="{FF2B5EF4-FFF2-40B4-BE49-F238E27FC236}">
                <a16:creationId xmlns:a16="http://schemas.microsoft.com/office/drawing/2014/main" id="{A55A4C48-C7AA-4845-4A6D-A9034CDCFCA7}"/>
              </a:ext>
            </a:extLst>
          </p:cNvPr>
          <p:cNvSpPr/>
          <p:nvPr/>
        </p:nvSpPr>
        <p:spPr>
          <a:xfrm>
            <a:off x="2846247" y="2487407"/>
            <a:ext cx="64008" cy="64008"/>
          </a:xfrm>
          <a:prstGeom prst="ellipse">
            <a:avLst/>
          </a:prstGeom>
          <a:solidFill>
            <a:srgbClr val="FF5432"/>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6" name="Oval 945">
            <a:extLst>
              <a:ext uri="{FF2B5EF4-FFF2-40B4-BE49-F238E27FC236}">
                <a16:creationId xmlns:a16="http://schemas.microsoft.com/office/drawing/2014/main" id="{6DB29025-E39B-DF3E-1AE7-B2A1BE67B4CA}"/>
              </a:ext>
            </a:extLst>
          </p:cNvPr>
          <p:cNvSpPr/>
          <p:nvPr/>
        </p:nvSpPr>
        <p:spPr>
          <a:xfrm>
            <a:off x="2846247" y="3501598"/>
            <a:ext cx="64008" cy="64008"/>
          </a:xfrm>
          <a:prstGeom prst="ellipse">
            <a:avLst/>
          </a:prstGeom>
          <a:solidFill>
            <a:srgbClr val="FF5432"/>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23C48C4E-E669-897A-D7EF-3FC9FBF7C255}"/>
              </a:ext>
            </a:extLst>
          </p:cNvPr>
          <p:cNvPicPr>
            <a:picLocks noChangeAspect="1"/>
          </p:cNvPicPr>
          <p:nvPr/>
        </p:nvPicPr>
        <p:blipFill>
          <a:blip r:embed="rId6" cstate="screen">
            <a:lum bright="70000" contrast="-70000"/>
            <a:extLst>
              <a:ext uri="{28A0092B-C50C-407E-A947-70E740481C1C}">
                <a14:useLocalDpi xmlns:a14="http://schemas.microsoft.com/office/drawing/2010/main"/>
              </a:ext>
            </a:extLst>
          </a:blip>
          <a:srcRect/>
          <a:stretch/>
        </p:blipFill>
        <p:spPr>
          <a:xfrm>
            <a:off x="703316" y="5820904"/>
            <a:ext cx="2137143" cy="786307"/>
          </a:xfrm>
          <a:prstGeom prst="rect">
            <a:avLst/>
          </a:prstGeom>
        </p:spPr>
      </p:pic>
      <p:pic>
        <p:nvPicPr>
          <p:cNvPr id="12" name="Picture 11" descr="A white background with grey text&#10;&#10;Description automatically generated">
            <a:extLst>
              <a:ext uri="{FF2B5EF4-FFF2-40B4-BE49-F238E27FC236}">
                <a16:creationId xmlns:a16="http://schemas.microsoft.com/office/drawing/2014/main" id="{AFCF4D46-0FA4-6159-8C1B-40D34B6EE68A}"/>
              </a:ext>
            </a:extLst>
          </p:cNvPr>
          <p:cNvPicPr>
            <a:picLocks noChangeAspect="1"/>
          </p:cNvPicPr>
          <p:nvPr/>
        </p:nvPicPr>
        <p:blipFill>
          <a:blip r:embed="rId7">
            <a:extLst>
              <a:ext uri="{28A0092B-C50C-407E-A947-70E740481C1C}">
                <a14:useLocalDpi xmlns:a14="http://schemas.microsoft.com/office/drawing/2010/main" val="0"/>
              </a:ext>
            </a:extLst>
          </a:blip>
          <a:srcRect t="8079" b="10554"/>
          <a:stretch/>
        </p:blipFill>
        <p:spPr>
          <a:xfrm>
            <a:off x="6380375" y="6112906"/>
            <a:ext cx="1400956" cy="661669"/>
          </a:xfrm>
          <a:prstGeom prst="rect">
            <a:avLst/>
          </a:prstGeom>
        </p:spPr>
      </p:pic>
      <p:pic>
        <p:nvPicPr>
          <p:cNvPr id="13" name="Picture 12" descr="A black rectangular object with yellow and blue text&#10;&#10;Description automatically generated">
            <a:extLst>
              <a:ext uri="{FF2B5EF4-FFF2-40B4-BE49-F238E27FC236}">
                <a16:creationId xmlns:a16="http://schemas.microsoft.com/office/drawing/2014/main" id="{7902E081-9F10-C629-0CBF-7E990EEAD26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955723" y="5607816"/>
            <a:ext cx="1188346" cy="1188881"/>
          </a:xfrm>
          <a:prstGeom prst="rect">
            <a:avLst/>
          </a:prstGeom>
        </p:spPr>
      </p:pic>
      <p:pic>
        <p:nvPicPr>
          <p:cNvPr id="17" name="Picture 16" descr="A black rectangular object with yellow and blue text&#10;&#10;Description automatically generated">
            <a:extLst>
              <a:ext uri="{FF2B5EF4-FFF2-40B4-BE49-F238E27FC236}">
                <a16:creationId xmlns:a16="http://schemas.microsoft.com/office/drawing/2014/main" id="{356DF9AB-FF17-4F59-9D1A-5DC193BB9BC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281084" y="5608352"/>
            <a:ext cx="1188346" cy="1188346"/>
          </a:xfrm>
          <a:prstGeom prst="rect">
            <a:avLst/>
          </a:prstGeom>
        </p:spPr>
      </p:pic>
      <p:grpSp>
        <p:nvGrpSpPr>
          <p:cNvPr id="19" name="Group 18">
            <a:extLst>
              <a:ext uri="{FF2B5EF4-FFF2-40B4-BE49-F238E27FC236}">
                <a16:creationId xmlns:a16="http://schemas.microsoft.com/office/drawing/2014/main" id="{71E00D62-E2CD-C189-DDA8-09BECC5B94EC}"/>
              </a:ext>
            </a:extLst>
          </p:cNvPr>
          <p:cNvGrpSpPr/>
          <p:nvPr/>
        </p:nvGrpSpPr>
        <p:grpSpPr>
          <a:xfrm>
            <a:off x="10606509" y="5608352"/>
            <a:ext cx="1188346" cy="1188346"/>
            <a:chOff x="4355076" y="3177526"/>
            <a:chExt cx="1188346" cy="1188346"/>
          </a:xfrm>
        </p:grpSpPr>
        <p:pic>
          <p:nvPicPr>
            <p:cNvPr id="20" name="Picture 19" descr="A black rectangular object with yellow and blue text&#10;&#10;Description automatically generated">
              <a:extLst>
                <a:ext uri="{FF2B5EF4-FFF2-40B4-BE49-F238E27FC236}">
                  <a16:creationId xmlns:a16="http://schemas.microsoft.com/office/drawing/2014/main" id="{DECE3CBE-477F-4D2D-EC59-ACCFA07F2FD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55076" y="3177526"/>
              <a:ext cx="1188346" cy="1188346"/>
            </a:xfrm>
            <a:prstGeom prst="rect">
              <a:avLst/>
            </a:prstGeom>
          </p:spPr>
        </p:pic>
        <p:sp>
          <p:nvSpPr>
            <p:cNvPr id="21" name="TextBox 20">
              <a:extLst>
                <a:ext uri="{FF2B5EF4-FFF2-40B4-BE49-F238E27FC236}">
                  <a16:creationId xmlns:a16="http://schemas.microsoft.com/office/drawing/2014/main" id="{8FED61AB-BD2A-B499-AF7A-DF7D0F39A420}"/>
                </a:ext>
              </a:extLst>
            </p:cNvPr>
            <p:cNvSpPr txBox="1"/>
            <p:nvPr/>
          </p:nvSpPr>
          <p:spPr>
            <a:xfrm>
              <a:off x="5145495" y="3364143"/>
              <a:ext cx="357790" cy="93834"/>
            </a:xfrm>
            <a:prstGeom prst="rect">
              <a:avLst/>
            </a:prstGeom>
            <a:solidFill>
              <a:schemeClr val="tx1"/>
            </a:solidFill>
          </p:spPr>
          <p:txBody>
            <a:bodyPr wrap="square" lIns="0" tIns="0" rIns="0" bIns="0" rtlCol="0">
              <a:noAutofit/>
            </a:bodyPr>
            <a:lstStyle/>
            <a:p>
              <a:r>
                <a:rPr lang="en-CA" sz="650">
                  <a:solidFill>
                    <a:schemeClr val="bg1"/>
                  </a:solidFill>
                </a:rPr>
                <a:t>2025</a:t>
              </a:r>
            </a:p>
          </p:txBody>
        </p:sp>
      </p:grpSp>
      <p:pic>
        <p:nvPicPr>
          <p:cNvPr id="11" name="Picture 4" descr="Microsoft Solutions Partner Logo | Ellipse Solutions">
            <a:extLst>
              <a:ext uri="{FF2B5EF4-FFF2-40B4-BE49-F238E27FC236}">
                <a16:creationId xmlns:a16="http://schemas.microsoft.com/office/drawing/2014/main" id="{02B34F37-5F80-97E8-82E7-51FF6369F292}"/>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6380375" y="5608352"/>
            <a:ext cx="1314560" cy="350549"/>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a:extLst>
              <a:ext uri="{FF2B5EF4-FFF2-40B4-BE49-F238E27FC236}">
                <a16:creationId xmlns:a16="http://schemas.microsoft.com/office/drawing/2014/main" id="{0487DA02-D844-136F-B159-88490AEF43FA}"/>
              </a:ext>
            </a:extLst>
          </p:cNvPr>
          <p:cNvSpPr/>
          <p:nvPr/>
        </p:nvSpPr>
        <p:spPr>
          <a:xfrm>
            <a:off x="9938745" y="3631900"/>
            <a:ext cx="1852832" cy="66684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Enforce Records Management Policies</a:t>
            </a:r>
          </a:p>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Disposition process design</a:t>
            </a:r>
          </a:p>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Case management</a:t>
            </a:r>
          </a:p>
        </p:txBody>
      </p:sp>
      <p:sp>
        <p:nvSpPr>
          <p:cNvPr id="55" name="Rectangle 54">
            <a:extLst>
              <a:ext uri="{FF2B5EF4-FFF2-40B4-BE49-F238E27FC236}">
                <a16:creationId xmlns:a16="http://schemas.microsoft.com/office/drawing/2014/main" id="{7214AB70-1CDF-3CD1-0E9A-51AB07393AF8}"/>
              </a:ext>
            </a:extLst>
          </p:cNvPr>
          <p:cNvSpPr/>
          <p:nvPr/>
        </p:nvSpPr>
        <p:spPr>
          <a:xfrm>
            <a:off x="9938745" y="2613053"/>
            <a:ext cx="1852828" cy="82073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Configure retention schedule </a:t>
            </a:r>
          </a:p>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Built in and customized defensible disposition</a:t>
            </a:r>
          </a:p>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Case management, preservation, and collection</a:t>
            </a:r>
          </a:p>
        </p:txBody>
      </p:sp>
      <p:sp>
        <p:nvSpPr>
          <p:cNvPr id="56" name="Rectangle 55">
            <a:extLst>
              <a:ext uri="{FF2B5EF4-FFF2-40B4-BE49-F238E27FC236}">
                <a16:creationId xmlns:a16="http://schemas.microsoft.com/office/drawing/2014/main" id="{3FDA9442-E3F1-A576-28AB-8D64E337A269}"/>
              </a:ext>
            </a:extLst>
          </p:cNvPr>
          <p:cNvSpPr/>
          <p:nvPr/>
        </p:nvSpPr>
        <p:spPr>
          <a:xfrm>
            <a:off x="9938745" y="1653984"/>
            <a:ext cx="1799670" cy="79508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Define Information Governance requirements &amp; strategy </a:t>
            </a:r>
          </a:p>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Define eDiscovery requirements and workflows </a:t>
            </a:r>
          </a:p>
        </p:txBody>
      </p:sp>
      <p:cxnSp>
        <p:nvCxnSpPr>
          <p:cNvPr id="920" name="Straight Connector 919">
            <a:extLst>
              <a:ext uri="{FF2B5EF4-FFF2-40B4-BE49-F238E27FC236}">
                <a16:creationId xmlns:a16="http://schemas.microsoft.com/office/drawing/2014/main" id="{10609D75-28A5-6514-5ED2-53DE305E7979}"/>
              </a:ext>
            </a:extLst>
          </p:cNvPr>
          <p:cNvCxnSpPr>
            <a:cxnSpLocks/>
          </p:cNvCxnSpPr>
          <p:nvPr/>
        </p:nvCxnSpPr>
        <p:spPr>
          <a:xfrm>
            <a:off x="2958234" y="2513729"/>
            <a:ext cx="2092679" cy="0"/>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26" name="Straight Connector 925">
            <a:extLst>
              <a:ext uri="{FF2B5EF4-FFF2-40B4-BE49-F238E27FC236}">
                <a16:creationId xmlns:a16="http://schemas.microsoft.com/office/drawing/2014/main" id="{38CFC3A1-BFB1-F95F-D5E6-93B4523F5F6A}"/>
              </a:ext>
            </a:extLst>
          </p:cNvPr>
          <p:cNvCxnSpPr>
            <a:cxnSpLocks/>
          </p:cNvCxnSpPr>
          <p:nvPr/>
        </p:nvCxnSpPr>
        <p:spPr>
          <a:xfrm>
            <a:off x="2958234" y="3537833"/>
            <a:ext cx="2092679" cy="0"/>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27" name="Straight Connector 926">
            <a:extLst>
              <a:ext uri="{FF2B5EF4-FFF2-40B4-BE49-F238E27FC236}">
                <a16:creationId xmlns:a16="http://schemas.microsoft.com/office/drawing/2014/main" id="{5B42CBD9-2A3D-8ECF-91A5-7C49954A9B44}"/>
              </a:ext>
            </a:extLst>
          </p:cNvPr>
          <p:cNvCxnSpPr>
            <a:cxnSpLocks/>
          </p:cNvCxnSpPr>
          <p:nvPr/>
        </p:nvCxnSpPr>
        <p:spPr>
          <a:xfrm>
            <a:off x="5134419" y="1620827"/>
            <a:ext cx="0" cy="806087"/>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28" name="Straight Connector 927">
            <a:extLst>
              <a:ext uri="{FF2B5EF4-FFF2-40B4-BE49-F238E27FC236}">
                <a16:creationId xmlns:a16="http://schemas.microsoft.com/office/drawing/2014/main" id="{C91D467B-5999-EAF4-58A6-865AAF36933A}"/>
              </a:ext>
            </a:extLst>
          </p:cNvPr>
          <p:cNvCxnSpPr>
            <a:cxnSpLocks/>
          </p:cNvCxnSpPr>
          <p:nvPr/>
        </p:nvCxnSpPr>
        <p:spPr>
          <a:xfrm>
            <a:off x="5134419" y="2613053"/>
            <a:ext cx="0" cy="820738"/>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29" name="Straight Connector 928">
            <a:extLst>
              <a:ext uri="{FF2B5EF4-FFF2-40B4-BE49-F238E27FC236}">
                <a16:creationId xmlns:a16="http://schemas.microsoft.com/office/drawing/2014/main" id="{6707FFF6-2F22-1C4A-733D-BD3B1AAB3577}"/>
              </a:ext>
            </a:extLst>
          </p:cNvPr>
          <p:cNvCxnSpPr>
            <a:cxnSpLocks/>
          </p:cNvCxnSpPr>
          <p:nvPr/>
        </p:nvCxnSpPr>
        <p:spPr>
          <a:xfrm>
            <a:off x="5134419" y="3631900"/>
            <a:ext cx="0" cy="741895"/>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30" name="Oval 929">
            <a:extLst>
              <a:ext uri="{FF2B5EF4-FFF2-40B4-BE49-F238E27FC236}">
                <a16:creationId xmlns:a16="http://schemas.microsoft.com/office/drawing/2014/main" id="{AE2B9CBF-4FD7-4B70-2374-9D897F82F8C3}"/>
              </a:ext>
            </a:extLst>
          </p:cNvPr>
          <p:cNvSpPr/>
          <p:nvPr/>
        </p:nvSpPr>
        <p:spPr>
          <a:xfrm>
            <a:off x="5100224" y="2487407"/>
            <a:ext cx="64008" cy="64008"/>
          </a:xfrm>
          <a:prstGeom prst="ellipse">
            <a:avLst/>
          </a:prstGeom>
          <a:solidFill>
            <a:srgbClr val="FF5432"/>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2" name="Oval 931">
            <a:extLst>
              <a:ext uri="{FF2B5EF4-FFF2-40B4-BE49-F238E27FC236}">
                <a16:creationId xmlns:a16="http://schemas.microsoft.com/office/drawing/2014/main" id="{15B4C5A5-628E-F6C2-8245-51BF284828F2}"/>
              </a:ext>
            </a:extLst>
          </p:cNvPr>
          <p:cNvSpPr/>
          <p:nvPr/>
        </p:nvSpPr>
        <p:spPr>
          <a:xfrm>
            <a:off x="5100224" y="3501598"/>
            <a:ext cx="64008" cy="64008"/>
          </a:xfrm>
          <a:prstGeom prst="ellipse">
            <a:avLst/>
          </a:prstGeom>
          <a:solidFill>
            <a:srgbClr val="FF5432"/>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5" name="Isosceles Triangle 954">
            <a:extLst>
              <a:ext uri="{FF2B5EF4-FFF2-40B4-BE49-F238E27FC236}">
                <a16:creationId xmlns:a16="http://schemas.microsoft.com/office/drawing/2014/main" id="{F268B061-E312-D9A1-ECD6-D43176876B00}"/>
              </a:ext>
            </a:extLst>
          </p:cNvPr>
          <p:cNvSpPr/>
          <p:nvPr/>
        </p:nvSpPr>
        <p:spPr>
          <a:xfrm rot="5400000">
            <a:off x="5027015" y="1008594"/>
            <a:ext cx="446673" cy="387156"/>
          </a:xfrm>
          <a:prstGeom prst="triangle">
            <a:avLst/>
          </a:prstGeom>
          <a:solidFill>
            <a:srgbClr val="5D7B9A"/>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a:extLst>
              <a:ext uri="{FF2B5EF4-FFF2-40B4-BE49-F238E27FC236}">
                <a16:creationId xmlns:a16="http://schemas.microsoft.com/office/drawing/2014/main" id="{40AE2F0A-F1DA-6398-9CA4-DE04DE6E12D8}"/>
              </a:ext>
            </a:extLst>
          </p:cNvPr>
          <p:cNvSpPr/>
          <p:nvPr/>
        </p:nvSpPr>
        <p:spPr>
          <a:xfrm>
            <a:off x="2880438" y="978570"/>
            <a:ext cx="2189832" cy="44449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45357" tIns="45357" rIns="45357" bIns="45357" rtlCol="0" anchor="ctr"/>
          <a:lstStyle/>
          <a:p>
            <a:pPr algn="ctr" fontAlgn="base">
              <a:spcBef>
                <a:spcPct val="0"/>
              </a:spcBef>
              <a:spcAft>
                <a:spcPct val="0"/>
              </a:spcAft>
              <a:defRPr/>
            </a:pPr>
            <a:r>
              <a:rPr lang="en-US" sz="1400">
                <a:solidFill>
                  <a:schemeClr val="bg1"/>
                </a:solidFill>
                <a:latin typeface="Barlow Condensed Medium" panose="00000606000000000000" pitchFamily="2" charset="0"/>
              </a:rPr>
              <a:t>     Information Protection </a:t>
            </a:r>
          </a:p>
        </p:txBody>
      </p:sp>
      <p:sp>
        <p:nvSpPr>
          <p:cNvPr id="954" name="Isosceles Triangle 953">
            <a:extLst>
              <a:ext uri="{FF2B5EF4-FFF2-40B4-BE49-F238E27FC236}">
                <a16:creationId xmlns:a16="http://schemas.microsoft.com/office/drawing/2014/main" id="{7C185690-21C8-3719-5E0F-9767337EFDCA}"/>
              </a:ext>
            </a:extLst>
          </p:cNvPr>
          <p:cNvSpPr/>
          <p:nvPr/>
        </p:nvSpPr>
        <p:spPr>
          <a:xfrm rot="5400000">
            <a:off x="2851099" y="1008593"/>
            <a:ext cx="446673" cy="387156"/>
          </a:xfrm>
          <a:prstGeom prst="triangl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a:extLst>
              <a:ext uri="{FF2B5EF4-FFF2-40B4-BE49-F238E27FC236}">
                <a16:creationId xmlns:a16="http://schemas.microsoft.com/office/drawing/2014/main" id="{1BA0FF21-FB1B-39EC-CE31-41A57E2DB38B}"/>
              </a:ext>
            </a:extLst>
          </p:cNvPr>
          <p:cNvSpPr/>
          <p:nvPr/>
        </p:nvSpPr>
        <p:spPr>
          <a:xfrm>
            <a:off x="686287" y="978570"/>
            <a:ext cx="2223966" cy="44449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45357" tIns="45357" rIns="45357" bIns="45357" rtlCol="0" anchor="ctr"/>
          <a:lstStyle/>
          <a:p>
            <a:pPr marR="0" lvl="0" indent="0" algn="ctr" fontAlgn="base">
              <a:lnSpc>
                <a:spcPct val="100000"/>
              </a:lnSpc>
              <a:spcBef>
                <a:spcPct val="0"/>
              </a:spcBef>
              <a:spcAft>
                <a:spcPct val="0"/>
              </a:spcAft>
              <a:buClrTx/>
              <a:buSzTx/>
              <a:buFontTx/>
              <a:buNone/>
              <a:tabLst/>
              <a:defRPr/>
            </a:pPr>
            <a:r>
              <a:rPr lang="en-US" sz="1400">
                <a:solidFill>
                  <a:schemeClr val="bg1"/>
                </a:solidFill>
                <a:latin typeface="Barlow Condensed Medium" panose="00000606000000000000" pitchFamily="2" charset="0"/>
              </a:rPr>
              <a:t>DSPM for AI</a:t>
            </a:r>
          </a:p>
          <a:p>
            <a:pPr marR="0" lvl="0" indent="0" algn="ctr" fontAlgn="base">
              <a:lnSpc>
                <a:spcPct val="100000"/>
              </a:lnSpc>
              <a:spcBef>
                <a:spcPct val="0"/>
              </a:spcBef>
              <a:spcAft>
                <a:spcPct val="0"/>
              </a:spcAft>
              <a:buClrTx/>
              <a:buSzTx/>
              <a:buFontTx/>
              <a:buNone/>
              <a:tabLst/>
              <a:defRPr/>
            </a:pPr>
            <a:r>
              <a:rPr lang="en-US" sz="1200">
                <a:solidFill>
                  <a:schemeClr val="bg1"/>
                </a:solidFill>
                <a:latin typeface="Barlow Condensed Medium" panose="00000606000000000000" pitchFamily="2" charset="0"/>
              </a:rPr>
              <a:t>(Data Security Posture Mgmt.)</a:t>
            </a:r>
          </a:p>
        </p:txBody>
      </p:sp>
      <p:cxnSp>
        <p:nvCxnSpPr>
          <p:cNvPr id="964" name="Straight Connector 963">
            <a:extLst>
              <a:ext uri="{FF2B5EF4-FFF2-40B4-BE49-F238E27FC236}">
                <a16:creationId xmlns:a16="http://schemas.microsoft.com/office/drawing/2014/main" id="{DE03168D-5BC3-946D-043D-FF745BE6B57F}"/>
              </a:ext>
            </a:extLst>
          </p:cNvPr>
          <p:cNvCxnSpPr>
            <a:cxnSpLocks/>
          </p:cNvCxnSpPr>
          <p:nvPr/>
        </p:nvCxnSpPr>
        <p:spPr>
          <a:xfrm>
            <a:off x="5213120" y="2513729"/>
            <a:ext cx="2075197" cy="0"/>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65" name="Straight Connector 964">
            <a:extLst>
              <a:ext uri="{FF2B5EF4-FFF2-40B4-BE49-F238E27FC236}">
                <a16:creationId xmlns:a16="http://schemas.microsoft.com/office/drawing/2014/main" id="{B570D617-FEB8-FD55-7745-146E11F58101}"/>
              </a:ext>
            </a:extLst>
          </p:cNvPr>
          <p:cNvCxnSpPr>
            <a:cxnSpLocks/>
          </p:cNvCxnSpPr>
          <p:nvPr/>
        </p:nvCxnSpPr>
        <p:spPr>
          <a:xfrm>
            <a:off x="5213120" y="3537833"/>
            <a:ext cx="2075197" cy="0"/>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66" name="Straight Connector 965">
            <a:extLst>
              <a:ext uri="{FF2B5EF4-FFF2-40B4-BE49-F238E27FC236}">
                <a16:creationId xmlns:a16="http://schemas.microsoft.com/office/drawing/2014/main" id="{1EF7E324-8E6A-02FE-33A5-DC0F84E684BE}"/>
              </a:ext>
            </a:extLst>
          </p:cNvPr>
          <p:cNvCxnSpPr>
            <a:cxnSpLocks/>
          </p:cNvCxnSpPr>
          <p:nvPr/>
        </p:nvCxnSpPr>
        <p:spPr>
          <a:xfrm>
            <a:off x="7382893" y="1620827"/>
            <a:ext cx="0" cy="806087"/>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67" name="Straight Connector 966">
            <a:extLst>
              <a:ext uri="{FF2B5EF4-FFF2-40B4-BE49-F238E27FC236}">
                <a16:creationId xmlns:a16="http://schemas.microsoft.com/office/drawing/2014/main" id="{5195E7DD-AD4A-F5EE-382B-79B399F35425}"/>
              </a:ext>
            </a:extLst>
          </p:cNvPr>
          <p:cNvCxnSpPr>
            <a:cxnSpLocks/>
          </p:cNvCxnSpPr>
          <p:nvPr/>
        </p:nvCxnSpPr>
        <p:spPr>
          <a:xfrm>
            <a:off x="7382893" y="2613053"/>
            <a:ext cx="0" cy="820738"/>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68" name="Straight Connector 967">
            <a:extLst>
              <a:ext uri="{FF2B5EF4-FFF2-40B4-BE49-F238E27FC236}">
                <a16:creationId xmlns:a16="http://schemas.microsoft.com/office/drawing/2014/main" id="{4B678BFA-DE6E-5677-F05D-E3FCAA7CF252}"/>
              </a:ext>
            </a:extLst>
          </p:cNvPr>
          <p:cNvCxnSpPr>
            <a:cxnSpLocks/>
          </p:cNvCxnSpPr>
          <p:nvPr/>
        </p:nvCxnSpPr>
        <p:spPr>
          <a:xfrm>
            <a:off x="7382893" y="3631900"/>
            <a:ext cx="0" cy="741895"/>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69" name="Oval 968">
            <a:extLst>
              <a:ext uri="{FF2B5EF4-FFF2-40B4-BE49-F238E27FC236}">
                <a16:creationId xmlns:a16="http://schemas.microsoft.com/office/drawing/2014/main" id="{A05040D9-3BB0-7381-ECDE-299F66D1CECA}"/>
              </a:ext>
            </a:extLst>
          </p:cNvPr>
          <p:cNvSpPr/>
          <p:nvPr/>
        </p:nvSpPr>
        <p:spPr>
          <a:xfrm>
            <a:off x="7348698" y="2487407"/>
            <a:ext cx="64008" cy="64008"/>
          </a:xfrm>
          <a:prstGeom prst="ellipse">
            <a:avLst/>
          </a:prstGeom>
          <a:solidFill>
            <a:srgbClr val="FF5432"/>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0" name="Oval 969">
            <a:extLst>
              <a:ext uri="{FF2B5EF4-FFF2-40B4-BE49-F238E27FC236}">
                <a16:creationId xmlns:a16="http://schemas.microsoft.com/office/drawing/2014/main" id="{B72BD105-DDC8-6EA8-DD90-8B7599D049C6}"/>
              </a:ext>
            </a:extLst>
          </p:cNvPr>
          <p:cNvSpPr/>
          <p:nvPr/>
        </p:nvSpPr>
        <p:spPr>
          <a:xfrm>
            <a:off x="7348698" y="3501598"/>
            <a:ext cx="64008" cy="64008"/>
          </a:xfrm>
          <a:prstGeom prst="ellipse">
            <a:avLst/>
          </a:prstGeom>
          <a:solidFill>
            <a:srgbClr val="FF5432"/>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71" name="Straight Connector 970">
            <a:extLst>
              <a:ext uri="{FF2B5EF4-FFF2-40B4-BE49-F238E27FC236}">
                <a16:creationId xmlns:a16="http://schemas.microsoft.com/office/drawing/2014/main" id="{6B2A40A6-5D64-A8EB-2E37-D3D7D0CA7930}"/>
              </a:ext>
            </a:extLst>
          </p:cNvPr>
          <p:cNvCxnSpPr>
            <a:cxnSpLocks/>
          </p:cNvCxnSpPr>
          <p:nvPr/>
        </p:nvCxnSpPr>
        <p:spPr>
          <a:xfrm>
            <a:off x="7464593" y="2513729"/>
            <a:ext cx="2181035" cy="0"/>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72" name="Straight Connector 971">
            <a:extLst>
              <a:ext uri="{FF2B5EF4-FFF2-40B4-BE49-F238E27FC236}">
                <a16:creationId xmlns:a16="http://schemas.microsoft.com/office/drawing/2014/main" id="{B413FEF5-6579-76CC-C162-559405E20A7E}"/>
              </a:ext>
            </a:extLst>
          </p:cNvPr>
          <p:cNvCxnSpPr>
            <a:cxnSpLocks/>
          </p:cNvCxnSpPr>
          <p:nvPr/>
        </p:nvCxnSpPr>
        <p:spPr>
          <a:xfrm>
            <a:off x="7464593" y="3537833"/>
            <a:ext cx="2181035" cy="0"/>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73" name="Straight Connector 972">
            <a:extLst>
              <a:ext uri="{FF2B5EF4-FFF2-40B4-BE49-F238E27FC236}">
                <a16:creationId xmlns:a16="http://schemas.microsoft.com/office/drawing/2014/main" id="{46D670C9-199D-0AFA-C8B3-0D0B14AF83D9}"/>
              </a:ext>
            </a:extLst>
          </p:cNvPr>
          <p:cNvCxnSpPr>
            <a:cxnSpLocks/>
          </p:cNvCxnSpPr>
          <p:nvPr/>
        </p:nvCxnSpPr>
        <p:spPr>
          <a:xfrm>
            <a:off x="9737675" y="1620827"/>
            <a:ext cx="0" cy="806087"/>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74" name="Straight Connector 973">
            <a:extLst>
              <a:ext uri="{FF2B5EF4-FFF2-40B4-BE49-F238E27FC236}">
                <a16:creationId xmlns:a16="http://schemas.microsoft.com/office/drawing/2014/main" id="{1F24494E-3865-D6A6-ABBD-095BC4DC995C}"/>
              </a:ext>
            </a:extLst>
          </p:cNvPr>
          <p:cNvCxnSpPr>
            <a:cxnSpLocks/>
          </p:cNvCxnSpPr>
          <p:nvPr/>
        </p:nvCxnSpPr>
        <p:spPr>
          <a:xfrm>
            <a:off x="9737675" y="2613053"/>
            <a:ext cx="0" cy="820738"/>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75" name="Straight Connector 974">
            <a:extLst>
              <a:ext uri="{FF2B5EF4-FFF2-40B4-BE49-F238E27FC236}">
                <a16:creationId xmlns:a16="http://schemas.microsoft.com/office/drawing/2014/main" id="{A68A24EC-08B3-391E-4F1A-DD9C07990C50}"/>
              </a:ext>
            </a:extLst>
          </p:cNvPr>
          <p:cNvCxnSpPr>
            <a:cxnSpLocks/>
          </p:cNvCxnSpPr>
          <p:nvPr/>
        </p:nvCxnSpPr>
        <p:spPr>
          <a:xfrm>
            <a:off x="9737675" y="3631900"/>
            <a:ext cx="0" cy="741895"/>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76" name="Oval 975">
            <a:extLst>
              <a:ext uri="{FF2B5EF4-FFF2-40B4-BE49-F238E27FC236}">
                <a16:creationId xmlns:a16="http://schemas.microsoft.com/office/drawing/2014/main" id="{7AE6B961-26DD-2C34-3072-A4B4AA193790}"/>
              </a:ext>
            </a:extLst>
          </p:cNvPr>
          <p:cNvSpPr/>
          <p:nvPr/>
        </p:nvSpPr>
        <p:spPr>
          <a:xfrm>
            <a:off x="9703480" y="2487407"/>
            <a:ext cx="64008" cy="64008"/>
          </a:xfrm>
          <a:prstGeom prst="ellipse">
            <a:avLst/>
          </a:prstGeom>
          <a:solidFill>
            <a:srgbClr val="FF5432"/>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7" name="Oval 976">
            <a:extLst>
              <a:ext uri="{FF2B5EF4-FFF2-40B4-BE49-F238E27FC236}">
                <a16:creationId xmlns:a16="http://schemas.microsoft.com/office/drawing/2014/main" id="{C8216EB2-09E1-D396-BDD9-B549BA575CC6}"/>
              </a:ext>
            </a:extLst>
          </p:cNvPr>
          <p:cNvSpPr/>
          <p:nvPr/>
        </p:nvSpPr>
        <p:spPr>
          <a:xfrm>
            <a:off x="9703480" y="3501598"/>
            <a:ext cx="64008" cy="64008"/>
          </a:xfrm>
          <a:prstGeom prst="ellipse">
            <a:avLst/>
          </a:prstGeom>
          <a:solidFill>
            <a:srgbClr val="FF5432"/>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89" name="Straight Connector 988">
            <a:extLst>
              <a:ext uri="{FF2B5EF4-FFF2-40B4-BE49-F238E27FC236}">
                <a16:creationId xmlns:a16="http://schemas.microsoft.com/office/drawing/2014/main" id="{FB0BECC7-678B-9EED-2FC7-468A176768B6}"/>
              </a:ext>
            </a:extLst>
          </p:cNvPr>
          <p:cNvCxnSpPr>
            <a:cxnSpLocks/>
          </p:cNvCxnSpPr>
          <p:nvPr/>
        </p:nvCxnSpPr>
        <p:spPr>
          <a:xfrm>
            <a:off x="9856693" y="2513729"/>
            <a:ext cx="1982759" cy="0"/>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90" name="Straight Connector 989">
            <a:extLst>
              <a:ext uri="{FF2B5EF4-FFF2-40B4-BE49-F238E27FC236}">
                <a16:creationId xmlns:a16="http://schemas.microsoft.com/office/drawing/2014/main" id="{B1BCA1A0-23E0-7E82-84F9-BAA0CAFFF430}"/>
              </a:ext>
            </a:extLst>
          </p:cNvPr>
          <p:cNvCxnSpPr>
            <a:cxnSpLocks/>
          </p:cNvCxnSpPr>
          <p:nvPr/>
        </p:nvCxnSpPr>
        <p:spPr>
          <a:xfrm>
            <a:off x="9856693" y="3537833"/>
            <a:ext cx="1982759" cy="0"/>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92" name="Isosceles Triangle 991">
            <a:extLst>
              <a:ext uri="{FF2B5EF4-FFF2-40B4-BE49-F238E27FC236}">
                <a16:creationId xmlns:a16="http://schemas.microsoft.com/office/drawing/2014/main" id="{C1DAACAA-48F2-9A62-C426-2A0CA5598CE8}"/>
              </a:ext>
            </a:extLst>
          </p:cNvPr>
          <p:cNvSpPr/>
          <p:nvPr/>
        </p:nvSpPr>
        <p:spPr>
          <a:xfrm rot="5400000">
            <a:off x="2312425" y="4531929"/>
            <a:ext cx="376802" cy="366292"/>
          </a:xfrm>
          <a:prstGeom prst="triangle">
            <a:avLst/>
          </a:prstGeom>
          <a:solidFill>
            <a:schemeClr val="accent1">
              <a:lumMod val="20000"/>
              <a:lumOff val="8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98" name="Rectangle 997">
            <a:extLst>
              <a:ext uri="{FF2B5EF4-FFF2-40B4-BE49-F238E27FC236}">
                <a16:creationId xmlns:a16="http://schemas.microsoft.com/office/drawing/2014/main" id="{B81E1F2E-BC91-7FD1-4F90-430DE028ECB0}"/>
              </a:ext>
            </a:extLst>
          </p:cNvPr>
          <p:cNvSpPr/>
          <p:nvPr/>
        </p:nvSpPr>
        <p:spPr>
          <a:xfrm>
            <a:off x="3040671" y="3631900"/>
            <a:ext cx="2075197" cy="66684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Continuous discovery &amp; monitoring</a:t>
            </a:r>
          </a:p>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Continuous control monitoring </a:t>
            </a:r>
          </a:p>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Environment optimization </a:t>
            </a:r>
          </a:p>
        </p:txBody>
      </p:sp>
      <p:sp>
        <p:nvSpPr>
          <p:cNvPr id="999" name="Rectangle 998">
            <a:extLst>
              <a:ext uri="{FF2B5EF4-FFF2-40B4-BE49-F238E27FC236}">
                <a16:creationId xmlns:a16="http://schemas.microsoft.com/office/drawing/2014/main" id="{03D83390-B85D-09EE-D65F-24E632872956}"/>
              </a:ext>
            </a:extLst>
          </p:cNvPr>
          <p:cNvSpPr/>
          <p:nvPr/>
        </p:nvSpPr>
        <p:spPr>
          <a:xfrm>
            <a:off x="3040672" y="2613053"/>
            <a:ext cx="2029598" cy="82073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173736" marR="0" lvl="0" indent="-173736" defTabSz="1219170" fontAlgn="auto">
              <a:lnSpc>
                <a:spcPct val="100000"/>
              </a:lnSpc>
              <a:spcBef>
                <a:spcPts val="100"/>
              </a:spcBef>
              <a:spcAft>
                <a:spcPts val="100"/>
              </a:spcAft>
              <a:buClr>
                <a:srgbClr val="3C3D3E"/>
              </a:buClr>
              <a:buSzPct val="100000"/>
              <a:buFont typeface="Arial" panose="020B0604020202020204" pitchFamily="34" charset="0"/>
              <a:buChar char="•"/>
              <a:tabLst/>
              <a:defRPr/>
            </a:pPr>
            <a:r>
              <a:rPr lang="en-US" sz="1000" kern="0">
                <a:solidFill>
                  <a:srgbClr val="000000"/>
                </a:solidFill>
                <a:ea typeface="Batang" panose="020B0503020000020004" pitchFamily="18" charset="-127"/>
                <a:cs typeface="Arial" panose="020B0604020202020204" pitchFamily="34" charset="0"/>
              </a:rPr>
              <a:t>Discovery (structured, unstructured)</a:t>
            </a:r>
          </a:p>
          <a:p>
            <a:pPr marL="173736" marR="0" lvl="0" indent="-173736" defTabSz="1219170" fontAlgn="auto">
              <a:lnSpc>
                <a:spcPct val="100000"/>
              </a:lnSpc>
              <a:spcBef>
                <a:spcPts val="100"/>
              </a:spcBef>
              <a:spcAft>
                <a:spcPts val="100"/>
              </a:spcAft>
              <a:buClr>
                <a:srgbClr val="3C3D3E"/>
              </a:buClr>
              <a:buSzPct val="100000"/>
              <a:buFont typeface="Arial" panose="020B0604020202020204" pitchFamily="34" charset="0"/>
              <a:buChar char="•"/>
              <a:tabLst/>
              <a:defRPr/>
            </a:pPr>
            <a:r>
              <a:rPr lang="en-US" sz="1000" kern="0">
                <a:solidFill>
                  <a:srgbClr val="000000"/>
                </a:solidFill>
                <a:ea typeface="Batang" panose="020B0503020000020004" pitchFamily="18" charset="-127"/>
                <a:cs typeface="Arial" panose="020B0604020202020204" pitchFamily="34" charset="0"/>
              </a:rPr>
              <a:t>Sensitivity label design</a:t>
            </a:r>
          </a:p>
          <a:p>
            <a:pPr marL="173736" marR="0" lvl="0" indent="-173736" defTabSz="1219170" fontAlgn="auto">
              <a:lnSpc>
                <a:spcPct val="100000"/>
              </a:lnSpc>
              <a:spcBef>
                <a:spcPts val="100"/>
              </a:spcBef>
              <a:spcAft>
                <a:spcPts val="100"/>
              </a:spcAft>
              <a:buClr>
                <a:srgbClr val="3C3D3E"/>
              </a:buClr>
              <a:buSzPct val="100000"/>
              <a:buFont typeface="Arial" panose="020B0604020202020204" pitchFamily="34" charset="0"/>
              <a:buChar char="•"/>
              <a:tabLst/>
              <a:defRPr/>
            </a:pPr>
            <a:r>
              <a:rPr lang="en-US" sz="1000" kern="0">
                <a:solidFill>
                  <a:srgbClr val="000000"/>
                </a:solidFill>
                <a:ea typeface="Batang" panose="020B0503020000020004" pitchFamily="18" charset="-127"/>
                <a:cs typeface="Arial" panose="020B0604020202020204" pitchFamily="34" charset="0"/>
              </a:rPr>
              <a:t>Bulk classification program design</a:t>
            </a:r>
          </a:p>
        </p:txBody>
      </p:sp>
      <p:sp>
        <p:nvSpPr>
          <p:cNvPr id="1000" name="Rectangle 999">
            <a:extLst>
              <a:ext uri="{FF2B5EF4-FFF2-40B4-BE49-F238E27FC236}">
                <a16:creationId xmlns:a16="http://schemas.microsoft.com/office/drawing/2014/main" id="{AC2689A4-5BD5-89EE-2695-277D804EE0CB}"/>
              </a:ext>
            </a:extLst>
          </p:cNvPr>
          <p:cNvSpPr/>
          <p:nvPr/>
        </p:nvSpPr>
        <p:spPr>
          <a:xfrm>
            <a:off x="3040671" y="1606176"/>
            <a:ext cx="2075197" cy="82073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173736" indent="-173736" defTabSz="1219170">
              <a:spcBef>
                <a:spcPts val="100"/>
              </a:spcBef>
              <a:spcAft>
                <a:spcPts val="100"/>
              </a:spcAft>
              <a:buClr>
                <a:srgbClr val="3C3D3E"/>
              </a:buClr>
              <a:buSzPct val="100000"/>
              <a:buFont typeface="Arial" panose="020B0604020202020204" pitchFamily="34" charset="0"/>
              <a:buChar char="•"/>
              <a:defRPr/>
            </a:pPr>
            <a:r>
              <a:rPr kumimoji="0" lang="en-US" sz="1000" b="0" i="0" u="none" strike="noStrike" kern="0" cap="none" spc="0" normalizeH="0" baseline="0" noProof="0">
                <a:ln>
                  <a:noFill/>
                </a:ln>
                <a:solidFill>
                  <a:srgbClr val="000000"/>
                </a:solidFill>
                <a:effectLst/>
                <a:uLnTx/>
                <a:uFillTx/>
                <a:ea typeface="Batang" panose="020B0503020000020004" pitchFamily="18" charset="-127"/>
                <a:cs typeface="Arial" panose="020B0604020202020204" pitchFamily="34" charset="0"/>
              </a:rPr>
              <a:t>Compliance, security</a:t>
            </a:r>
            <a:r>
              <a:rPr lang="en-US" sz="1000" kern="0">
                <a:solidFill>
                  <a:srgbClr val="000000"/>
                </a:solidFill>
                <a:ea typeface="Batang" panose="020B0503020000020004" pitchFamily="18" charset="-127"/>
                <a:cs typeface="Arial" panose="020B0604020202020204" pitchFamily="34" charset="0"/>
              </a:rPr>
              <a:t> &amp; </a:t>
            </a:r>
            <a:r>
              <a:rPr kumimoji="0" lang="en-US" sz="1000" b="0" i="0" u="none" strike="noStrike" kern="0" cap="none" spc="0" normalizeH="0" baseline="0" noProof="0">
                <a:ln>
                  <a:noFill/>
                </a:ln>
                <a:solidFill>
                  <a:srgbClr val="000000"/>
                </a:solidFill>
                <a:effectLst/>
                <a:uLnTx/>
                <a:uFillTx/>
                <a:ea typeface="Batang" panose="020B0503020000020004" pitchFamily="18" charset="-127"/>
                <a:cs typeface="Arial" panose="020B0604020202020204" pitchFamily="34" charset="0"/>
              </a:rPr>
              <a:t>privacy program design </a:t>
            </a:r>
          </a:p>
          <a:p>
            <a:pPr marL="173736" indent="-173736" defTabSz="1219170">
              <a:spcBef>
                <a:spcPts val="100"/>
              </a:spcBef>
              <a:spcAft>
                <a:spcPts val="100"/>
              </a:spcAft>
              <a:buClr>
                <a:srgbClr val="3C3D3E"/>
              </a:buClr>
              <a:buSzPct val="100000"/>
              <a:buFont typeface="Arial" panose="020B0604020202020204" pitchFamily="34" charset="0"/>
              <a:buChar char="•"/>
              <a:defRPr/>
            </a:pPr>
            <a:r>
              <a:rPr kumimoji="0" lang="en-US" sz="1000" b="0" i="0" u="none" strike="noStrike" kern="0" cap="none" spc="0" normalizeH="0" baseline="0" noProof="0">
                <a:ln>
                  <a:noFill/>
                </a:ln>
                <a:solidFill>
                  <a:srgbClr val="000000"/>
                </a:solidFill>
                <a:effectLst/>
                <a:uLnTx/>
                <a:uFillTx/>
                <a:ea typeface="Batang" panose="020B0503020000020004" pitchFamily="18" charset="-127"/>
                <a:cs typeface="Arial" panose="020B0604020202020204" pitchFamily="34" charset="0"/>
              </a:rPr>
              <a:t>Current </a:t>
            </a:r>
            <a:r>
              <a:rPr lang="en-US" sz="1000" kern="0">
                <a:solidFill>
                  <a:srgbClr val="000000"/>
                </a:solidFill>
                <a:ea typeface="Batang" panose="020B0503020000020004" pitchFamily="18" charset="-127"/>
                <a:cs typeface="Arial" panose="020B0604020202020204" pitchFamily="34" charset="0"/>
              </a:rPr>
              <a:t>state assessment &amp; </a:t>
            </a:r>
            <a:r>
              <a:rPr kumimoji="0" lang="en-US" sz="1000" b="0" i="0" u="none" strike="noStrike" kern="0" cap="none" spc="0" normalizeH="0" baseline="0" noProof="0">
                <a:ln>
                  <a:noFill/>
                </a:ln>
                <a:solidFill>
                  <a:srgbClr val="000000"/>
                </a:solidFill>
                <a:effectLst/>
                <a:uLnTx/>
                <a:uFillTx/>
                <a:ea typeface="Batang" panose="020B0503020000020004" pitchFamily="18" charset="-127"/>
                <a:cs typeface="Arial" panose="020B0604020202020204" pitchFamily="34" charset="0"/>
              </a:rPr>
              <a:t>control mapping </a:t>
            </a:r>
          </a:p>
          <a:p>
            <a:pPr marL="173736" indent="-173736" defTabSz="1219170">
              <a:spcBef>
                <a:spcPts val="100"/>
              </a:spcBef>
              <a:spcAft>
                <a:spcPts val="100"/>
              </a:spcAft>
              <a:buClr>
                <a:srgbClr val="3C3D3E"/>
              </a:buClr>
              <a:buSzPct val="100000"/>
              <a:buFont typeface="Arial" panose="020B0604020202020204" pitchFamily="34" charset="0"/>
              <a:buChar char="•"/>
              <a:defRPr/>
            </a:pPr>
            <a:r>
              <a:rPr kumimoji="0" lang="en-US" sz="1000" b="0" i="0" u="none" strike="noStrike" kern="0" cap="none" spc="0" normalizeH="0" baseline="0" noProof="0">
                <a:ln>
                  <a:noFill/>
                </a:ln>
                <a:solidFill>
                  <a:srgbClr val="000000"/>
                </a:solidFill>
                <a:effectLst/>
                <a:uLnTx/>
                <a:uFillTx/>
                <a:ea typeface="Batang" panose="020B0503020000020004" pitchFamily="18" charset="-127"/>
                <a:cs typeface="Arial" panose="020B0604020202020204" pitchFamily="34" charset="0"/>
              </a:rPr>
              <a:t>Deployment methodology</a:t>
            </a:r>
          </a:p>
        </p:txBody>
      </p:sp>
      <p:sp>
        <p:nvSpPr>
          <p:cNvPr id="1002" name="Rectangle 1001">
            <a:extLst>
              <a:ext uri="{FF2B5EF4-FFF2-40B4-BE49-F238E27FC236}">
                <a16:creationId xmlns:a16="http://schemas.microsoft.com/office/drawing/2014/main" id="{4BC55154-A5CC-7552-EA6E-6D26463A3829}"/>
              </a:ext>
            </a:extLst>
          </p:cNvPr>
          <p:cNvSpPr/>
          <p:nvPr/>
        </p:nvSpPr>
        <p:spPr>
          <a:xfrm>
            <a:off x="2762205" y="4534340"/>
            <a:ext cx="2075197" cy="3334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Prepare your organization for AI</a:t>
            </a:r>
          </a:p>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Assess your entire data estate</a:t>
            </a:r>
          </a:p>
        </p:txBody>
      </p:sp>
      <p:sp>
        <p:nvSpPr>
          <p:cNvPr id="1003" name="Rectangle 1002">
            <a:extLst>
              <a:ext uri="{FF2B5EF4-FFF2-40B4-BE49-F238E27FC236}">
                <a16:creationId xmlns:a16="http://schemas.microsoft.com/office/drawing/2014/main" id="{0326AFB9-98E4-2F48-E21C-2AD8C9DAB935}"/>
              </a:ext>
            </a:extLst>
          </p:cNvPr>
          <p:cNvSpPr/>
          <p:nvPr/>
        </p:nvSpPr>
        <p:spPr>
          <a:xfrm>
            <a:off x="4907754" y="4534340"/>
            <a:ext cx="2075197" cy="3334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Stronger, more modern DLP</a:t>
            </a:r>
          </a:p>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Improved DSPM</a:t>
            </a:r>
          </a:p>
        </p:txBody>
      </p:sp>
      <p:sp>
        <p:nvSpPr>
          <p:cNvPr id="1004" name="Rectangle 1003">
            <a:extLst>
              <a:ext uri="{FF2B5EF4-FFF2-40B4-BE49-F238E27FC236}">
                <a16:creationId xmlns:a16="http://schemas.microsoft.com/office/drawing/2014/main" id="{DBEAB7B5-52CA-F9AE-1934-456BDD34D192}"/>
              </a:ext>
            </a:extLst>
          </p:cNvPr>
          <p:cNvSpPr/>
          <p:nvPr/>
        </p:nvSpPr>
        <p:spPr>
          <a:xfrm>
            <a:off x="6981272" y="4534340"/>
            <a:ext cx="2075197" cy="3334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Organized record retention</a:t>
            </a:r>
          </a:p>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Meet compliance requirements</a:t>
            </a:r>
          </a:p>
        </p:txBody>
      </p:sp>
      <p:sp>
        <p:nvSpPr>
          <p:cNvPr id="1005" name="Rectangle 1004">
            <a:extLst>
              <a:ext uri="{FF2B5EF4-FFF2-40B4-BE49-F238E27FC236}">
                <a16:creationId xmlns:a16="http://schemas.microsoft.com/office/drawing/2014/main" id="{20AA1334-1E6E-CFAF-475A-C1BBA9B804F7}"/>
              </a:ext>
            </a:extLst>
          </p:cNvPr>
          <p:cNvSpPr/>
          <p:nvPr/>
        </p:nvSpPr>
        <p:spPr>
          <a:xfrm>
            <a:off x="9159794" y="4534340"/>
            <a:ext cx="2764835" cy="3334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Insider risk monitoring and risk mitigation</a:t>
            </a:r>
          </a:p>
          <a:p>
            <a:pPr marL="173736" indent="-173736" defTabSz="1219170">
              <a:spcBef>
                <a:spcPts val="100"/>
              </a:spcBef>
              <a:spcAft>
                <a:spcPts val="100"/>
              </a:spcAft>
              <a:buClr>
                <a:srgbClr val="3C3D3E"/>
              </a:buClr>
              <a:buSzPct val="100000"/>
              <a:buFont typeface="Arial" panose="020B0604020202020204" pitchFamily="34" charset="0"/>
              <a:buChar char="•"/>
              <a:defRPr/>
            </a:pPr>
            <a:r>
              <a:rPr lang="en-US" sz="1000" kern="0">
                <a:solidFill>
                  <a:srgbClr val="000000"/>
                </a:solidFill>
                <a:ea typeface="Batang" panose="020B0503020000020004" pitchFamily="18" charset="-127"/>
                <a:cs typeface="Arial" panose="020B0604020202020204" pitchFamily="34" charset="0"/>
              </a:rPr>
              <a:t>Centralized view &amp; ability to protect data</a:t>
            </a:r>
          </a:p>
        </p:txBody>
      </p:sp>
      <p:sp>
        <p:nvSpPr>
          <p:cNvPr id="991" name="Rectangle 990">
            <a:extLst>
              <a:ext uri="{FF2B5EF4-FFF2-40B4-BE49-F238E27FC236}">
                <a16:creationId xmlns:a16="http://schemas.microsoft.com/office/drawing/2014/main" id="{1BD9AD86-98C1-2F11-568B-621046F695CA}"/>
              </a:ext>
            </a:extLst>
          </p:cNvPr>
          <p:cNvSpPr/>
          <p:nvPr/>
        </p:nvSpPr>
        <p:spPr bwMode="auto">
          <a:xfrm>
            <a:off x="686287" y="4523706"/>
            <a:ext cx="1651396" cy="379768"/>
          </a:xfrm>
          <a:prstGeom prst="rect">
            <a:avLst/>
          </a:prstGeom>
          <a:solidFill>
            <a:schemeClr val="accent1">
              <a:lumMod val="20000"/>
              <a:lumOff val="80000"/>
            </a:schemeClr>
          </a:solidFill>
          <a:ln>
            <a:noFill/>
          </a:ln>
        </p:spPr>
        <p:txBody>
          <a:bodyPr wrap="square" lIns="0" tIns="0" rIns="0" bIns="0" numCol="1" rtlCol="0" anchor="ctr">
            <a:noAutofit/>
          </a:bodyPr>
          <a:lstStyle/>
          <a:p>
            <a:pPr marL="90488" defTabSz="932472" fontAlgn="base">
              <a:spcBef>
                <a:spcPct val="0"/>
              </a:spcBef>
              <a:spcAft>
                <a:spcPts val="200"/>
              </a:spcAft>
              <a:defRPr/>
            </a:pPr>
            <a:r>
              <a:rPr lang="en-US" sz="1600">
                <a:solidFill>
                  <a:schemeClr val="accent1"/>
                </a:solidFill>
                <a:latin typeface="Barlow Condensed Medium" panose="00000606000000000000" pitchFamily="2" charset="0"/>
              </a:rPr>
              <a:t>Benefits </a:t>
            </a:r>
          </a:p>
        </p:txBody>
      </p:sp>
      <p:sp>
        <p:nvSpPr>
          <p:cNvPr id="1007" name="Rectangle 1006">
            <a:extLst>
              <a:ext uri="{FF2B5EF4-FFF2-40B4-BE49-F238E27FC236}">
                <a16:creationId xmlns:a16="http://schemas.microsoft.com/office/drawing/2014/main" id="{68381BB3-07BE-4575-D38C-4B1AB560E0DC}"/>
              </a:ext>
            </a:extLst>
          </p:cNvPr>
          <p:cNvSpPr/>
          <p:nvPr/>
        </p:nvSpPr>
        <p:spPr bwMode="auto">
          <a:xfrm>
            <a:off x="2133545" y="5038736"/>
            <a:ext cx="9658027" cy="379768"/>
          </a:xfrm>
          <a:prstGeom prst="rect">
            <a:avLst/>
          </a:prstGeom>
          <a:solidFill>
            <a:schemeClr val="accent5">
              <a:lumMod val="20000"/>
              <a:lumOff val="80000"/>
            </a:schemeClr>
          </a:solidFill>
          <a:ln>
            <a:noFill/>
          </a:ln>
        </p:spPr>
        <p:txBody>
          <a:bodyPr wrap="square" lIns="0" tIns="0" rIns="0" bIns="0" numCol="1" rtlCol="0" anchor="ctr">
            <a:noAutofit/>
          </a:bodyPr>
          <a:lstStyle/>
          <a:p>
            <a:pPr algn="ctr" defTabSz="932472" fontAlgn="base">
              <a:spcBef>
                <a:spcPct val="0"/>
              </a:spcBef>
              <a:spcAft>
                <a:spcPts val="200"/>
              </a:spcAft>
              <a:defRPr/>
            </a:pPr>
            <a:r>
              <a:rPr lang="en-US" sz="1600">
                <a:solidFill>
                  <a:schemeClr val="accent1"/>
                </a:solidFill>
                <a:latin typeface="Barlow Condensed Medium" panose="00000606000000000000" pitchFamily="2" charset="0"/>
              </a:rPr>
              <a:t> </a:t>
            </a:r>
          </a:p>
        </p:txBody>
      </p:sp>
      <p:sp>
        <p:nvSpPr>
          <p:cNvPr id="1010" name="Isosceles Triangle 1009">
            <a:extLst>
              <a:ext uri="{FF2B5EF4-FFF2-40B4-BE49-F238E27FC236}">
                <a16:creationId xmlns:a16="http://schemas.microsoft.com/office/drawing/2014/main" id="{E7E4A108-78BA-9D59-CDBD-9D19B8736623}"/>
              </a:ext>
            </a:extLst>
          </p:cNvPr>
          <p:cNvSpPr/>
          <p:nvPr/>
        </p:nvSpPr>
        <p:spPr>
          <a:xfrm rot="5400000">
            <a:off x="2312425" y="5046957"/>
            <a:ext cx="376802" cy="366292"/>
          </a:xfrm>
          <a:prstGeom prst="triangle">
            <a:avLst/>
          </a:prstGeom>
          <a:solidFill>
            <a:schemeClr val="accent1">
              <a:lumMod val="20000"/>
              <a:lumOff val="8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11" name="Rectangle 1010">
            <a:extLst>
              <a:ext uri="{FF2B5EF4-FFF2-40B4-BE49-F238E27FC236}">
                <a16:creationId xmlns:a16="http://schemas.microsoft.com/office/drawing/2014/main" id="{DA27F715-95FE-C261-135E-D5A78B6E6BC9}"/>
              </a:ext>
            </a:extLst>
          </p:cNvPr>
          <p:cNvSpPr/>
          <p:nvPr/>
        </p:nvSpPr>
        <p:spPr bwMode="auto">
          <a:xfrm>
            <a:off x="686287" y="5038734"/>
            <a:ext cx="1651396" cy="379768"/>
          </a:xfrm>
          <a:prstGeom prst="rect">
            <a:avLst/>
          </a:prstGeom>
          <a:solidFill>
            <a:schemeClr val="accent1">
              <a:lumMod val="20000"/>
              <a:lumOff val="80000"/>
            </a:schemeClr>
          </a:solidFill>
          <a:ln>
            <a:noFill/>
          </a:ln>
        </p:spPr>
        <p:txBody>
          <a:bodyPr wrap="square" lIns="0" tIns="0" rIns="0" bIns="0" numCol="1" rtlCol="0" anchor="ctr">
            <a:noAutofit/>
          </a:bodyPr>
          <a:lstStyle/>
          <a:p>
            <a:pPr marL="90488" defTabSz="932472" fontAlgn="base">
              <a:spcBef>
                <a:spcPct val="0"/>
              </a:spcBef>
              <a:spcAft>
                <a:spcPts val="200"/>
              </a:spcAft>
              <a:defRPr/>
            </a:pPr>
            <a:r>
              <a:rPr lang="en-US" sz="1600">
                <a:solidFill>
                  <a:schemeClr val="accent1"/>
                </a:solidFill>
                <a:latin typeface="Barlow Condensed Medium" panose="00000606000000000000" pitchFamily="2" charset="0"/>
              </a:rPr>
              <a:t>Client Case Study </a:t>
            </a:r>
          </a:p>
        </p:txBody>
      </p:sp>
      <p:sp>
        <p:nvSpPr>
          <p:cNvPr id="1012" name="Rectangle 1011">
            <a:extLst>
              <a:ext uri="{FF2B5EF4-FFF2-40B4-BE49-F238E27FC236}">
                <a16:creationId xmlns:a16="http://schemas.microsoft.com/office/drawing/2014/main" id="{0CD340B8-0BEA-AFA1-6B49-DD71A92B4DCB}"/>
              </a:ext>
            </a:extLst>
          </p:cNvPr>
          <p:cNvSpPr/>
          <p:nvPr/>
        </p:nvSpPr>
        <p:spPr>
          <a:xfrm>
            <a:off x="2762205" y="5061905"/>
            <a:ext cx="8976210" cy="307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1219170">
              <a:spcBef>
                <a:spcPts val="100"/>
              </a:spcBef>
              <a:spcAft>
                <a:spcPts val="100"/>
              </a:spcAft>
              <a:buClr>
                <a:srgbClr val="3C3D3E"/>
              </a:buClr>
              <a:buSzPct val="100000"/>
              <a:defRPr/>
            </a:pPr>
            <a:r>
              <a:rPr lang="en-US" sz="1000" kern="0">
                <a:solidFill>
                  <a:srgbClr val="000000"/>
                </a:solidFill>
                <a:ea typeface="Batang" panose="020B0503020000020004" pitchFamily="18" charset="-127"/>
                <a:cs typeface="Arial" panose="020B0604020202020204" pitchFamily="34" charset="0"/>
              </a:rPr>
              <a:t>Migration of a Global Financial Services organization with 98K users from 2 legacy encryption and classification solutions to Microsoft Purview Information Protection, migrating from Symantec DLP to Purview DLP for Cloud/Endpoint &amp; implementing over 50 controls org-wide as part of a Copilot readiness program.</a:t>
            </a:r>
          </a:p>
        </p:txBody>
      </p:sp>
    </p:spTree>
    <p:extLst>
      <p:ext uri="{BB962C8B-B14F-4D97-AF65-F5344CB8AC3E}">
        <p14:creationId xmlns:p14="http://schemas.microsoft.com/office/powerpoint/2010/main" val="53241018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37966D-B87F-0C17-DB9C-400C906D9EFE}"/>
            </a:ext>
          </a:extLst>
        </p:cNvPr>
        <p:cNvGrpSpPr/>
        <p:nvPr/>
      </p:nvGrpSpPr>
      <p:grpSpPr>
        <a:xfrm>
          <a:off x="0" y="0"/>
          <a:ext cx="0" cy="0"/>
          <a:chOff x="0" y="0"/>
          <a:chExt cx="0" cy="0"/>
        </a:xfrm>
      </p:grpSpPr>
      <p:sp>
        <p:nvSpPr>
          <p:cNvPr id="17" name="Rectangle: Top Corners Rounded 16">
            <a:extLst>
              <a:ext uri="{FF2B5EF4-FFF2-40B4-BE49-F238E27FC236}">
                <a16:creationId xmlns:a16="http://schemas.microsoft.com/office/drawing/2014/main" id="{3185B5B7-FBE8-A54A-967E-515236563F06}"/>
              </a:ext>
              <a:ext uri="{C183D7F6-B498-43B3-948B-1728B52AA6E4}">
                <adec:decorative xmlns:adec="http://schemas.microsoft.com/office/drawing/2017/decorative" val="1"/>
              </a:ext>
            </a:extLst>
          </p:cNvPr>
          <p:cNvSpPr/>
          <p:nvPr/>
        </p:nvSpPr>
        <p:spPr bwMode="auto">
          <a:xfrm rot="5400000">
            <a:off x="-1212852" y="1212850"/>
            <a:ext cx="6858004" cy="4432299"/>
          </a:xfrm>
          <a:prstGeom prst="round2SameRect">
            <a:avLst>
              <a:gd name="adj1" fmla="val 0"/>
              <a:gd name="adj2" fmla="val 0"/>
            </a:avLst>
          </a:pr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15" name="Rectangle: Rounded Corners 14">
            <a:extLst>
              <a:ext uri="{FF2B5EF4-FFF2-40B4-BE49-F238E27FC236}">
                <a16:creationId xmlns:a16="http://schemas.microsoft.com/office/drawing/2014/main" id="{57EA8904-2277-62B7-7C6F-BC8A7986B3E2}"/>
              </a:ext>
              <a:ext uri="{C183D7F6-B498-43B3-948B-1728B52AA6E4}">
                <adec:decorative xmlns:adec="http://schemas.microsoft.com/office/drawing/2017/decorative" val="1"/>
              </a:ext>
            </a:extLst>
          </p:cNvPr>
          <p:cNvSpPr/>
          <p:nvPr/>
        </p:nvSpPr>
        <p:spPr bwMode="auto">
          <a:xfrm>
            <a:off x="3917158" y="546100"/>
            <a:ext cx="7812087" cy="5765800"/>
          </a:xfrm>
          <a:prstGeom prst="roundRect">
            <a:avLst>
              <a:gd name="adj" fmla="val 2978"/>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6" name="Rectangle: Rounded Corners 15">
            <a:extLst>
              <a:ext uri="{FF2B5EF4-FFF2-40B4-BE49-F238E27FC236}">
                <a16:creationId xmlns:a16="http://schemas.microsoft.com/office/drawing/2014/main" id="{DD5CEBCC-9732-44CB-E206-FF98840F02FC}"/>
              </a:ext>
              <a:ext uri="{C183D7F6-B498-43B3-948B-1728B52AA6E4}">
                <adec:decorative xmlns:adec="http://schemas.microsoft.com/office/drawing/2017/decorative" val="1"/>
              </a:ext>
            </a:extLst>
          </p:cNvPr>
          <p:cNvSpPr/>
          <p:nvPr/>
        </p:nvSpPr>
        <p:spPr bwMode="auto">
          <a:xfrm>
            <a:off x="4195288" y="824230"/>
            <a:ext cx="7255827" cy="5209540"/>
          </a:xfrm>
          <a:prstGeom prst="roundRect">
            <a:avLst>
              <a:gd name="adj" fmla="val 2600"/>
            </a:avLst>
          </a:prstGeom>
          <a:solidFill>
            <a:schemeClr val="bg1">
              <a:lumMod val="95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5071B2F1-FA64-4EB0-7584-AD06E14A2A55}"/>
              </a:ext>
              <a:ext uri="{C183D7F6-B498-43B3-948B-1728B52AA6E4}">
                <adec:decorative xmlns:adec="http://schemas.microsoft.com/office/drawing/2017/decorative" val="1"/>
              </a:ext>
            </a:extLst>
          </p:cNvPr>
          <p:cNvSpPr/>
          <p:nvPr/>
        </p:nvSpPr>
        <p:spPr bwMode="auto">
          <a:xfrm>
            <a:off x="584200" y="1433534"/>
            <a:ext cx="923180" cy="9231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Title 18">
            <a:extLst>
              <a:ext uri="{FF2B5EF4-FFF2-40B4-BE49-F238E27FC236}">
                <a16:creationId xmlns:a16="http://schemas.microsoft.com/office/drawing/2014/main" id="{324D554C-86F1-2D42-1D3C-8A213AC8A184}"/>
              </a:ext>
            </a:extLst>
          </p:cNvPr>
          <p:cNvSpPr>
            <a:spLocks noGrp="1"/>
          </p:cNvSpPr>
          <p:nvPr>
            <p:ph type="title"/>
          </p:nvPr>
        </p:nvSpPr>
        <p:spPr>
          <a:xfrm>
            <a:off x="588963" y="2744376"/>
            <a:ext cx="2718681" cy="2215991"/>
          </a:xfrm>
        </p:spPr>
        <p:txBody>
          <a:bodyPr>
            <a:normAutofit/>
          </a:bodyPr>
          <a:lstStyle/>
          <a:p>
            <a:pPr algn="l"/>
            <a:r>
              <a:rPr lang="en-IN">
                <a:solidFill>
                  <a:schemeClr val="bg1"/>
                </a:solidFill>
              </a:rPr>
              <a:t>Call to Action</a:t>
            </a:r>
            <a:br>
              <a:rPr lang="en-IN">
                <a:solidFill>
                  <a:schemeClr val="bg1"/>
                </a:solidFill>
              </a:rPr>
            </a:br>
            <a:endParaRPr lang="en-IN">
              <a:solidFill>
                <a:schemeClr val="bg1"/>
              </a:solidFill>
            </a:endParaRPr>
          </a:p>
        </p:txBody>
      </p:sp>
      <p:sp>
        <p:nvSpPr>
          <p:cNvPr id="26" name="Freeform: Shape 25" descr="Icon of a blank document">
            <a:extLst>
              <a:ext uri="{FF2B5EF4-FFF2-40B4-BE49-F238E27FC236}">
                <a16:creationId xmlns:a16="http://schemas.microsoft.com/office/drawing/2014/main" id="{86C1BD47-2FF3-FF7B-F480-704113E7ADB0}"/>
              </a:ext>
            </a:extLst>
          </p:cNvPr>
          <p:cNvSpPr>
            <a:spLocks/>
          </p:cNvSpPr>
          <p:nvPr/>
        </p:nvSpPr>
        <p:spPr>
          <a:xfrm>
            <a:off x="853666" y="1654969"/>
            <a:ext cx="384250" cy="480310"/>
          </a:xfrm>
          <a:custGeom>
            <a:avLst/>
            <a:gdLst>
              <a:gd name="connsiteX0" fmla="*/ 130456 w 219716"/>
              <a:gd name="connsiteY0" fmla="*/ 6866 h 274645"/>
              <a:gd name="connsiteX1" fmla="*/ 212850 w 219716"/>
              <a:gd name="connsiteY1" fmla="*/ 89260 h 274645"/>
              <a:gd name="connsiteX2" fmla="*/ 137322 w 219716"/>
              <a:gd name="connsiteY2" fmla="*/ 89260 h 274645"/>
              <a:gd name="connsiteX3" fmla="*/ 130456 w 219716"/>
              <a:gd name="connsiteY3" fmla="*/ 82393 h 274645"/>
              <a:gd name="connsiteX4" fmla="*/ 27465 w 219716"/>
              <a:gd name="connsiteY4" fmla="*/ 0 h 274645"/>
              <a:gd name="connsiteX5" fmla="*/ 109858 w 219716"/>
              <a:gd name="connsiteY5" fmla="*/ 0 h 274645"/>
              <a:gd name="connsiteX6" fmla="*/ 109858 w 219716"/>
              <a:gd name="connsiteY6" fmla="*/ 82394 h 274645"/>
              <a:gd name="connsiteX7" fmla="*/ 137323 w 219716"/>
              <a:gd name="connsiteY7" fmla="*/ 109858 h 274645"/>
              <a:gd name="connsiteX8" fmla="*/ 219716 w 219716"/>
              <a:gd name="connsiteY8" fmla="*/ 109858 h 274645"/>
              <a:gd name="connsiteX9" fmla="*/ 219716 w 219716"/>
              <a:gd name="connsiteY9" fmla="*/ 247181 h 274645"/>
              <a:gd name="connsiteX10" fmla="*/ 192252 w 219716"/>
              <a:gd name="connsiteY10" fmla="*/ 274645 h 274645"/>
              <a:gd name="connsiteX11" fmla="*/ 27465 w 219716"/>
              <a:gd name="connsiteY11" fmla="*/ 274645 h 274645"/>
              <a:gd name="connsiteX12" fmla="*/ 0 w 219716"/>
              <a:gd name="connsiteY12" fmla="*/ 247181 h 274645"/>
              <a:gd name="connsiteX13" fmla="*/ 0 w 219716"/>
              <a:gd name="connsiteY13" fmla="*/ 27465 h 274645"/>
              <a:gd name="connsiteX14" fmla="*/ 27465 w 219716"/>
              <a:gd name="connsiteY14" fmla="*/ 0 h 27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716" h="274645">
                <a:moveTo>
                  <a:pt x="130456" y="6866"/>
                </a:moveTo>
                <a:lnTo>
                  <a:pt x="212850" y="89260"/>
                </a:lnTo>
                <a:lnTo>
                  <a:pt x="137322" y="89260"/>
                </a:lnTo>
                <a:cubicBezTo>
                  <a:pt x="133531" y="89260"/>
                  <a:pt x="130456" y="86185"/>
                  <a:pt x="130456" y="82393"/>
                </a:cubicBezTo>
                <a:close/>
                <a:moveTo>
                  <a:pt x="27465" y="0"/>
                </a:moveTo>
                <a:lnTo>
                  <a:pt x="109858" y="0"/>
                </a:lnTo>
                <a:lnTo>
                  <a:pt x="109858" y="82394"/>
                </a:lnTo>
                <a:cubicBezTo>
                  <a:pt x="109858" y="97562"/>
                  <a:pt x="122154" y="109858"/>
                  <a:pt x="137323" y="109858"/>
                </a:cubicBezTo>
                <a:lnTo>
                  <a:pt x="219716" y="109858"/>
                </a:lnTo>
                <a:lnTo>
                  <a:pt x="219716" y="247181"/>
                </a:lnTo>
                <a:cubicBezTo>
                  <a:pt x="219716" y="262349"/>
                  <a:pt x="207420" y="274645"/>
                  <a:pt x="192252" y="274645"/>
                </a:cubicBezTo>
                <a:lnTo>
                  <a:pt x="27465" y="274645"/>
                </a:lnTo>
                <a:cubicBezTo>
                  <a:pt x="12296" y="274645"/>
                  <a:pt x="0" y="262349"/>
                  <a:pt x="0" y="247181"/>
                </a:cubicBezTo>
                <a:lnTo>
                  <a:pt x="0" y="27465"/>
                </a:lnTo>
                <a:cubicBezTo>
                  <a:pt x="0" y="12296"/>
                  <a:pt x="12296" y="0"/>
                  <a:pt x="27465" y="0"/>
                </a:cubicBezTo>
                <a:close/>
              </a:path>
            </a:pathLst>
          </a:cu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2" name="Text Placeholder 2">
            <a:extLst>
              <a:ext uri="{FF2B5EF4-FFF2-40B4-BE49-F238E27FC236}">
                <a16:creationId xmlns:a16="http://schemas.microsoft.com/office/drawing/2014/main" id="{3D828813-19CC-497A-5D38-E14A0326D3CB}"/>
              </a:ext>
            </a:extLst>
          </p:cNvPr>
          <p:cNvSpPr txBox="1">
            <a:spLocks/>
          </p:cNvSpPr>
          <p:nvPr/>
        </p:nvSpPr>
        <p:spPr>
          <a:xfrm>
            <a:off x="4432300" y="982177"/>
            <a:ext cx="6680196" cy="4893647"/>
          </a:xfrm>
          <a:prstGeom prst="rect">
            <a:avLst/>
          </a:prstGeom>
          <a:noFill/>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spcBef>
                <a:spcPts val="600"/>
              </a:spcBef>
              <a:buFont typeface="Arial" panose="020B0604020202020204" pitchFamily="34" charset="0"/>
              <a:buChar char="•"/>
            </a:pPr>
            <a:r>
              <a:rPr lang="en-US" sz="2400">
                <a:latin typeface="Segoe UI" panose="020B0502040204020203" pitchFamily="34" charset="0"/>
              </a:rPr>
              <a:t>Apply sensitivity labels in Microsoft 365 Copilot for enhanced data security.</a:t>
            </a:r>
          </a:p>
          <a:p>
            <a:pPr marL="457200" indent="-457200" algn="l">
              <a:spcBef>
                <a:spcPts val="600"/>
              </a:spcBef>
              <a:buFont typeface="Arial" panose="020B0604020202020204" pitchFamily="34" charset="0"/>
              <a:buChar char="•"/>
            </a:pPr>
            <a:endParaRPr lang="en-US" sz="2400">
              <a:latin typeface="Segoe UI" panose="020B0502040204020203" pitchFamily="34" charset="0"/>
            </a:endParaRPr>
          </a:p>
          <a:p>
            <a:pPr marL="457200" indent="-457200" algn="l">
              <a:spcBef>
                <a:spcPts val="600"/>
              </a:spcBef>
              <a:buFont typeface="Arial" panose="020B0604020202020204" pitchFamily="34" charset="0"/>
              <a:buChar char="•"/>
            </a:pPr>
            <a:r>
              <a:rPr lang="en-US" sz="2400">
                <a:latin typeface="Segoe UI" panose="020B0502040204020203" pitchFamily="34" charset="0"/>
              </a:rPr>
              <a:t>M365 Copilot blueprint for Oversharing </a:t>
            </a:r>
            <a:r>
              <a:rPr lang="en-US" sz="2400">
                <a:latin typeface="Segoe UI" panose="020B0502040204020203" pitchFamily="34" charset="0"/>
                <a:hlinkClick r:id="rId3"/>
              </a:rPr>
              <a:t>http://aka.ms/copilot/oversharing</a:t>
            </a:r>
            <a:r>
              <a:rPr lang="en-US" sz="2400">
                <a:latin typeface="Segoe UI" panose="020B0502040204020203" pitchFamily="34" charset="0"/>
              </a:rPr>
              <a:t> </a:t>
            </a:r>
          </a:p>
          <a:p>
            <a:pPr algn="l">
              <a:spcBef>
                <a:spcPts val="600"/>
              </a:spcBef>
            </a:pPr>
            <a:endParaRPr lang="en-US" sz="2400">
              <a:latin typeface="Segoe UI" panose="020B0502040204020203" pitchFamily="34" charset="0"/>
            </a:endParaRPr>
          </a:p>
          <a:p>
            <a:pPr marL="457200" indent="-457200">
              <a:spcBef>
                <a:spcPts val="600"/>
              </a:spcBef>
              <a:buFont typeface="Arial" panose="020B0604020202020204" pitchFamily="34" charset="0"/>
              <a:buChar char="•"/>
            </a:pPr>
            <a:r>
              <a:rPr kumimoji="0" lang="en-US" sz="2400" i="0" u="none" strike="noStrike" kern="1200" cap="none" spc="0" normalizeH="0" baseline="0" noProof="0">
                <a:ln>
                  <a:noFill/>
                </a:ln>
                <a:solidFill>
                  <a:srgbClr val="000000"/>
                </a:solidFill>
                <a:effectLst/>
                <a:uLnTx/>
                <a:uFillTx/>
                <a:latin typeface="Segoe UI" panose="020B0502040204020203" pitchFamily="34" charset="0"/>
              </a:rPr>
              <a:t>Accelerate your Information Protection and Data Loss Prevention deployment</a:t>
            </a:r>
            <a:r>
              <a:rPr kumimoji="0" lang="en-US" sz="2400" b="1" i="0" u="none" strike="noStrike" kern="1200" cap="none" spc="0" normalizeH="0" baseline="0" noProof="0">
                <a:ln>
                  <a:noFill/>
                </a:ln>
                <a:solidFill>
                  <a:srgbClr val="000000"/>
                </a:solidFill>
                <a:effectLst/>
                <a:uLnTx/>
                <a:uFillTx/>
                <a:latin typeface="Segoe UI" panose="020B0502040204020203" pitchFamily="34" charset="0"/>
              </a:rPr>
              <a:t> </a:t>
            </a:r>
            <a:r>
              <a:rPr kumimoji="0" lang="en-US" sz="2400" b="0" i="0" u="none" strike="noStrike" kern="1200" cap="none" spc="0" normalizeH="0" baseline="0" noProof="0">
                <a:ln>
                  <a:noFill/>
                </a:ln>
                <a:solidFill>
                  <a:srgbClr val="0078D4"/>
                </a:solidFill>
                <a:effectLst/>
                <a:uLnTx/>
                <a:uFillTx/>
                <a:latin typeface="Segoe UI" panose="020B0502040204020203" pitchFamily="34" charset="0"/>
                <a:hlinkClick r:id="rId4">
                  <a:extLst>
                    <a:ext uri="{A12FA001-AC4F-418D-AE19-62706E023703}">
                      <ahyp:hlinkClr xmlns:ahyp="http://schemas.microsoft.com/office/drawing/2018/hyperlinkcolor" val="tx"/>
                    </a:ext>
                  </a:extLst>
                </a:hlinkClick>
              </a:rPr>
              <a:t>https://aka.ms/PurviewDeploymentModels</a:t>
            </a:r>
            <a:endParaRPr lang="en-US" sz="2400">
              <a:latin typeface="Segoe UI" panose="020B0502040204020203" pitchFamily="34" charset="0"/>
            </a:endParaRPr>
          </a:p>
          <a:p>
            <a:pPr marL="457200" indent="-457200" algn="l">
              <a:spcBef>
                <a:spcPts val="600"/>
              </a:spcBef>
              <a:buFont typeface="Arial" panose="020B0604020202020204" pitchFamily="34" charset="0"/>
              <a:buChar char="•"/>
            </a:pPr>
            <a:endParaRPr lang="en-US" sz="2400">
              <a:latin typeface="Segoe UI" panose="020B0502040204020203" pitchFamily="34" charset="0"/>
            </a:endParaRPr>
          </a:p>
          <a:p>
            <a:pPr marL="457200" indent="-457200" algn="l">
              <a:spcBef>
                <a:spcPts val="600"/>
              </a:spcBef>
              <a:buFont typeface="Arial" panose="020B0604020202020204" pitchFamily="34" charset="0"/>
              <a:buChar char="•"/>
            </a:pPr>
            <a:r>
              <a:rPr lang="en-US" sz="2400">
                <a:latin typeface="Segoe UI" panose="020B0502040204020203" pitchFamily="34" charset="0"/>
              </a:rPr>
              <a:t>Join the Microsoft Customer Connection Program (CCP) at </a:t>
            </a:r>
            <a:r>
              <a:rPr lang="en-US" sz="2400">
                <a:latin typeface="Segoe UI" panose="020B0502040204020203" pitchFamily="34" charset="0"/>
                <a:hlinkClick r:id="rId5"/>
              </a:rPr>
              <a:t>https://aka.ms/joinccp</a:t>
            </a:r>
            <a:r>
              <a:rPr lang="en-US" sz="2400">
                <a:latin typeface="Segoe UI" panose="020B0502040204020203" pitchFamily="34" charset="0"/>
              </a:rPr>
              <a:t> </a:t>
            </a:r>
          </a:p>
        </p:txBody>
      </p:sp>
    </p:spTree>
    <p:extLst>
      <p:ext uri="{BB962C8B-B14F-4D97-AF65-F5344CB8AC3E}">
        <p14:creationId xmlns:p14="http://schemas.microsoft.com/office/powerpoint/2010/main" val="109178517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9C1CF-52B4-0660-A1D9-A5B76E13D640}"/>
            </a:ext>
          </a:extLst>
        </p:cNvPr>
        <p:cNvGrpSpPr/>
        <p:nvPr/>
      </p:nvGrpSpPr>
      <p:grpSpPr>
        <a:xfrm>
          <a:off x="0" y="0"/>
          <a:ext cx="0" cy="0"/>
          <a:chOff x="0" y="0"/>
          <a:chExt cx="0" cy="0"/>
        </a:xfrm>
      </p:grpSpPr>
      <p:sp>
        <p:nvSpPr>
          <p:cNvPr id="17" name="Rectangle: Top Corners Rounded 16">
            <a:extLst>
              <a:ext uri="{FF2B5EF4-FFF2-40B4-BE49-F238E27FC236}">
                <a16:creationId xmlns:a16="http://schemas.microsoft.com/office/drawing/2014/main" id="{BAF49A1A-191F-5B90-2922-A2066F8C569F}"/>
              </a:ext>
              <a:ext uri="{C183D7F6-B498-43B3-948B-1728B52AA6E4}">
                <adec:decorative xmlns:adec="http://schemas.microsoft.com/office/drawing/2017/decorative" val="1"/>
              </a:ext>
            </a:extLst>
          </p:cNvPr>
          <p:cNvSpPr/>
          <p:nvPr/>
        </p:nvSpPr>
        <p:spPr bwMode="auto">
          <a:xfrm rot="5400000">
            <a:off x="-1212852" y="1212850"/>
            <a:ext cx="6858004" cy="4432299"/>
          </a:xfrm>
          <a:prstGeom prst="round2SameRect">
            <a:avLst>
              <a:gd name="adj1" fmla="val 0"/>
              <a:gd name="adj2" fmla="val 0"/>
            </a:avLst>
          </a:pr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15" name="Rectangle: Rounded Corners 14">
            <a:extLst>
              <a:ext uri="{FF2B5EF4-FFF2-40B4-BE49-F238E27FC236}">
                <a16:creationId xmlns:a16="http://schemas.microsoft.com/office/drawing/2014/main" id="{4CDE3C68-7B6B-2798-7488-EB1EF99F9CAC}"/>
              </a:ext>
              <a:ext uri="{C183D7F6-B498-43B3-948B-1728B52AA6E4}">
                <adec:decorative xmlns:adec="http://schemas.microsoft.com/office/drawing/2017/decorative" val="1"/>
              </a:ext>
            </a:extLst>
          </p:cNvPr>
          <p:cNvSpPr/>
          <p:nvPr/>
        </p:nvSpPr>
        <p:spPr bwMode="auto">
          <a:xfrm>
            <a:off x="3917158" y="546100"/>
            <a:ext cx="7812087" cy="5765800"/>
          </a:xfrm>
          <a:prstGeom prst="roundRect">
            <a:avLst>
              <a:gd name="adj" fmla="val 2978"/>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6" name="Rectangle: Rounded Corners 15">
            <a:extLst>
              <a:ext uri="{FF2B5EF4-FFF2-40B4-BE49-F238E27FC236}">
                <a16:creationId xmlns:a16="http://schemas.microsoft.com/office/drawing/2014/main" id="{F36A7D48-CC6A-AA58-4D71-B86C22381792}"/>
              </a:ext>
              <a:ext uri="{C183D7F6-B498-43B3-948B-1728B52AA6E4}">
                <adec:decorative xmlns:adec="http://schemas.microsoft.com/office/drawing/2017/decorative" val="1"/>
              </a:ext>
            </a:extLst>
          </p:cNvPr>
          <p:cNvSpPr/>
          <p:nvPr/>
        </p:nvSpPr>
        <p:spPr bwMode="auto">
          <a:xfrm>
            <a:off x="4195288" y="824230"/>
            <a:ext cx="7255827" cy="5209540"/>
          </a:xfrm>
          <a:prstGeom prst="roundRect">
            <a:avLst>
              <a:gd name="adj" fmla="val 2600"/>
            </a:avLst>
          </a:prstGeom>
          <a:solidFill>
            <a:schemeClr val="bg1">
              <a:lumMod val="95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E3FBA3A3-C5CD-E0BA-A5E3-2C5429D76F11}"/>
              </a:ext>
              <a:ext uri="{C183D7F6-B498-43B3-948B-1728B52AA6E4}">
                <adec:decorative xmlns:adec="http://schemas.microsoft.com/office/drawing/2017/decorative" val="1"/>
              </a:ext>
            </a:extLst>
          </p:cNvPr>
          <p:cNvSpPr/>
          <p:nvPr/>
        </p:nvSpPr>
        <p:spPr bwMode="auto">
          <a:xfrm>
            <a:off x="584200" y="1433534"/>
            <a:ext cx="923180" cy="9231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Title 18">
            <a:extLst>
              <a:ext uri="{FF2B5EF4-FFF2-40B4-BE49-F238E27FC236}">
                <a16:creationId xmlns:a16="http://schemas.microsoft.com/office/drawing/2014/main" id="{B176D6A0-0D80-90DA-CAE4-4648241539C1}"/>
              </a:ext>
            </a:extLst>
          </p:cNvPr>
          <p:cNvSpPr>
            <a:spLocks noGrp="1"/>
          </p:cNvSpPr>
          <p:nvPr>
            <p:ph type="title"/>
          </p:nvPr>
        </p:nvSpPr>
        <p:spPr>
          <a:xfrm>
            <a:off x="499301" y="2845976"/>
            <a:ext cx="2988966" cy="2215991"/>
          </a:xfrm>
        </p:spPr>
        <p:txBody>
          <a:bodyPr>
            <a:normAutofit/>
          </a:bodyPr>
          <a:lstStyle/>
          <a:p>
            <a:pPr algn="l"/>
            <a:r>
              <a:rPr lang="en-IN">
                <a:solidFill>
                  <a:schemeClr val="bg1"/>
                </a:solidFill>
              </a:rPr>
              <a:t>Additional resources</a:t>
            </a:r>
            <a:br>
              <a:rPr lang="en-IN">
                <a:solidFill>
                  <a:schemeClr val="bg1"/>
                </a:solidFill>
              </a:rPr>
            </a:br>
            <a:endParaRPr lang="en-IN">
              <a:solidFill>
                <a:schemeClr val="bg1"/>
              </a:solidFill>
            </a:endParaRPr>
          </a:p>
        </p:txBody>
      </p:sp>
      <p:sp>
        <p:nvSpPr>
          <p:cNvPr id="26" name="Freeform: Shape 25" descr="Icon of a blank document">
            <a:extLst>
              <a:ext uri="{FF2B5EF4-FFF2-40B4-BE49-F238E27FC236}">
                <a16:creationId xmlns:a16="http://schemas.microsoft.com/office/drawing/2014/main" id="{3E42A58A-2CED-61F7-B028-584EB4AACF18}"/>
              </a:ext>
            </a:extLst>
          </p:cNvPr>
          <p:cNvSpPr>
            <a:spLocks/>
          </p:cNvSpPr>
          <p:nvPr/>
        </p:nvSpPr>
        <p:spPr>
          <a:xfrm>
            <a:off x="853666" y="1654969"/>
            <a:ext cx="384250" cy="480310"/>
          </a:xfrm>
          <a:custGeom>
            <a:avLst/>
            <a:gdLst>
              <a:gd name="connsiteX0" fmla="*/ 130456 w 219716"/>
              <a:gd name="connsiteY0" fmla="*/ 6866 h 274645"/>
              <a:gd name="connsiteX1" fmla="*/ 212850 w 219716"/>
              <a:gd name="connsiteY1" fmla="*/ 89260 h 274645"/>
              <a:gd name="connsiteX2" fmla="*/ 137322 w 219716"/>
              <a:gd name="connsiteY2" fmla="*/ 89260 h 274645"/>
              <a:gd name="connsiteX3" fmla="*/ 130456 w 219716"/>
              <a:gd name="connsiteY3" fmla="*/ 82393 h 274645"/>
              <a:gd name="connsiteX4" fmla="*/ 27465 w 219716"/>
              <a:gd name="connsiteY4" fmla="*/ 0 h 274645"/>
              <a:gd name="connsiteX5" fmla="*/ 109858 w 219716"/>
              <a:gd name="connsiteY5" fmla="*/ 0 h 274645"/>
              <a:gd name="connsiteX6" fmla="*/ 109858 w 219716"/>
              <a:gd name="connsiteY6" fmla="*/ 82394 h 274645"/>
              <a:gd name="connsiteX7" fmla="*/ 137323 w 219716"/>
              <a:gd name="connsiteY7" fmla="*/ 109858 h 274645"/>
              <a:gd name="connsiteX8" fmla="*/ 219716 w 219716"/>
              <a:gd name="connsiteY8" fmla="*/ 109858 h 274645"/>
              <a:gd name="connsiteX9" fmla="*/ 219716 w 219716"/>
              <a:gd name="connsiteY9" fmla="*/ 247181 h 274645"/>
              <a:gd name="connsiteX10" fmla="*/ 192252 w 219716"/>
              <a:gd name="connsiteY10" fmla="*/ 274645 h 274645"/>
              <a:gd name="connsiteX11" fmla="*/ 27465 w 219716"/>
              <a:gd name="connsiteY11" fmla="*/ 274645 h 274645"/>
              <a:gd name="connsiteX12" fmla="*/ 0 w 219716"/>
              <a:gd name="connsiteY12" fmla="*/ 247181 h 274645"/>
              <a:gd name="connsiteX13" fmla="*/ 0 w 219716"/>
              <a:gd name="connsiteY13" fmla="*/ 27465 h 274645"/>
              <a:gd name="connsiteX14" fmla="*/ 27465 w 219716"/>
              <a:gd name="connsiteY14" fmla="*/ 0 h 27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716" h="274645">
                <a:moveTo>
                  <a:pt x="130456" y="6866"/>
                </a:moveTo>
                <a:lnTo>
                  <a:pt x="212850" y="89260"/>
                </a:lnTo>
                <a:lnTo>
                  <a:pt x="137322" y="89260"/>
                </a:lnTo>
                <a:cubicBezTo>
                  <a:pt x="133531" y="89260"/>
                  <a:pt x="130456" y="86185"/>
                  <a:pt x="130456" y="82393"/>
                </a:cubicBezTo>
                <a:close/>
                <a:moveTo>
                  <a:pt x="27465" y="0"/>
                </a:moveTo>
                <a:lnTo>
                  <a:pt x="109858" y="0"/>
                </a:lnTo>
                <a:lnTo>
                  <a:pt x="109858" y="82394"/>
                </a:lnTo>
                <a:cubicBezTo>
                  <a:pt x="109858" y="97562"/>
                  <a:pt x="122154" y="109858"/>
                  <a:pt x="137323" y="109858"/>
                </a:cubicBezTo>
                <a:lnTo>
                  <a:pt x="219716" y="109858"/>
                </a:lnTo>
                <a:lnTo>
                  <a:pt x="219716" y="247181"/>
                </a:lnTo>
                <a:cubicBezTo>
                  <a:pt x="219716" y="262349"/>
                  <a:pt x="207420" y="274645"/>
                  <a:pt x="192252" y="274645"/>
                </a:cubicBezTo>
                <a:lnTo>
                  <a:pt x="27465" y="274645"/>
                </a:lnTo>
                <a:cubicBezTo>
                  <a:pt x="12296" y="274645"/>
                  <a:pt x="0" y="262349"/>
                  <a:pt x="0" y="247181"/>
                </a:cubicBezTo>
                <a:lnTo>
                  <a:pt x="0" y="27465"/>
                </a:lnTo>
                <a:cubicBezTo>
                  <a:pt x="0" y="12296"/>
                  <a:pt x="12296" y="0"/>
                  <a:pt x="27465" y="0"/>
                </a:cubicBezTo>
                <a:close/>
              </a:path>
            </a:pathLst>
          </a:cu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2" name="Text Placeholder 2">
            <a:extLst>
              <a:ext uri="{FF2B5EF4-FFF2-40B4-BE49-F238E27FC236}">
                <a16:creationId xmlns:a16="http://schemas.microsoft.com/office/drawing/2014/main" id="{F329E5D7-3FAA-887F-D0AC-DF5A8E7186F4}"/>
              </a:ext>
            </a:extLst>
          </p:cNvPr>
          <p:cNvSpPr txBox="1">
            <a:spLocks/>
          </p:cNvSpPr>
          <p:nvPr/>
        </p:nvSpPr>
        <p:spPr>
          <a:xfrm>
            <a:off x="4483103" y="2251753"/>
            <a:ext cx="6674632" cy="2354491"/>
          </a:xfrm>
          <a:prstGeom prst="rect">
            <a:avLst/>
          </a:prstGeom>
          <a:noFill/>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spcAft>
                <a:spcPts val="1200"/>
              </a:spcAft>
              <a:buNone/>
              <a:defRPr/>
            </a:pPr>
            <a:r>
              <a:rPr kumimoji="0" lang="en-US" sz="19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Data security and protections for AI with Microsoft Purview: </a:t>
            </a:r>
            <a:r>
              <a:rPr kumimoji="0" lang="en-US" sz="19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hlinkClick r:id="rId3">
                  <a:extLst>
                    <a:ext uri="{A12FA001-AC4F-418D-AE19-62706E023703}">
                      <ahyp:hlinkClr xmlns:ahyp="http://schemas.microsoft.com/office/drawing/2018/hyperlinkcolor" val="tx"/>
                    </a:ext>
                  </a:extLst>
                </a:hlinkClick>
              </a:rPr>
              <a:t>Microsoft Purview data security and compliance protections for Microsoft 365 Copilot and other generative AI apps | Microsoft Learn</a:t>
            </a:r>
            <a:r>
              <a:rPr kumimoji="0" lang="en-US" sz="19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rPr>
              <a:t> </a:t>
            </a:r>
          </a:p>
          <a:p>
            <a:pPr marL="0" marR="0" lvl="0" indent="0" algn="l" defTabSz="93274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19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Deployment Guidance: </a:t>
            </a:r>
            <a:br>
              <a:rPr kumimoji="0" lang="en-US" sz="19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br>
            <a:r>
              <a:rPr lang="en-US" sz="1900">
                <a:latin typeface="Segoe UI"/>
              </a:rPr>
              <a:t>DSPM for AI </a:t>
            </a:r>
            <a:r>
              <a:rPr kumimoji="0" lang="en-US" sz="1900" b="0" i="0" u="none" strike="noStrike" kern="1200" cap="none" spc="0" normalizeH="0" baseline="0" noProof="0">
                <a:ln>
                  <a:noFill/>
                </a:ln>
                <a:solidFill>
                  <a:srgbClr val="0B87DE"/>
                </a:solidFill>
                <a:effectLst/>
                <a:uLnTx/>
                <a:uFillTx/>
                <a:latin typeface="Segoe UI"/>
                <a:ea typeface="+mn-ea"/>
                <a:cs typeface="Segoe UI" panose="020B0502040204020203" pitchFamily="34" charset="0"/>
                <a:hlinkClick r:id="rId4" tooltip="https://aka.ms/copilottranscriptionpaper-stp">
                  <a:extLst>
                    <a:ext uri="{A12FA001-AC4F-418D-AE19-62706E023703}">
                      <ahyp:hlinkClr xmlns:ahyp="http://schemas.microsoft.com/office/drawing/2018/hyperlinkcolor" val="tx"/>
                    </a:ext>
                  </a:extLst>
                </a:hlinkClick>
              </a:rPr>
              <a:t>aka.ms/</a:t>
            </a:r>
            <a:r>
              <a:rPr kumimoji="0" lang="en-US" sz="1900" b="0" i="0" u="none" strike="noStrike" kern="1200" cap="none" spc="0" normalizeH="0" baseline="0" noProof="0" err="1">
                <a:ln>
                  <a:noFill/>
                </a:ln>
                <a:solidFill>
                  <a:srgbClr val="0B87DE"/>
                </a:solidFill>
                <a:effectLst/>
                <a:uLnTx/>
                <a:uFillTx/>
                <a:latin typeface="Segoe UI"/>
                <a:ea typeface="+mn-ea"/>
                <a:cs typeface="Segoe UI" panose="020B0502040204020203" pitchFamily="34" charset="0"/>
                <a:hlinkClick r:id="rId4" tooltip="https://aka.ms/copilottranscriptionpaper-stp">
                  <a:extLst>
                    <a:ext uri="{A12FA001-AC4F-418D-AE19-62706E023703}">
                      <ahyp:hlinkClr xmlns:ahyp="http://schemas.microsoft.com/office/drawing/2018/hyperlinkcolor" val="tx"/>
                    </a:ext>
                  </a:extLst>
                </a:hlinkClick>
              </a:rPr>
              <a:t>DSPMforAI</a:t>
            </a:r>
            <a:r>
              <a:rPr kumimoji="0" lang="en-US" sz="1900" b="0" i="0" u="none" strike="noStrike" kern="1200" cap="none" spc="0" normalizeH="0" baseline="0" noProof="0">
                <a:ln>
                  <a:noFill/>
                </a:ln>
                <a:solidFill>
                  <a:srgbClr val="0B87DE"/>
                </a:solidFill>
                <a:effectLst/>
                <a:uLnTx/>
                <a:uFillTx/>
                <a:latin typeface="Segoe UI"/>
                <a:ea typeface="+mn-ea"/>
                <a:cs typeface="Segoe UI" panose="020B0502040204020203" pitchFamily="34" charset="0"/>
                <a:hlinkClick r:id="rId4" tooltip="https://aka.ms/copilottranscriptionpaper-stp">
                  <a:extLst>
                    <a:ext uri="{A12FA001-AC4F-418D-AE19-62706E023703}">
                      <ahyp:hlinkClr xmlns:ahyp="http://schemas.microsoft.com/office/drawing/2018/hyperlinkcolor" val="tx"/>
                    </a:ext>
                  </a:extLst>
                </a:hlinkClick>
              </a:rPr>
              <a:t>/deploy</a:t>
            </a:r>
            <a:br>
              <a:rPr kumimoji="0" lang="en-US" sz="1900" b="0" i="0" u="none" strike="noStrike" kern="1200" cap="none" spc="0" normalizeH="0" baseline="0" noProof="0">
                <a:ln>
                  <a:noFill/>
                </a:ln>
                <a:solidFill>
                  <a:srgbClr val="0B87DE"/>
                </a:solidFill>
                <a:effectLst/>
                <a:uLnTx/>
                <a:uFillTx/>
                <a:latin typeface="Segoe UI"/>
                <a:ea typeface="+mn-ea"/>
                <a:cs typeface="Segoe UI" panose="020B0502040204020203" pitchFamily="34" charset="0"/>
              </a:rPr>
            </a:br>
            <a:r>
              <a:rPr lang="en-US" sz="1900">
                <a:latin typeface="Segoe UI"/>
              </a:rPr>
              <a:t>Data risk assessment </a:t>
            </a:r>
            <a:r>
              <a:rPr kumimoji="0" lang="en-US" sz="1900" b="0" i="0" u="none" strike="noStrike" kern="1200" cap="none" spc="0" normalizeH="0" baseline="0" noProof="0">
                <a:ln>
                  <a:noFill/>
                </a:ln>
                <a:solidFill>
                  <a:srgbClr val="0B87DE"/>
                </a:solidFill>
                <a:effectLst/>
                <a:uLnTx/>
                <a:uFillTx/>
                <a:latin typeface="Segoe UI"/>
                <a:ea typeface="+mn-ea"/>
                <a:cs typeface="Segoe UI" panose="020B0502040204020203" pitchFamily="34" charset="0"/>
                <a:hlinkClick r:id="rId5">
                  <a:extLst>
                    <a:ext uri="{A12FA001-AC4F-418D-AE19-62706E023703}">
                      <ahyp:hlinkClr xmlns:ahyp="http://schemas.microsoft.com/office/drawing/2018/hyperlinkcolor" val="tx"/>
                    </a:ext>
                  </a:extLst>
                </a:hlinkClick>
              </a:rPr>
              <a:t>aka.ms/</a:t>
            </a:r>
            <a:r>
              <a:rPr kumimoji="0" lang="en-US" sz="1900" b="0" i="0" u="none" strike="noStrike" kern="1200" cap="none" spc="0" normalizeH="0" baseline="0" noProof="0" err="1">
                <a:ln>
                  <a:noFill/>
                </a:ln>
                <a:solidFill>
                  <a:srgbClr val="0B87DE"/>
                </a:solidFill>
                <a:effectLst/>
                <a:uLnTx/>
                <a:uFillTx/>
                <a:latin typeface="Segoe UI"/>
                <a:ea typeface="+mn-ea"/>
                <a:cs typeface="Segoe UI" panose="020B0502040204020203" pitchFamily="34" charset="0"/>
                <a:hlinkClick r:id="rId5">
                  <a:extLst>
                    <a:ext uri="{A12FA001-AC4F-418D-AE19-62706E023703}">
                      <ahyp:hlinkClr xmlns:ahyp="http://schemas.microsoft.com/office/drawing/2018/hyperlinkcolor" val="tx"/>
                    </a:ext>
                  </a:extLst>
                </a:hlinkClick>
              </a:rPr>
              <a:t>DSPMforAI</a:t>
            </a:r>
            <a:r>
              <a:rPr kumimoji="0" lang="en-US" sz="1900" b="0" i="0" u="none" strike="noStrike" kern="1200" cap="none" spc="0" normalizeH="0" baseline="0" noProof="0">
                <a:ln>
                  <a:noFill/>
                </a:ln>
                <a:solidFill>
                  <a:srgbClr val="0B87DE"/>
                </a:solidFill>
                <a:effectLst/>
                <a:uLnTx/>
                <a:uFillTx/>
                <a:latin typeface="Segoe UI"/>
                <a:ea typeface="+mn-ea"/>
                <a:cs typeface="Segoe UI" panose="020B0502040204020203" pitchFamily="34" charset="0"/>
                <a:hlinkClick r:id="rId5">
                  <a:extLst>
                    <a:ext uri="{A12FA001-AC4F-418D-AE19-62706E023703}">
                      <ahyp:hlinkClr xmlns:ahyp="http://schemas.microsoft.com/office/drawing/2018/hyperlinkcolor" val="tx"/>
                    </a:ext>
                  </a:extLst>
                </a:hlinkClick>
              </a:rPr>
              <a:t>/oversharing</a:t>
            </a:r>
            <a:endParaRPr kumimoji="0" lang="en-US" sz="1900" b="0" i="0" u="none" strike="noStrike" kern="1200" cap="none" spc="0" normalizeH="0" baseline="0" noProof="0">
              <a:ln>
                <a:noFill/>
              </a:ln>
              <a:solidFill>
                <a:srgbClr val="0B87DE"/>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34394718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01CC56B-028E-D142-1C1A-ACABB8392A3F}"/>
              </a:ext>
            </a:extLst>
          </p:cNvPr>
          <p:cNvSpPr>
            <a:spLocks noGrp="1"/>
          </p:cNvSpPr>
          <p:nvPr>
            <p:ph type="title"/>
          </p:nvPr>
        </p:nvSpPr>
        <p:spPr>
          <a:xfrm>
            <a:off x="389859" y="365126"/>
            <a:ext cx="11601511" cy="1072072"/>
          </a:xfrm>
        </p:spPr>
        <p:txBody>
          <a:bodyPr/>
          <a:lstStyle/>
          <a:p>
            <a:r>
              <a:rPr lang="en-US"/>
              <a:t>News &amp; </a:t>
            </a:r>
            <a:r>
              <a:rPr lang="en-US">
                <a:gradFill>
                  <a:gsLst>
                    <a:gs pos="2000">
                      <a:srgbClr val="0179D4"/>
                    </a:gs>
                    <a:gs pos="32000">
                      <a:srgbClr val="2CB6FF"/>
                    </a:gs>
                    <a:gs pos="44000">
                      <a:srgbClr val="2DB6FF"/>
                    </a:gs>
                    <a:gs pos="81000">
                      <a:srgbClr val="D962FA"/>
                    </a:gs>
                    <a:gs pos="96000">
                      <a:srgbClr val="F69991"/>
                    </a:gs>
                  </a:gsLst>
                  <a:lin ang="3600000" scaled="0"/>
                </a:gradFill>
              </a:rPr>
              <a:t>community content</a:t>
            </a:r>
            <a:endParaRPr lang="en-IN">
              <a:gradFill>
                <a:gsLst>
                  <a:gs pos="2000">
                    <a:srgbClr val="0179D4"/>
                  </a:gs>
                  <a:gs pos="32000">
                    <a:srgbClr val="2CB6FF"/>
                  </a:gs>
                  <a:gs pos="44000">
                    <a:srgbClr val="2DB6FF"/>
                  </a:gs>
                  <a:gs pos="81000">
                    <a:srgbClr val="D962FA"/>
                  </a:gs>
                  <a:gs pos="96000">
                    <a:srgbClr val="F69991"/>
                  </a:gs>
                </a:gsLst>
                <a:lin ang="3600000" scaled="0"/>
              </a:gradFill>
            </a:endParaRPr>
          </a:p>
        </p:txBody>
      </p:sp>
      <p:sp>
        <p:nvSpPr>
          <p:cNvPr id="8" name="Rectangle: Rounded Corners 7">
            <a:extLst>
              <a:ext uri="{FF2B5EF4-FFF2-40B4-BE49-F238E27FC236}">
                <a16:creationId xmlns:a16="http://schemas.microsoft.com/office/drawing/2014/main" id="{7EC4072C-BD84-3E71-4B66-298F9AE4D384}"/>
              </a:ext>
              <a:ext uri="{C183D7F6-B498-43B3-948B-1728B52AA6E4}">
                <adec:decorative xmlns:adec="http://schemas.microsoft.com/office/drawing/2017/decorative" val="1"/>
              </a:ext>
            </a:extLst>
          </p:cNvPr>
          <p:cNvSpPr/>
          <p:nvPr/>
        </p:nvSpPr>
        <p:spPr bwMode="auto">
          <a:xfrm>
            <a:off x="557435" y="1450682"/>
            <a:ext cx="11332152" cy="4874419"/>
          </a:xfrm>
          <a:prstGeom prst="roundRect">
            <a:avLst>
              <a:gd name="adj" fmla="val 3385"/>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sp>
        <p:nvSpPr>
          <p:cNvPr id="19" name="Graphic 8" descr="Icon of an AI robot">
            <a:extLst>
              <a:ext uri="{FF2B5EF4-FFF2-40B4-BE49-F238E27FC236}">
                <a16:creationId xmlns:a16="http://schemas.microsoft.com/office/drawing/2014/main" id="{16A6E9CF-EECA-CF0B-CB02-E2EF11BB3605}"/>
              </a:ext>
            </a:extLst>
          </p:cNvPr>
          <p:cNvSpPr>
            <a:spLocks/>
          </p:cNvSpPr>
          <p:nvPr/>
        </p:nvSpPr>
        <p:spPr>
          <a:xfrm>
            <a:off x="1080395" y="1938695"/>
            <a:ext cx="425956" cy="532477"/>
          </a:xfrm>
          <a:custGeom>
            <a:avLst/>
            <a:gdLst>
              <a:gd name="connsiteX0" fmla="*/ 310304 w 361083"/>
              <a:gd name="connsiteY0" fmla="*/ 270807 h 451381"/>
              <a:gd name="connsiteX1" fmla="*/ 361083 w 361083"/>
              <a:gd name="connsiteY1" fmla="*/ 321586 h 451381"/>
              <a:gd name="connsiteX2" fmla="*/ 361083 w 361083"/>
              <a:gd name="connsiteY2" fmla="*/ 342013 h 451381"/>
              <a:gd name="connsiteX3" fmla="*/ 331579 w 361083"/>
              <a:gd name="connsiteY3" fmla="*/ 406227 h 451381"/>
              <a:gd name="connsiteX4" fmla="*/ 180468 w 361083"/>
              <a:gd name="connsiteY4" fmla="*/ 451382 h 451381"/>
              <a:gd name="connsiteX5" fmla="*/ 29458 w 361083"/>
              <a:gd name="connsiteY5" fmla="*/ 406238 h 451381"/>
              <a:gd name="connsiteX6" fmla="*/ 0 w 361083"/>
              <a:gd name="connsiteY6" fmla="*/ 342063 h 451381"/>
              <a:gd name="connsiteX7" fmla="*/ 0 w 361083"/>
              <a:gd name="connsiteY7" fmla="*/ 321586 h 451381"/>
              <a:gd name="connsiteX8" fmla="*/ 50779 w 361083"/>
              <a:gd name="connsiteY8" fmla="*/ 270807 h 451381"/>
              <a:gd name="connsiteX9" fmla="*/ 310304 w 361083"/>
              <a:gd name="connsiteY9" fmla="*/ 270807 h 451381"/>
              <a:gd name="connsiteX10" fmla="*/ 310304 w 361083"/>
              <a:gd name="connsiteY10" fmla="*/ 304660 h 451381"/>
              <a:gd name="connsiteX11" fmla="*/ 50779 w 361083"/>
              <a:gd name="connsiteY11" fmla="*/ 304660 h 451381"/>
              <a:gd name="connsiteX12" fmla="*/ 33853 w 361083"/>
              <a:gd name="connsiteY12" fmla="*/ 321586 h 451381"/>
              <a:gd name="connsiteX13" fmla="*/ 33853 w 361083"/>
              <a:gd name="connsiteY13" fmla="*/ 342063 h 451381"/>
              <a:gd name="connsiteX14" fmla="*/ 51527 w 361083"/>
              <a:gd name="connsiteY14" fmla="*/ 380569 h 451381"/>
              <a:gd name="connsiteX15" fmla="*/ 180468 w 361083"/>
              <a:gd name="connsiteY15" fmla="*/ 417529 h 451381"/>
              <a:gd name="connsiteX16" fmla="*/ 309530 w 361083"/>
              <a:gd name="connsiteY16" fmla="*/ 380542 h 451381"/>
              <a:gd name="connsiteX17" fmla="*/ 327231 w 361083"/>
              <a:gd name="connsiteY17" fmla="*/ 342013 h 451381"/>
              <a:gd name="connsiteX18" fmla="*/ 327231 w 361083"/>
              <a:gd name="connsiteY18" fmla="*/ 321586 h 451381"/>
              <a:gd name="connsiteX19" fmla="*/ 310304 w 361083"/>
              <a:gd name="connsiteY19" fmla="*/ 304660 h 451381"/>
              <a:gd name="connsiteX20" fmla="*/ 178177 w 361083"/>
              <a:gd name="connsiteY20" fmla="*/ 155 h 451381"/>
              <a:gd name="connsiteX21" fmla="*/ 180475 w 361083"/>
              <a:gd name="connsiteY21" fmla="*/ 0 h 451381"/>
              <a:gd name="connsiteX22" fmla="*/ 197245 w 361083"/>
              <a:gd name="connsiteY22" fmla="*/ 14630 h 451381"/>
              <a:gd name="connsiteX23" fmla="*/ 197401 w 361083"/>
              <a:gd name="connsiteY23" fmla="*/ 16926 h 451381"/>
              <a:gd name="connsiteX24" fmla="*/ 197383 w 361083"/>
              <a:gd name="connsiteY24" fmla="*/ 33830 h 451381"/>
              <a:gd name="connsiteX25" fmla="*/ 276384 w 361083"/>
              <a:gd name="connsiteY25" fmla="*/ 33842 h 451381"/>
              <a:gd name="connsiteX26" fmla="*/ 327163 w 361083"/>
              <a:gd name="connsiteY26" fmla="*/ 84621 h 451381"/>
              <a:gd name="connsiteX27" fmla="*/ 327163 w 361083"/>
              <a:gd name="connsiteY27" fmla="*/ 186282 h 451381"/>
              <a:gd name="connsiteX28" fmla="*/ 276384 w 361083"/>
              <a:gd name="connsiteY28" fmla="*/ 237061 h 451381"/>
              <a:gd name="connsiteX29" fmla="*/ 84551 w 361083"/>
              <a:gd name="connsiteY29" fmla="*/ 237061 h 451381"/>
              <a:gd name="connsiteX30" fmla="*/ 33773 w 361083"/>
              <a:gd name="connsiteY30" fmla="*/ 186282 h 451381"/>
              <a:gd name="connsiteX31" fmla="*/ 33773 w 361083"/>
              <a:gd name="connsiteY31" fmla="*/ 84621 h 451381"/>
              <a:gd name="connsiteX32" fmla="*/ 84551 w 361083"/>
              <a:gd name="connsiteY32" fmla="*/ 33842 h 451381"/>
              <a:gd name="connsiteX33" fmla="*/ 163531 w 361083"/>
              <a:gd name="connsiteY33" fmla="*/ 33830 h 451381"/>
              <a:gd name="connsiteX34" fmla="*/ 163549 w 361083"/>
              <a:gd name="connsiteY34" fmla="*/ 16926 h 451381"/>
              <a:gd name="connsiteX35" fmla="*/ 178177 w 361083"/>
              <a:gd name="connsiteY35" fmla="*/ 155 h 451381"/>
              <a:gd name="connsiteX36" fmla="*/ 180475 w 361083"/>
              <a:gd name="connsiteY36" fmla="*/ 0 h 451381"/>
              <a:gd name="connsiteX37" fmla="*/ 178177 w 361083"/>
              <a:gd name="connsiteY37" fmla="*/ 155 h 451381"/>
              <a:gd name="connsiteX38" fmla="*/ 276384 w 361083"/>
              <a:gd name="connsiteY38" fmla="*/ 67694 h 451381"/>
              <a:gd name="connsiteX39" fmla="*/ 84551 w 361083"/>
              <a:gd name="connsiteY39" fmla="*/ 67694 h 451381"/>
              <a:gd name="connsiteX40" fmla="*/ 67625 w 361083"/>
              <a:gd name="connsiteY40" fmla="*/ 84621 h 451381"/>
              <a:gd name="connsiteX41" fmla="*/ 67625 w 361083"/>
              <a:gd name="connsiteY41" fmla="*/ 186282 h 451381"/>
              <a:gd name="connsiteX42" fmla="*/ 84551 w 361083"/>
              <a:gd name="connsiteY42" fmla="*/ 203208 h 451381"/>
              <a:gd name="connsiteX43" fmla="*/ 276384 w 361083"/>
              <a:gd name="connsiteY43" fmla="*/ 203208 h 451381"/>
              <a:gd name="connsiteX44" fmla="*/ 293310 w 361083"/>
              <a:gd name="connsiteY44" fmla="*/ 186282 h 451381"/>
              <a:gd name="connsiteX45" fmla="*/ 293310 w 361083"/>
              <a:gd name="connsiteY45" fmla="*/ 84621 h 451381"/>
              <a:gd name="connsiteX46" fmla="*/ 276384 w 361083"/>
              <a:gd name="connsiteY46" fmla="*/ 67694 h 451381"/>
              <a:gd name="connsiteX47" fmla="*/ 129672 w 361083"/>
              <a:gd name="connsiteY47" fmla="*/ 101547 h 451381"/>
              <a:gd name="connsiteX48" fmla="*/ 157866 w 361083"/>
              <a:gd name="connsiteY48" fmla="*/ 129741 h 451381"/>
              <a:gd name="connsiteX49" fmla="*/ 129672 w 361083"/>
              <a:gd name="connsiteY49" fmla="*/ 157936 h 451381"/>
              <a:gd name="connsiteX50" fmla="*/ 101478 w 361083"/>
              <a:gd name="connsiteY50" fmla="*/ 129741 h 451381"/>
              <a:gd name="connsiteX51" fmla="*/ 129672 w 361083"/>
              <a:gd name="connsiteY51" fmla="*/ 101547 h 451381"/>
              <a:gd name="connsiteX52" fmla="*/ 231067 w 361083"/>
              <a:gd name="connsiteY52" fmla="*/ 101547 h 451381"/>
              <a:gd name="connsiteX53" fmla="*/ 259261 w 361083"/>
              <a:gd name="connsiteY53" fmla="*/ 129741 h 451381"/>
              <a:gd name="connsiteX54" fmla="*/ 231067 w 361083"/>
              <a:gd name="connsiteY54" fmla="*/ 157936 h 451381"/>
              <a:gd name="connsiteX55" fmla="*/ 202872 w 361083"/>
              <a:gd name="connsiteY55" fmla="*/ 129741 h 451381"/>
              <a:gd name="connsiteX56" fmla="*/ 231067 w 361083"/>
              <a:gd name="connsiteY56" fmla="*/ 101547 h 45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61083" h="451381">
                <a:moveTo>
                  <a:pt x="310304" y="270807"/>
                </a:moveTo>
                <a:cubicBezTo>
                  <a:pt x="338350" y="270807"/>
                  <a:pt x="361083" y="293543"/>
                  <a:pt x="361083" y="321586"/>
                </a:cubicBezTo>
                <a:lnTo>
                  <a:pt x="361083" y="342013"/>
                </a:lnTo>
                <a:cubicBezTo>
                  <a:pt x="361083" y="366696"/>
                  <a:pt x="350309" y="390149"/>
                  <a:pt x="331579" y="406227"/>
                </a:cubicBezTo>
                <a:cubicBezTo>
                  <a:pt x="296251" y="436557"/>
                  <a:pt x="245691" y="451382"/>
                  <a:pt x="180468" y="451382"/>
                </a:cubicBezTo>
                <a:cubicBezTo>
                  <a:pt x="115256" y="451382"/>
                  <a:pt x="64729" y="436563"/>
                  <a:pt x="29458" y="406238"/>
                </a:cubicBezTo>
                <a:cubicBezTo>
                  <a:pt x="10757" y="390161"/>
                  <a:pt x="0" y="366726"/>
                  <a:pt x="0" y="342063"/>
                </a:cubicBezTo>
                <a:lnTo>
                  <a:pt x="0" y="321586"/>
                </a:lnTo>
                <a:cubicBezTo>
                  <a:pt x="0" y="293543"/>
                  <a:pt x="22735" y="270807"/>
                  <a:pt x="50779" y="270807"/>
                </a:cubicBezTo>
                <a:lnTo>
                  <a:pt x="310304" y="270807"/>
                </a:lnTo>
                <a:close/>
                <a:moveTo>
                  <a:pt x="310304" y="304660"/>
                </a:moveTo>
                <a:lnTo>
                  <a:pt x="50779" y="304660"/>
                </a:lnTo>
                <a:cubicBezTo>
                  <a:pt x="41431" y="304660"/>
                  <a:pt x="33853" y="312239"/>
                  <a:pt x="33853" y="321586"/>
                </a:cubicBezTo>
                <a:lnTo>
                  <a:pt x="33853" y="342063"/>
                </a:lnTo>
                <a:cubicBezTo>
                  <a:pt x="33853" y="356861"/>
                  <a:pt x="40307" y="370921"/>
                  <a:pt x="51527" y="380569"/>
                </a:cubicBezTo>
                <a:cubicBezTo>
                  <a:pt x="79920" y="404979"/>
                  <a:pt x="122710" y="417529"/>
                  <a:pt x="180468" y="417529"/>
                </a:cubicBezTo>
                <a:cubicBezTo>
                  <a:pt x="238241" y="417529"/>
                  <a:pt x="281074" y="404972"/>
                  <a:pt x="309530" y="380542"/>
                </a:cubicBezTo>
                <a:cubicBezTo>
                  <a:pt x="320765" y="370894"/>
                  <a:pt x="327231" y="356822"/>
                  <a:pt x="327231" y="342013"/>
                </a:cubicBezTo>
                <a:lnTo>
                  <a:pt x="327231" y="321586"/>
                </a:lnTo>
                <a:cubicBezTo>
                  <a:pt x="327231" y="312239"/>
                  <a:pt x="319652" y="304660"/>
                  <a:pt x="310304" y="304660"/>
                </a:cubicBezTo>
                <a:close/>
                <a:moveTo>
                  <a:pt x="178177" y="155"/>
                </a:moveTo>
                <a:lnTo>
                  <a:pt x="180475" y="0"/>
                </a:lnTo>
                <a:cubicBezTo>
                  <a:pt x="189044" y="0"/>
                  <a:pt x="196126" y="6368"/>
                  <a:pt x="197245" y="14630"/>
                </a:cubicBezTo>
                <a:lnTo>
                  <a:pt x="197401" y="16926"/>
                </a:lnTo>
                <a:lnTo>
                  <a:pt x="197383" y="33830"/>
                </a:lnTo>
                <a:lnTo>
                  <a:pt x="276384" y="33842"/>
                </a:lnTo>
                <a:cubicBezTo>
                  <a:pt x="304427" y="33842"/>
                  <a:pt x="327163" y="56576"/>
                  <a:pt x="327163" y="84621"/>
                </a:cubicBezTo>
                <a:lnTo>
                  <a:pt x="327163" y="186282"/>
                </a:lnTo>
                <a:cubicBezTo>
                  <a:pt x="327163" y="214325"/>
                  <a:pt x="304427" y="237061"/>
                  <a:pt x="276384" y="237061"/>
                </a:cubicBezTo>
                <a:lnTo>
                  <a:pt x="84551" y="237061"/>
                </a:lnTo>
                <a:cubicBezTo>
                  <a:pt x="56507" y="237061"/>
                  <a:pt x="33773" y="214325"/>
                  <a:pt x="33773" y="186282"/>
                </a:cubicBezTo>
                <a:lnTo>
                  <a:pt x="33773" y="84621"/>
                </a:lnTo>
                <a:cubicBezTo>
                  <a:pt x="33773" y="56576"/>
                  <a:pt x="56507" y="33842"/>
                  <a:pt x="84551" y="33842"/>
                </a:cubicBezTo>
                <a:lnTo>
                  <a:pt x="163531" y="33830"/>
                </a:lnTo>
                <a:lnTo>
                  <a:pt x="163549" y="16926"/>
                </a:lnTo>
                <a:cubicBezTo>
                  <a:pt x="163549" y="8357"/>
                  <a:pt x="169915" y="1275"/>
                  <a:pt x="178177" y="155"/>
                </a:cubicBezTo>
                <a:lnTo>
                  <a:pt x="180475" y="0"/>
                </a:lnTo>
                <a:lnTo>
                  <a:pt x="178177" y="155"/>
                </a:lnTo>
                <a:close/>
                <a:moveTo>
                  <a:pt x="276384" y="67694"/>
                </a:moveTo>
                <a:lnTo>
                  <a:pt x="84551" y="67694"/>
                </a:lnTo>
                <a:cubicBezTo>
                  <a:pt x="75203" y="67694"/>
                  <a:pt x="67625" y="75272"/>
                  <a:pt x="67625" y="84621"/>
                </a:cubicBezTo>
                <a:lnTo>
                  <a:pt x="67625" y="186282"/>
                </a:lnTo>
                <a:cubicBezTo>
                  <a:pt x="67625" y="195630"/>
                  <a:pt x="75203" y="203208"/>
                  <a:pt x="84551" y="203208"/>
                </a:cubicBezTo>
                <a:lnTo>
                  <a:pt x="276384" y="203208"/>
                </a:lnTo>
                <a:cubicBezTo>
                  <a:pt x="285732" y="203208"/>
                  <a:pt x="293310" y="195630"/>
                  <a:pt x="293310" y="186282"/>
                </a:cubicBezTo>
                <a:lnTo>
                  <a:pt x="293310" y="84621"/>
                </a:lnTo>
                <a:cubicBezTo>
                  <a:pt x="293310" y="75272"/>
                  <a:pt x="285732" y="67694"/>
                  <a:pt x="276384" y="67694"/>
                </a:cubicBezTo>
                <a:close/>
                <a:moveTo>
                  <a:pt x="129672" y="101547"/>
                </a:moveTo>
                <a:cubicBezTo>
                  <a:pt x="145243" y="101547"/>
                  <a:pt x="157866" y="114170"/>
                  <a:pt x="157866" y="129741"/>
                </a:cubicBezTo>
                <a:cubicBezTo>
                  <a:pt x="157866" y="145313"/>
                  <a:pt x="145243" y="157936"/>
                  <a:pt x="129672" y="157936"/>
                </a:cubicBezTo>
                <a:cubicBezTo>
                  <a:pt x="114101" y="157936"/>
                  <a:pt x="101478" y="145313"/>
                  <a:pt x="101478" y="129741"/>
                </a:cubicBezTo>
                <a:cubicBezTo>
                  <a:pt x="101478" y="114170"/>
                  <a:pt x="114101" y="101547"/>
                  <a:pt x="129672" y="101547"/>
                </a:cubicBezTo>
                <a:close/>
                <a:moveTo>
                  <a:pt x="231067" y="101547"/>
                </a:moveTo>
                <a:cubicBezTo>
                  <a:pt x="246639" y="101547"/>
                  <a:pt x="259261" y="114170"/>
                  <a:pt x="259261" y="129741"/>
                </a:cubicBezTo>
                <a:cubicBezTo>
                  <a:pt x="259261" y="145313"/>
                  <a:pt x="246639" y="157936"/>
                  <a:pt x="231067" y="157936"/>
                </a:cubicBezTo>
                <a:cubicBezTo>
                  <a:pt x="215494" y="157936"/>
                  <a:pt x="202872" y="145313"/>
                  <a:pt x="202872" y="129741"/>
                </a:cubicBezTo>
                <a:cubicBezTo>
                  <a:pt x="202872" y="114170"/>
                  <a:pt x="215494" y="101547"/>
                  <a:pt x="231067" y="101547"/>
                </a:cubicBezTo>
                <a:close/>
              </a:path>
            </a:pathLst>
          </a:custGeom>
          <a:gradFill flip="none" rotWithShape="1">
            <a:gsLst>
              <a:gs pos="0">
                <a:srgbClr val="C03BC4"/>
              </a:gs>
              <a:gs pos="80000">
                <a:srgbClr val="0078D4"/>
              </a:gs>
            </a:gsLst>
            <a:path path="circle">
              <a:fillToRect l="100000" t="100000"/>
            </a:path>
            <a:tileRect r="-100000" b="-100000"/>
          </a:gradFill>
          <a:effectLst/>
        </p:spPr>
        <p:txBody>
          <a:bodyPr wrap="square" lIns="0" tIns="0" rIns="0" bIns="0" rtlCol="0" anchor="ctr" anchorCtr="0">
            <a:noAutofit/>
          </a:bodyPr>
          <a:lstStyle/>
          <a:p>
            <a:pPr algn="ctr" fontAlgn="base">
              <a:spcBef>
                <a:spcPct val="0"/>
              </a:spcBef>
              <a:spcAft>
                <a:spcPts val="1200"/>
              </a:spcAft>
              <a:buSzPct val="90000"/>
            </a:pPr>
            <a:endParaRPr lang="en-US" sz="1400" b="1">
              <a:solidFill>
                <a:schemeClr val="bg1"/>
              </a:solidFill>
            </a:endParaRPr>
          </a:p>
        </p:txBody>
      </p:sp>
      <p:cxnSp>
        <p:nvCxnSpPr>
          <p:cNvPr id="3" name="Straight Connector 2">
            <a:extLst>
              <a:ext uri="{FF2B5EF4-FFF2-40B4-BE49-F238E27FC236}">
                <a16:creationId xmlns:a16="http://schemas.microsoft.com/office/drawing/2014/main" id="{3CB66A91-61B6-F264-C068-31278F623AC7}"/>
              </a:ext>
              <a:ext uri="{C183D7F6-B498-43B3-948B-1728B52AA6E4}">
                <adec:decorative xmlns:adec="http://schemas.microsoft.com/office/drawing/2017/decorative" val="1"/>
              </a:ext>
            </a:extLst>
          </p:cNvPr>
          <p:cNvCxnSpPr/>
          <p:nvPr/>
        </p:nvCxnSpPr>
        <p:spPr>
          <a:xfrm>
            <a:off x="1000125" y="4029075"/>
            <a:ext cx="3929063" cy="0"/>
          </a:xfrm>
          <a:prstGeom prst="line">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8" name="Graphic 86" descr="Icon of a person with a callout ">
            <a:extLst>
              <a:ext uri="{FF2B5EF4-FFF2-40B4-BE49-F238E27FC236}">
                <a16:creationId xmlns:a16="http://schemas.microsoft.com/office/drawing/2014/main" id="{5AAC9682-3D00-A6AC-E079-5B8C8F77C345}"/>
              </a:ext>
            </a:extLst>
          </p:cNvPr>
          <p:cNvSpPr/>
          <p:nvPr/>
        </p:nvSpPr>
        <p:spPr>
          <a:xfrm>
            <a:off x="1080395" y="4343486"/>
            <a:ext cx="565220" cy="537208"/>
          </a:xfrm>
          <a:custGeom>
            <a:avLst/>
            <a:gdLst>
              <a:gd name="connsiteX0" fmla="*/ 118070 w 269875"/>
              <a:gd name="connsiteY0" fmla="*/ 161925 h 256502"/>
              <a:gd name="connsiteX1" fmla="*/ 148431 w 269875"/>
              <a:gd name="connsiteY1" fmla="*/ 192286 h 256502"/>
              <a:gd name="connsiteX2" fmla="*/ 148431 w 269875"/>
              <a:gd name="connsiteY2" fmla="*/ 212554 h 256502"/>
              <a:gd name="connsiteX3" fmla="*/ 148323 w 269875"/>
              <a:gd name="connsiteY3" fmla="*/ 214011 h 256502"/>
              <a:gd name="connsiteX4" fmla="*/ 75120 w 269875"/>
              <a:gd name="connsiteY4" fmla="*/ 256503 h 256502"/>
              <a:gd name="connsiteX5" fmla="*/ 189 w 269875"/>
              <a:gd name="connsiteY5" fmla="*/ 214510 h 256502"/>
              <a:gd name="connsiteX6" fmla="*/ 0 w 269875"/>
              <a:gd name="connsiteY6" fmla="*/ 212527 h 256502"/>
              <a:gd name="connsiteX7" fmla="*/ 0 w 269875"/>
              <a:gd name="connsiteY7" fmla="*/ 192286 h 256502"/>
              <a:gd name="connsiteX8" fmla="*/ 30361 w 269875"/>
              <a:gd name="connsiteY8" fmla="*/ 161925 h 256502"/>
              <a:gd name="connsiteX9" fmla="*/ 118070 w 269875"/>
              <a:gd name="connsiteY9" fmla="*/ 161925 h 256502"/>
              <a:gd name="connsiteX10" fmla="*/ 118070 w 269875"/>
              <a:gd name="connsiteY10" fmla="*/ 182166 h 256502"/>
              <a:gd name="connsiteX11" fmla="*/ 30361 w 269875"/>
              <a:gd name="connsiteY11" fmla="*/ 182166 h 256502"/>
              <a:gd name="connsiteX12" fmla="*/ 20241 w 269875"/>
              <a:gd name="connsiteY12" fmla="*/ 192286 h 256502"/>
              <a:gd name="connsiteX13" fmla="*/ 20241 w 269875"/>
              <a:gd name="connsiteY13" fmla="*/ 211447 h 256502"/>
              <a:gd name="connsiteX14" fmla="*/ 75120 w 269875"/>
              <a:gd name="connsiteY14" fmla="*/ 236262 h 256502"/>
              <a:gd name="connsiteX15" fmla="*/ 128191 w 269875"/>
              <a:gd name="connsiteY15" fmla="*/ 211757 h 256502"/>
              <a:gd name="connsiteX16" fmla="*/ 128191 w 269875"/>
              <a:gd name="connsiteY16" fmla="*/ 192286 h 256502"/>
              <a:gd name="connsiteX17" fmla="*/ 118070 w 269875"/>
              <a:gd name="connsiteY17" fmla="*/ 182166 h 256502"/>
              <a:gd name="connsiteX18" fmla="*/ 74216 w 269875"/>
              <a:gd name="connsiteY18" fmla="*/ 53975 h 256502"/>
              <a:gd name="connsiteX19" fmla="*/ 121444 w 269875"/>
              <a:gd name="connsiteY19" fmla="*/ 101203 h 256502"/>
              <a:gd name="connsiteX20" fmla="*/ 74216 w 269875"/>
              <a:gd name="connsiteY20" fmla="*/ 148431 h 256502"/>
              <a:gd name="connsiteX21" fmla="*/ 26988 w 269875"/>
              <a:gd name="connsiteY21" fmla="*/ 101203 h 256502"/>
              <a:gd name="connsiteX22" fmla="*/ 74216 w 269875"/>
              <a:gd name="connsiteY22" fmla="*/ 53975 h 256502"/>
              <a:gd name="connsiteX23" fmla="*/ 239514 w 269875"/>
              <a:gd name="connsiteY23" fmla="*/ 0 h 256502"/>
              <a:gd name="connsiteX24" fmla="*/ 269875 w 269875"/>
              <a:gd name="connsiteY24" fmla="*/ 30361 h 256502"/>
              <a:gd name="connsiteX25" fmla="*/ 269875 w 269875"/>
              <a:gd name="connsiteY25" fmla="*/ 77589 h 256502"/>
              <a:gd name="connsiteX26" fmla="*/ 239514 w 269875"/>
              <a:gd name="connsiteY26" fmla="*/ 107950 h 256502"/>
              <a:gd name="connsiteX27" fmla="*/ 219881 w 269875"/>
              <a:gd name="connsiteY27" fmla="*/ 107950 h 256502"/>
              <a:gd name="connsiteX28" fmla="*/ 190653 w 269875"/>
              <a:gd name="connsiteY28" fmla="*/ 136840 h 256502"/>
              <a:gd name="connsiteX29" fmla="*/ 166800 w 269875"/>
              <a:gd name="connsiteY29" fmla="*/ 136709 h 256502"/>
              <a:gd name="connsiteX30" fmla="*/ 161925 w 269875"/>
              <a:gd name="connsiteY30" fmla="*/ 124858 h 256502"/>
              <a:gd name="connsiteX31" fmla="*/ 161925 w 269875"/>
              <a:gd name="connsiteY31" fmla="*/ 107761 h 256502"/>
              <a:gd name="connsiteX32" fmla="*/ 134938 w 269875"/>
              <a:gd name="connsiteY32" fmla="*/ 77589 h 256502"/>
              <a:gd name="connsiteX33" fmla="*/ 134938 w 269875"/>
              <a:gd name="connsiteY33" fmla="*/ 30361 h 256502"/>
              <a:gd name="connsiteX34" fmla="*/ 165298 w 269875"/>
              <a:gd name="connsiteY34" fmla="*/ 0 h 256502"/>
              <a:gd name="connsiteX35" fmla="*/ 239514 w 269875"/>
              <a:gd name="connsiteY35" fmla="*/ 0 h 256502"/>
              <a:gd name="connsiteX36" fmla="*/ 74216 w 269875"/>
              <a:gd name="connsiteY36" fmla="*/ 74216 h 256502"/>
              <a:gd name="connsiteX37" fmla="*/ 47228 w 269875"/>
              <a:gd name="connsiteY37" fmla="*/ 101203 h 256502"/>
              <a:gd name="connsiteX38" fmla="*/ 74216 w 269875"/>
              <a:gd name="connsiteY38" fmla="*/ 128191 h 256502"/>
              <a:gd name="connsiteX39" fmla="*/ 101203 w 269875"/>
              <a:gd name="connsiteY39" fmla="*/ 101203 h 256502"/>
              <a:gd name="connsiteX40" fmla="*/ 74216 w 269875"/>
              <a:gd name="connsiteY40" fmla="*/ 74216 h 256502"/>
              <a:gd name="connsiteX41" fmla="*/ 239514 w 269875"/>
              <a:gd name="connsiteY41" fmla="*/ 20241 h 256502"/>
              <a:gd name="connsiteX42" fmla="*/ 165298 w 269875"/>
              <a:gd name="connsiteY42" fmla="*/ 20241 h 256502"/>
              <a:gd name="connsiteX43" fmla="*/ 155178 w 269875"/>
              <a:gd name="connsiteY43" fmla="*/ 30361 h 256502"/>
              <a:gd name="connsiteX44" fmla="*/ 155178 w 269875"/>
              <a:gd name="connsiteY44" fmla="*/ 77589 h 256502"/>
              <a:gd name="connsiteX45" fmla="*/ 165298 w 269875"/>
              <a:gd name="connsiteY45" fmla="*/ 87709 h 256502"/>
              <a:gd name="connsiteX46" fmla="*/ 182152 w 269875"/>
              <a:gd name="connsiteY46" fmla="*/ 87709 h 256502"/>
              <a:gd name="connsiteX47" fmla="*/ 182152 w 269875"/>
              <a:gd name="connsiteY47" fmla="*/ 116775 h 256502"/>
              <a:gd name="connsiteX48" fmla="*/ 211582 w 269875"/>
              <a:gd name="connsiteY48" fmla="*/ 87709 h 256502"/>
              <a:gd name="connsiteX49" fmla="*/ 239528 w 269875"/>
              <a:gd name="connsiteY49" fmla="*/ 87709 h 256502"/>
              <a:gd name="connsiteX50" fmla="*/ 249648 w 269875"/>
              <a:gd name="connsiteY50" fmla="*/ 77589 h 256502"/>
              <a:gd name="connsiteX51" fmla="*/ 249648 w 269875"/>
              <a:gd name="connsiteY51" fmla="*/ 30361 h 256502"/>
              <a:gd name="connsiteX52" fmla="*/ 239528 w 269875"/>
              <a:gd name="connsiteY52" fmla="*/ 20241 h 25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69875" h="256502">
                <a:moveTo>
                  <a:pt x="118070" y="161925"/>
                </a:moveTo>
                <a:cubicBezTo>
                  <a:pt x="134838" y="161925"/>
                  <a:pt x="148431" y="175519"/>
                  <a:pt x="148431" y="192286"/>
                </a:cubicBezTo>
                <a:lnTo>
                  <a:pt x="148431" y="212554"/>
                </a:lnTo>
                <a:lnTo>
                  <a:pt x="148323" y="214011"/>
                </a:lnTo>
                <a:cubicBezTo>
                  <a:pt x="144140" y="242712"/>
                  <a:pt x="118367" y="256503"/>
                  <a:pt x="75120" y="256503"/>
                </a:cubicBezTo>
                <a:cubicBezTo>
                  <a:pt x="32034" y="256503"/>
                  <a:pt x="5843" y="242874"/>
                  <a:pt x="189" y="214510"/>
                </a:cubicBezTo>
                <a:lnTo>
                  <a:pt x="0" y="212527"/>
                </a:lnTo>
                <a:lnTo>
                  <a:pt x="0" y="192286"/>
                </a:lnTo>
                <a:cubicBezTo>
                  <a:pt x="0" y="175519"/>
                  <a:pt x="13593" y="161925"/>
                  <a:pt x="30361" y="161925"/>
                </a:cubicBezTo>
                <a:lnTo>
                  <a:pt x="118070" y="161925"/>
                </a:lnTo>
                <a:close/>
                <a:moveTo>
                  <a:pt x="118070" y="182166"/>
                </a:moveTo>
                <a:lnTo>
                  <a:pt x="30361" y="182166"/>
                </a:lnTo>
                <a:cubicBezTo>
                  <a:pt x="24772" y="182166"/>
                  <a:pt x="20241" y="186697"/>
                  <a:pt x="20241" y="192286"/>
                </a:cubicBezTo>
                <a:lnTo>
                  <a:pt x="20241" y="211447"/>
                </a:lnTo>
                <a:cubicBezTo>
                  <a:pt x="24019" y="227640"/>
                  <a:pt x="41156" y="236262"/>
                  <a:pt x="75120" y="236262"/>
                </a:cubicBezTo>
                <a:cubicBezTo>
                  <a:pt x="109070" y="236262"/>
                  <a:pt x="125451" y="227748"/>
                  <a:pt x="128191" y="211757"/>
                </a:cubicBezTo>
                <a:lnTo>
                  <a:pt x="128191" y="192286"/>
                </a:lnTo>
                <a:cubicBezTo>
                  <a:pt x="128191" y="186697"/>
                  <a:pt x="123659" y="182166"/>
                  <a:pt x="118070" y="182166"/>
                </a:cubicBezTo>
                <a:close/>
                <a:moveTo>
                  <a:pt x="74216" y="53975"/>
                </a:moveTo>
                <a:cubicBezTo>
                  <a:pt x="100299" y="53975"/>
                  <a:pt x="121444" y="75120"/>
                  <a:pt x="121444" y="101203"/>
                </a:cubicBezTo>
                <a:cubicBezTo>
                  <a:pt x="121444" y="127287"/>
                  <a:pt x="100299" y="148431"/>
                  <a:pt x="74216" y="148431"/>
                </a:cubicBezTo>
                <a:cubicBezTo>
                  <a:pt x="48132" y="148431"/>
                  <a:pt x="26988" y="127287"/>
                  <a:pt x="26988" y="101203"/>
                </a:cubicBezTo>
                <a:cubicBezTo>
                  <a:pt x="26988" y="75120"/>
                  <a:pt x="48132" y="53975"/>
                  <a:pt x="74216" y="53975"/>
                </a:cubicBezTo>
                <a:close/>
                <a:moveTo>
                  <a:pt x="239514" y="0"/>
                </a:moveTo>
                <a:cubicBezTo>
                  <a:pt x="256281" y="0"/>
                  <a:pt x="269875" y="13593"/>
                  <a:pt x="269875" y="30361"/>
                </a:cubicBezTo>
                <a:lnTo>
                  <a:pt x="269875" y="77589"/>
                </a:lnTo>
                <a:cubicBezTo>
                  <a:pt x="269875" y="94357"/>
                  <a:pt x="256281" y="107950"/>
                  <a:pt x="239514" y="107950"/>
                </a:cubicBezTo>
                <a:lnTo>
                  <a:pt x="219881" y="107950"/>
                </a:lnTo>
                <a:lnTo>
                  <a:pt x="190653" y="136840"/>
                </a:lnTo>
                <a:cubicBezTo>
                  <a:pt x="184030" y="143391"/>
                  <a:pt x="173350" y="143332"/>
                  <a:pt x="166800" y="136709"/>
                </a:cubicBezTo>
                <a:cubicBezTo>
                  <a:pt x="163679" y="133553"/>
                  <a:pt x="161928" y="129296"/>
                  <a:pt x="161925" y="124858"/>
                </a:cubicBezTo>
                <a:lnTo>
                  <a:pt x="161925" y="107761"/>
                </a:lnTo>
                <a:cubicBezTo>
                  <a:pt x="146558" y="106043"/>
                  <a:pt x="134938" y="93051"/>
                  <a:pt x="134938" y="77589"/>
                </a:cubicBezTo>
                <a:lnTo>
                  <a:pt x="134938" y="30361"/>
                </a:lnTo>
                <a:cubicBezTo>
                  <a:pt x="134938" y="13593"/>
                  <a:pt x="148531" y="0"/>
                  <a:pt x="165298" y="0"/>
                </a:cubicBezTo>
                <a:lnTo>
                  <a:pt x="239514" y="0"/>
                </a:lnTo>
                <a:close/>
                <a:moveTo>
                  <a:pt x="74216" y="74216"/>
                </a:moveTo>
                <a:cubicBezTo>
                  <a:pt x="59311" y="74216"/>
                  <a:pt x="47228" y="86298"/>
                  <a:pt x="47228" y="101203"/>
                </a:cubicBezTo>
                <a:cubicBezTo>
                  <a:pt x="47228" y="116108"/>
                  <a:pt x="59311" y="128191"/>
                  <a:pt x="74216" y="128191"/>
                </a:cubicBezTo>
                <a:cubicBezTo>
                  <a:pt x="89120" y="128191"/>
                  <a:pt x="101203" y="116108"/>
                  <a:pt x="101203" y="101203"/>
                </a:cubicBezTo>
                <a:cubicBezTo>
                  <a:pt x="101203" y="86298"/>
                  <a:pt x="89120" y="74216"/>
                  <a:pt x="74216" y="74216"/>
                </a:cubicBezTo>
                <a:close/>
                <a:moveTo>
                  <a:pt x="239514" y="20241"/>
                </a:moveTo>
                <a:lnTo>
                  <a:pt x="165298" y="20241"/>
                </a:lnTo>
                <a:cubicBezTo>
                  <a:pt x="159709" y="20241"/>
                  <a:pt x="155178" y="24772"/>
                  <a:pt x="155178" y="30361"/>
                </a:cubicBezTo>
                <a:lnTo>
                  <a:pt x="155178" y="77589"/>
                </a:lnTo>
                <a:cubicBezTo>
                  <a:pt x="155178" y="83175"/>
                  <a:pt x="159712" y="87709"/>
                  <a:pt x="165298" y="87709"/>
                </a:cubicBezTo>
                <a:lnTo>
                  <a:pt x="182152" y="87709"/>
                </a:lnTo>
                <a:lnTo>
                  <a:pt x="182152" y="116775"/>
                </a:lnTo>
                <a:lnTo>
                  <a:pt x="211582" y="87709"/>
                </a:lnTo>
                <a:lnTo>
                  <a:pt x="239528" y="87709"/>
                </a:lnTo>
                <a:cubicBezTo>
                  <a:pt x="245117" y="87709"/>
                  <a:pt x="249648" y="83178"/>
                  <a:pt x="249648" y="77589"/>
                </a:cubicBezTo>
                <a:lnTo>
                  <a:pt x="249648" y="30361"/>
                </a:lnTo>
                <a:cubicBezTo>
                  <a:pt x="249648" y="24772"/>
                  <a:pt x="245117" y="20241"/>
                  <a:pt x="239528" y="20241"/>
                </a:cubicBezTo>
                <a:close/>
              </a:path>
            </a:pathLst>
          </a:custGeom>
          <a:gradFill flip="none" rotWithShape="1">
            <a:gsLst>
              <a:gs pos="0">
                <a:srgbClr val="C03BC4"/>
              </a:gs>
              <a:gs pos="80000">
                <a:srgbClr val="0078D4"/>
              </a:gs>
            </a:gsLst>
            <a:path path="circle">
              <a:fillToRect l="100000" t="100000"/>
            </a:path>
            <a:tileRect r="-100000" b="-100000"/>
          </a:gradFill>
          <a:effectLst/>
        </p:spPr>
        <p:txBody>
          <a:bodyPr wrap="square" lIns="0" tIns="0" rIns="0" bIns="0" rtlCol="0" anchor="ctr" anchorCtr="0">
            <a:noAutofit/>
          </a:bodyPr>
          <a:lstStyle/>
          <a:p>
            <a:pPr algn="ctr" fontAlgn="base">
              <a:spcBef>
                <a:spcPct val="0"/>
              </a:spcBef>
              <a:spcAft>
                <a:spcPts val="1200"/>
              </a:spcAft>
              <a:buSzPct val="90000"/>
            </a:pPr>
            <a:endParaRPr lang="en-US" sz="1400" b="1">
              <a:solidFill>
                <a:schemeClr val="bg1"/>
              </a:solidFill>
            </a:endParaRPr>
          </a:p>
        </p:txBody>
      </p:sp>
      <p:pic>
        <p:nvPicPr>
          <p:cNvPr id="4" name="Picture 3" descr="Screenshot of the Microsoft 365 Copilot enablement hub on adoption.microsoft.com&#10;">
            <a:extLst>
              <a:ext uri="{FF2B5EF4-FFF2-40B4-BE49-F238E27FC236}">
                <a16:creationId xmlns:a16="http://schemas.microsoft.com/office/drawing/2014/main" id="{3A8B0C79-DD9B-52ED-7676-274AAF03804E}"/>
              </a:ext>
            </a:extLst>
          </p:cNvPr>
          <p:cNvPicPr>
            <a:picLocks noChangeAspect="1"/>
          </p:cNvPicPr>
          <p:nvPr/>
        </p:nvPicPr>
        <p:blipFill>
          <a:blip r:embed="rId3"/>
          <a:stretch>
            <a:fillRect/>
          </a:stretch>
        </p:blipFill>
        <p:spPr>
          <a:xfrm>
            <a:off x="5742420" y="1827708"/>
            <a:ext cx="4607234" cy="2060184"/>
          </a:xfrm>
          <a:prstGeom prst="roundRect">
            <a:avLst>
              <a:gd name="adj" fmla="val 4041"/>
            </a:avLst>
          </a:prstGeom>
          <a:ln>
            <a:solidFill>
              <a:schemeClr val="bg1">
                <a:lumMod val="85000"/>
              </a:schemeClr>
            </a:solidFill>
          </a:ln>
          <a:effectLst/>
        </p:spPr>
      </p:pic>
      <p:pic>
        <p:nvPicPr>
          <p:cNvPr id="6" name="Picture 5" descr="Screen shot of the Microsoft 365 Copilot community home page.">
            <a:extLst>
              <a:ext uri="{FF2B5EF4-FFF2-40B4-BE49-F238E27FC236}">
                <a16:creationId xmlns:a16="http://schemas.microsoft.com/office/drawing/2014/main" id="{C3878A09-DCE9-9CC0-DF8D-8023399E5D3A}"/>
              </a:ext>
            </a:extLst>
          </p:cNvPr>
          <p:cNvPicPr>
            <a:picLocks noChangeAspect="1"/>
          </p:cNvPicPr>
          <p:nvPr/>
        </p:nvPicPr>
        <p:blipFill>
          <a:blip r:embed="rId4"/>
          <a:srcRect t="18797" b="9819"/>
          <a:stretch/>
        </p:blipFill>
        <p:spPr>
          <a:xfrm>
            <a:off x="5745348" y="4160178"/>
            <a:ext cx="4604471" cy="1868722"/>
          </a:xfrm>
          <a:prstGeom prst="roundRect">
            <a:avLst>
              <a:gd name="adj" fmla="val 5989"/>
            </a:avLst>
          </a:prstGeom>
          <a:ln>
            <a:solidFill>
              <a:schemeClr val="bg1">
                <a:lumMod val="85000"/>
              </a:schemeClr>
            </a:solidFill>
          </a:ln>
          <a:effectLst/>
        </p:spPr>
      </p:pic>
      <p:sp>
        <p:nvSpPr>
          <p:cNvPr id="2" name="TextBox 1">
            <a:extLst>
              <a:ext uri="{FF2B5EF4-FFF2-40B4-BE49-F238E27FC236}">
                <a16:creationId xmlns:a16="http://schemas.microsoft.com/office/drawing/2014/main" id="{AFA09032-04EC-2040-77C6-6BE53E9B7B88}"/>
              </a:ext>
            </a:extLst>
          </p:cNvPr>
          <p:cNvSpPr txBox="1"/>
          <p:nvPr/>
        </p:nvSpPr>
        <p:spPr>
          <a:xfrm>
            <a:off x="1080395" y="2735856"/>
            <a:ext cx="3929063" cy="98488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a:ea typeface="+mn-ea"/>
                <a:cs typeface="+mn-cs"/>
              </a:rPr>
              <a:t>Microsoft Community Learning </a:t>
            </a:r>
            <a:r>
              <a:rPr kumimoji="0" lang="en-US" sz="1600" b="0" i="0" u="none" strike="noStrike" kern="1200" cap="none" spc="0" normalizeH="0" baseline="0" noProof="0">
                <a:ln>
                  <a:noFill/>
                </a:ln>
                <a:solidFill>
                  <a:srgbClr val="0B87DE"/>
                </a:solidFill>
                <a:effectLst/>
                <a:uLnTx/>
                <a:uFillTx/>
                <a:latin typeface="Segoe UI Semibold"/>
                <a:ea typeface="+mn-ea"/>
                <a:cs typeface="+mn-cs"/>
              </a:rPr>
              <a:t>aka.ms/Community/</a:t>
            </a:r>
            <a:r>
              <a:rPr kumimoji="0" lang="en-US" sz="1600" b="0" i="0" u="none" strike="noStrike" kern="1200" cap="none" spc="0" normalizeH="0" baseline="0" noProof="0" err="1">
                <a:ln>
                  <a:noFill/>
                </a:ln>
                <a:solidFill>
                  <a:srgbClr val="0B87DE"/>
                </a:solidFill>
                <a:effectLst/>
                <a:uLnTx/>
                <a:uFillTx/>
                <a:latin typeface="Segoe UI Semibold"/>
                <a:ea typeface="+mn-ea"/>
                <a:cs typeface="+mn-cs"/>
              </a:rPr>
              <a:t>LearningChannel</a:t>
            </a:r>
            <a:endParaRPr kumimoji="0" lang="en-US" sz="1600" b="0" i="0" u="none" strike="noStrike" kern="1200" cap="none" spc="0" normalizeH="0" baseline="0" noProof="0">
              <a:ln>
                <a:noFill/>
              </a:ln>
              <a:solidFill>
                <a:srgbClr val="0B87DE"/>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ommunity led expert content on all your favorite</a:t>
            </a:r>
            <a:r>
              <a:rPr kumimoji="0" lang="en-US" sz="1600" b="0" i="0" u="none" strike="noStrike" kern="1200" cap="none" spc="0" normalizeH="0" noProof="0">
                <a:ln>
                  <a:noFill/>
                </a:ln>
                <a:solidFill>
                  <a:srgbClr val="000000"/>
                </a:solidFill>
                <a:effectLst/>
                <a:uLnTx/>
                <a:uFillTx/>
                <a:latin typeface="Segoe UI"/>
                <a:ea typeface="+mn-ea"/>
                <a:cs typeface="+mn-cs"/>
              </a:rPr>
              <a:t> Microsoft services.</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9D354814-6A6C-B6E5-17C7-08E9267D9B9A}"/>
              </a:ext>
            </a:extLst>
          </p:cNvPr>
          <p:cNvSpPr txBox="1"/>
          <p:nvPr/>
        </p:nvSpPr>
        <p:spPr>
          <a:xfrm>
            <a:off x="1080395" y="5094539"/>
            <a:ext cx="3929063" cy="664797"/>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1600">
                <a:solidFill>
                  <a:srgbClr val="000000"/>
                </a:solidFill>
                <a:latin typeface="Segoe UI"/>
              </a:rPr>
              <a:t>Start your week with l</a:t>
            </a:r>
            <a:r>
              <a:rPr kumimoji="0" lang="en-US" sz="1600" b="0" i="0" u="none" strike="noStrike" kern="1200" cap="none" spc="0" normalizeH="0" baseline="0" noProof="0" err="1">
                <a:ln>
                  <a:noFill/>
                </a:ln>
                <a:solidFill>
                  <a:srgbClr val="000000"/>
                </a:solidFill>
                <a:effectLst/>
                <a:uLnTx/>
                <a:uFillTx/>
                <a:latin typeface="Segoe UI"/>
                <a:ea typeface="+mn-ea"/>
                <a:cs typeface="+mn-cs"/>
              </a:rPr>
              <a:t>ive</a:t>
            </a:r>
            <a:r>
              <a:rPr kumimoji="0" lang="en-US" sz="1600" b="0" i="0" u="none" strike="noStrike" kern="1200" cap="none" spc="0" normalizeH="0" baseline="0" noProof="0">
                <a:ln>
                  <a:noFill/>
                </a:ln>
                <a:solidFill>
                  <a:srgbClr val="000000"/>
                </a:solidFill>
                <a:effectLst/>
                <a:uLnTx/>
                <a:uFillTx/>
                <a:latin typeface="Segoe UI"/>
                <a:ea typeface="+mn-ea"/>
                <a:cs typeface="+mn-cs"/>
              </a:rPr>
              <a:t> news and event</a:t>
            </a:r>
            <a:r>
              <a:rPr kumimoji="0" lang="en-US" sz="1600" b="0" i="0" u="none" strike="noStrike" kern="1200" cap="none" spc="0" normalizeH="0" noProof="0">
                <a:ln>
                  <a:noFill/>
                </a:ln>
                <a:solidFill>
                  <a:srgbClr val="000000"/>
                </a:solidFill>
                <a:effectLst/>
                <a:uLnTx/>
                <a:uFillTx/>
                <a:latin typeface="Segoe UI"/>
                <a:ea typeface="+mn-ea"/>
                <a:cs typeface="+mn-cs"/>
              </a:rPr>
              <a:t> updates </a:t>
            </a:r>
            <a:r>
              <a:rPr kumimoji="0" lang="en-US" sz="1600" b="0" i="0" u="none" strike="noStrike" kern="1200" cap="none" spc="0" normalizeH="0" baseline="0" noProof="0">
                <a:ln>
                  <a:noFill/>
                </a:ln>
                <a:solidFill>
                  <a:srgbClr val="0B87DE"/>
                </a:solidFill>
                <a:effectLst/>
                <a:uLnTx/>
                <a:uFillTx/>
                <a:latin typeface="Segoe UI Semibold"/>
                <a:ea typeface="+mn-ea"/>
                <a:cs typeface="+mn-cs"/>
                <a:hlinkClick r:id="rId5">
                  <a:extLst>
                    <a:ext uri="{A12FA001-AC4F-418D-AE19-62706E023703}">
                      <ahyp:hlinkClr xmlns:ahyp="http://schemas.microsoft.com/office/drawing/2018/hyperlinkcolor" val="tx"/>
                    </a:ext>
                  </a:extLst>
                </a:hlinkClick>
              </a:rPr>
              <a:t>aka.ms/</a:t>
            </a:r>
            <a:r>
              <a:rPr kumimoji="0" lang="en-US" sz="1600" b="0" i="0" u="none" strike="noStrike" kern="1200" cap="none" spc="0" normalizeH="0" baseline="0" noProof="0" err="1">
                <a:ln>
                  <a:noFill/>
                </a:ln>
                <a:solidFill>
                  <a:srgbClr val="0B87DE"/>
                </a:solidFill>
                <a:effectLst/>
                <a:uLnTx/>
                <a:uFillTx/>
                <a:latin typeface="Segoe UI Semibold"/>
                <a:ea typeface="+mn-ea"/>
                <a:cs typeface="+mn-cs"/>
                <a:hlinkClick r:id="rId5">
                  <a:extLst>
                    <a:ext uri="{A12FA001-AC4F-418D-AE19-62706E023703}">
                      <ahyp:hlinkClr xmlns:ahyp="http://schemas.microsoft.com/office/drawing/2018/hyperlinkcolor" val="tx"/>
                    </a:ext>
                  </a:extLst>
                </a:hlinkClick>
              </a:rPr>
              <a:t>MondaysatMicrosoft</a:t>
            </a:r>
            <a:endParaRPr kumimoji="0" lang="en-US" sz="1600" b="0" i="0" u="none" strike="noStrike" kern="1200" cap="none" spc="0" normalizeH="0" baseline="0" noProof="0">
              <a:ln>
                <a:noFill/>
              </a:ln>
              <a:solidFill>
                <a:srgbClr val="0B87DE"/>
              </a:solidFill>
              <a:effectLst/>
              <a:uLnTx/>
              <a:uFillTx/>
              <a:latin typeface="Segoe UI Semibold"/>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lang="en-US" sz="1600">
                <a:solidFill>
                  <a:srgbClr val="000000"/>
                </a:solidFill>
                <a:latin typeface="Segoe UI"/>
              </a:rPr>
              <a:t>Watch live or on-demand &amp; share our blog.</a:t>
            </a:r>
          </a:p>
        </p:txBody>
      </p:sp>
    </p:spTree>
    <p:extLst>
      <p:ext uri="{BB962C8B-B14F-4D97-AF65-F5344CB8AC3E}">
        <p14:creationId xmlns:p14="http://schemas.microsoft.com/office/powerpoint/2010/main" val="2389918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42" presetClass="path" presetSubtype="0" decel="100000" fill="hold" grpId="1" nodeType="withEffect">
                                  <p:stCondLst>
                                    <p:cond delay="0"/>
                                  </p:stCondLst>
                                  <p:childTnLst>
                                    <p:animMotion origin="layout" path="M 2.08333E-7 2.22222E-6 L 2.08333E-7 0.03541 " pathEditMode="relative" rAng="0" ptsTypes="AA">
                                      <p:cBhvr>
                                        <p:cTn id="9" dur="700" spd="-100000" fill="hold"/>
                                        <p:tgtEl>
                                          <p:spTgt spid="19"/>
                                        </p:tgtEl>
                                        <p:attrNameLst>
                                          <p:attrName>ppt_x</p:attrName>
                                          <p:attrName>ppt_y</p:attrName>
                                        </p:attrNameLst>
                                      </p:cBhvr>
                                      <p:rCtr x="0" y="1759"/>
                                    </p:animMotion>
                                  </p:childTnLst>
                                </p:cTn>
                              </p:par>
                              <p:par>
                                <p:cTn id="10" presetID="10" presetClass="entr" presetSubtype="0" fill="hold" grpId="0" nodeType="withEffect">
                                  <p:stCondLst>
                                    <p:cond delay="25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42" presetClass="path" presetSubtype="0" decel="100000" fill="hold" grpId="1" nodeType="withEffect">
                                  <p:stCondLst>
                                    <p:cond delay="250"/>
                                  </p:stCondLst>
                                  <p:childTnLst>
                                    <p:animMotion origin="layout" path="M 1.04167E-6 -3.7037E-6 L 1.04167E-6 0.03542 " pathEditMode="relative" rAng="0" ptsTypes="AA">
                                      <p:cBhvr>
                                        <p:cTn id="14" dur="700" spd="-100000" fill="hold"/>
                                        <p:tgtEl>
                                          <p:spTgt spid="18"/>
                                        </p:tgtEl>
                                        <p:attrNameLst>
                                          <p:attrName>ppt_x</p:attrName>
                                          <p:attrName>ppt_y</p:attrName>
                                        </p:attrNameLst>
                                      </p:cBhvr>
                                      <p:rCtr x="0" y="1759"/>
                                    </p:animMotion>
                                  </p:childTnLst>
                                </p:cTn>
                              </p:par>
                              <p:par>
                                <p:cTn id="15" presetID="10" presetClass="entr" presetSubtype="0" fill="hold" nodeType="withEffect">
                                  <p:stCondLst>
                                    <p:cond delay="25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par>
                                <p:cTn id="18" presetID="42" presetClass="path" presetSubtype="0" decel="100000" fill="hold" nodeType="withEffect">
                                  <p:stCondLst>
                                    <p:cond delay="250"/>
                                  </p:stCondLst>
                                  <p:childTnLst>
                                    <p:animMotion origin="layout" path="M 1.04167E-6 -3.7037E-6 L 1.04167E-6 0.03542 " pathEditMode="relative" rAng="0" ptsTypes="AA">
                                      <p:cBhvr>
                                        <p:cTn id="19" dur="700" spd="-100000" fill="hold"/>
                                        <p:tgtEl>
                                          <p:spTgt spid="3"/>
                                        </p:tgtEl>
                                        <p:attrNameLst>
                                          <p:attrName>ppt_x</p:attrName>
                                          <p:attrName>ppt_y</p:attrName>
                                        </p:attrNameLst>
                                      </p:cBhvr>
                                      <p:rCtr x="0" y="1759"/>
                                    </p:animMotion>
                                  </p:childTnLst>
                                </p:cTn>
                              </p:par>
                              <p:par>
                                <p:cTn id="20" presetID="10" presetClass="entr" presetSubtype="0"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42" presetClass="path" presetSubtype="0" decel="100000" fill="hold" grpId="1" nodeType="withEffect">
                                  <p:stCondLst>
                                    <p:cond delay="0"/>
                                  </p:stCondLst>
                                  <p:childTnLst>
                                    <p:animMotion origin="layout" path="M 4.16667E-7 -1.85185E-6 L 4.16667E-7 0.03542 " pathEditMode="relative" rAng="0" ptsTypes="AA">
                                      <p:cBhvr>
                                        <p:cTn id="24" dur="700" spd="-100000" fill="hold"/>
                                        <p:tgtEl>
                                          <p:spTgt spid="2"/>
                                        </p:tgtEl>
                                        <p:attrNameLst>
                                          <p:attrName>ppt_x</p:attrName>
                                          <p:attrName>ppt_y</p:attrName>
                                        </p:attrNameLst>
                                      </p:cBhvr>
                                      <p:rCtr x="0" y="1759"/>
                                    </p:animMotion>
                                  </p:childTnLst>
                                </p:cTn>
                              </p:par>
                              <p:par>
                                <p:cTn id="25" presetID="10" presetClass="entr" presetSubtype="0" fill="hold" grpId="0" nodeType="withEffect">
                                  <p:stCondLst>
                                    <p:cond delay="25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par>
                                <p:cTn id="28" presetID="42" presetClass="path" presetSubtype="0" decel="100000" fill="hold" grpId="1" nodeType="withEffect">
                                  <p:stCondLst>
                                    <p:cond delay="250"/>
                                  </p:stCondLst>
                                  <p:childTnLst>
                                    <p:animMotion origin="layout" path="M 4.16667E-7 -3.7037E-6 L 4.16667E-7 0.03542 " pathEditMode="relative" rAng="0" ptsTypes="AA">
                                      <p:cBhvr>
                                        <p:cTn id="29" dur="700" spd="-100000" fill="hold"/>
                                        <p:tgtEl>
                                          <p:spTgt spid="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P spid="18" grpId="0" animBg="1"/>
      <p:bldP spid="18" grpId="1" animBg="1"/>
      <p:bldP spid="2" grpId="0"/>
      <p:bldP spid="2" grpId="1"/>
      <p:bldP spid="5" grpId="0"/>
      <p:bldP spid="5"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689E40-816A-4B03-DBAD-16D2EC1B726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9A94AD3-B6A9-DCE8-BB82-DBF2FE8F8FDE}"/>
              </a:ext>
            </a:extLst>
          </p:cNvPr>
          <p:cNvSpPr>
            <a:spLocks noGrp="1"/>
          </p:cNvSpPr>
          <p:nvPr>
            <p:ph type="title"/>
          </p:nvPr>
        </p:nvSpPr>
        <p:spPr>
          <a:xfrm>
            <a:off x="758597" y="2548242"/>
            <a:ext cx="10049816" cy="1495794"/>
          </a:xfrm>
        </p:spPr>
        <p:txBody>
          <a:bodyPr anchor="ctr"/>
          <a:lstStyle/>
          <a:p>
            <a:r>
              <a:rPr lang="en-US"/>
              <a:t>Securing AI Apps and Agents with Microsoft Purview</a:t>
            </a:r>
          </a:p>
        </p:txBody>
      </p:sp>
      <p:sp>
        <p:nvSpPr>
          <p:cNvPr id="2" name="Rectangle: Rounded Corners 7">
            <a:extLst>
              <a:ext uri="{FF2B5EF4-FFF2-40B4-BE49-F238E27FC236}">
                <a16:creationId xmlns:a16="http://schemas.microsoft.com/office/drawing/2014/main" id="{4D6D0CB4-A617-43DC-2913-FCA46DF4DF7E}"/>
              </a:ext>
              <a:ext uri="{C183D7F6-B498-43B3-948B-1728B52AA6E4}">
                <adec:decorative xmlns:adec="http://schemas.microsoft.com/office/drawing/2017/decorative" val="1"/>
              </a:ext>
            </a:extLst>
          </p:cNvPr>
          <p:cNvSpPr>
            <a:spLocks/>
          </p:cNvSpPr>
          <p:nvPr/>
        </p:nvSpPr>
        <p:spPr bwMode="auto">
          <a:xfrm>
            <a:off x="2270589" y="3287731"/>
            <a:ext cx="6061754" cy="756306"/>
          </a:xfrm>
          <a:prstGeom prst="roundRect">
            <a:avLst>
              <a:gd name="adj" fmla="val 23762"/>
            </a:avLst>
          </a:prstGeom>
          <a:ln w="28575" cap="rnd">
            <a:gradFill flip="none" rotWithShape="1">
              <a:gsLst>
                <a:gs pos="0">
                  <a:srgbClr val="C03BC4"/>
                </a:gs>
                <a:gs pos="80000">
                  <a:srgbClr val="0078D4"/>
                </a:gs>
              </a:gsLst>
              <a:path path="circle">
                <a:fillToRect l="100000" t="100000"/>
              </a:path>
              <a:tileRect r="-100000" b="-100000"/>
            </a:gradFill>
            <a:prstDash val="sysDash"/>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300"/>
              </a:spcAft>
              <a:buClrTx/>
              <a:buSzTx/>
              <a:buFontTx/>
              <a:buNone/>
              <a:tabLst/>
              <a:defRPr/>
            </a:pPr>
            <a:endParaRPr kumimoji="0" lang="en-IN" sz="1200" b="1" i="0" u="none" strike="noStrike" kern="1200" cap="none" spc="0" normalizeH="0" baseline="0" noProof="0">
              <a:ln>
                <a:noFill/>
              </a:ln>
              <a:solidFill>
                <a:srgbClr val="0078D4"/>
              </a:solidFill>
              <a:effectLst/>
              <a:uLnTx/>
              <a:uFillTx/>
              <a:latin typeface="Segoe UI Semibold"/>
              <a:ea typeface="+mn-ea"/>
              <a:cs typeface="Segoe UI"/>
            </a:endParaRPr>
          </a:p>
        </p:txBody>
      </p:sp>
      <p:sp>
        <p:nvSpPr>
          <p:cNvPr id="3" name="TextBox 2">
            <a:extLst>
              <a:ext uri="{FF2B5EF4-FFF2-40B4-BE49-F238E27FC236}">
                <a16:creationId xmlns:a16="http://schemas.microsoft.com/office/drawing/2014/main" id="{E4B9BE85-C5C2-3E00-13B7-716F872BEA69}"/>
              </a:ext>
            </a:extLst>
          </p:cNvPr>
          <p:cNvSpPr txBox="1"/>
          <p:nvPr/>
        </p:nvSpPr>
        <p:spPr>
          <a:xfrm>
            <a:off x="4043517" y="4349782"/>
            <a:ext cx="6097712" cy="769441"/>
          </a:xfrm>
          <a:prstGeom prst="rect">
            <a:avLst/>
          </a:prstGeom>
          <a:noFill/>
        </p:spPr>
        <p:txBody>
          <a:bodyPr wrap="square">
            <a:spAutoFit/>
          </a:bodyPr>
          <a:lstStyle/>
          <a:p>
            <a:r>
              <a:rPr kumimoji="0" lang="en-US" sz="2200" b="1" i="0" u="none" strike="noStrike" kern="1200" cap="none" spc="-50" normalizeH="0" baseline="0" noProof="0">
                <a:ln w="3175">
                  <a:noFill/>
                </a:ln>
                <a:solidFill>
                  <a:schemeClr val="bg1">
                    <a:lumMod val="75000"/>
                  </a:schemeClr>
                </a:solidFill>
                <a:effectLst/>
                <a:uLnTx/>
                <a:uFillTx/>
                <a:latin typeface="Segoe Print" panose="02000600000000000000" pitchFamily="2" charset="0"/>
                <a:cs typeface="Segoe UI" panose="020B0502040204020203" pitchFamily="34" charset="0"/>
              </a:rPr>
              <a:t>What</a:t>
            </a:r>
            <a:r>
              <a:rPr kumimoji="0" lang="en-US" sz="2200" b="1" i="0" u="none" strike="noStrike" kern="1200" cap="none" spc="-50" normalizeH="0" noProof="0">
                <a:ln w="3175">
                  <a:noFill/>
                </a:ln>
                <a:solidFill>
                  <a:schemeClr val="bg1">
                    <a:lumMod val="75000"/>
                  </a:schemeClr>
                </a:solidFill>
                <a:effectLst/>
                <a:uLnTx/>
                <a:uFillTx/>
                <a:latin typeface="Segoe Print" panose="02000600000000000000" pitchFamily="2" charset="0"/>
                <a:cs typeface="Segoe UI" panose="020B0502040204020203" pitchFamily="34" charset="0"/>
              </a:rPr>
              <a:t> is Microsoft Purview? </a:t>
            </a:r>
          </a:p>
          <a:p>
            <a:r>
              <a:rPr lang="en-US" sz="2200" b="1" spc="-50">
                <a:ln w="3175">
                  <a:noFill/>
                </a:ln>
                <a:solidFill>
                  <a:schemeClr val="bg1">
                    <a:lumMod val="75000"/>
                  </a:schemeClr>
                </a:solidFill>
                <a:latin typeface="Segoe Print" panose="02000600000000000000" pitchFamily="2" charset="0"/>
                <a:cs typeface="Segoe UI" panose="020B0502040204020203" pitchFamily="34" charset="0"/>
              </a:rPr>
              <a:t>How does it help with AI?</a:t>
            </a:r>
            <a:endParaRPr lang="en-US" sz="2200">
              <a:solidFill>
                <a:schemeClr val="bg1">
                  <a:lumMod val="75000"/>
                </a:schemeClr>
              </a:solidFill>
              <a:latin typeface="Segoe Print" panose="02000600000000000000" pitchFamily="2" charset="0"/>
            </a:endParaRPr>
          </a:p>
        </p:txBody>
      </p:sp>
      <p:sp>
        <p:nvSpPr>
          <p:cNvPr id="5" name="Arc 4">
            <a:extLst>
              <a:ext uri="{FF2B5EF4-FFF2-40B4-BE49-F238E27FC236}">
                <a16:creationId xmlns:a16="http://schemas.microsoft.com/office/drawing/2014/main" id="{5E7141E7-9B16-B805-026A-C7D086C416C7}"/>
              </a:ext>
            </a:extLst>
          </p:cNvPr>
          <p:cNvSpPr/>
          <p:nvPr/>
        </p:nvSpPr>
        <p:spPr>
          <a:xfrm rot="14973244">
            <a:off x="3669797" y="3990533"/>
            <a:ext cx="593980" cy="571812"/>
          </a:xfrm>
          <a:custGeom>
            <a:avLst/>
            <a:gdLst>
              <a:gd name="connsiteX0" fmla="*/ 3840 w 593980"/>
              <a:gd name="connsiteY0" fmla="*/ 331731 h 571812"/>
              <a:gd name="connsiteX1" fmla="*/ 194883 w 593980"/>
              <a:gd name="connsiteY1" fmla="*/ 17428 h 571812"/>
              <a:gd name="connsiteX2" fmla="*/ 543899 w 593980"/>
              <a:gd name="connsiteY2" fmla="*/ 127022 h 571812"/>
              <a:gd name="connsiteX3" fmla="*/ 296990 w 593980"/>
              <a:gd name="connsiteY3" fmla="*/ 285906 h 571812"/>
              <a:gd name="connsiteX4" fmla="*/ 3840 w 593980"/>
              <a:gd name="connsiteY4" fmla="*/ 331731 h 571812"/>
              <a:gd name="connsiteX0" fmla="*/ 3840 w 593980"/>
              <a:gd name="connsiteY0" fmla="*/ 331731 h 571812"/>
              <a:gd name="connsiteX1" fmla="*/ 194883 w 593980"/>
              <a:gd name="connsiteY1" fmla="*/ 17428 h 571812"/>
              <a:gd name="connsiteX2" fmla="*/ 543899 w 593980"/>
              <a:gd name="connsiteY2" fmla="*/ 127022 h 571812"/>
            </a:gdLst>
            <a:ahLst/>
            <a:cxnLst>
              <a:cxn ang="0">
                <a:pos x="connsiteX0" y="connsiteY0"/>
              </a:cxn>
              <a:cxn ang="0">
                <a:pos x="connsiteX1" y="connsiteY1"/>
              </a:cxn>
              <a:cxn ang="0">
                <a:pos x="connsiteX2" y="connsiteY2"/>
              </a:cxn>
            </a:cxnLst>
            <a:rect l="l" t="t" r="r" b="b"/>
            <a:pathLst>
              <a:path w="593980" h="571812" stroke="0" extrusionOk="0">
                <a:moveTo>
                  <a:pt x="3840" y="331731"/>
                </a:moveTo>
                <a:cubicBezTo>
                  <a:pt x="-50313" y="186873"/>
                  <a:pt x="62749" y="72529"/>
                  <a:pt x="194883" y="17428"/>
                </a:cubicBezTo>
                <a:cubicBezTo>
                  <a:pt x="319265" y="-25876"/>
                  <a:pt x="474539" y="23445"/>
                  <a:pt x="543899" y="127022"/>
                </a:cubicBezTo>
                <a:cubicBezTo>
                  <a:pt x="424220" y="187691"/>
                  <a:pt x="359525" y="237746"/>
                  <a:pt x="296990" y="285906"/>
                </a:cubicBezTo>
                <a:cubicBezTo>
                  <a:pt x="155421" y="321455"/>
                  <a:pt x="88441" y="329732"/>
                  <a:pt x="3840" y="331731"/>
                </a:cubicBezTo>
                <a:close/>
              </a:path>
              <a:path w="593980" h="571812" fill="none" extrusionOk="0">
                <a:moveTo>
                  <a:pt x="3840" y="331731"/>
                </a:moveTo>
                <a:cubicBezTo>
                  <a:pt x="-25323" y="192039"/>
                  <a:pt x="68315" y="69232"/>
                  <a:pt x="194883" y="17428"/>
                </a:cubicBezTo>
                <a:cubicBezTo>
                  <a:pt x="350344" y="-44161"/>
                  <a:pt x="470699" y="23863"/>
                  <a:pt x="543899" y="127022"/>
                </a:cubicBezTo>
              </a:path>
              <a:path w="593980" h="571812" fill="none" stroke="0" extrusionOk="0">
                <a:moveTo>
                  <a:pt x="3840" y="331731"/>
                </a:moveTo>
                <a:cubicBezTo>
                  <a:pt x="-15284" y="186827"/>
                  <a:pt x="59819" y="74653"/>
                  <a:pt x="194883" y="17428"/>
                </a:cubicBezTo>
                <a:cubicBezTo>
                  <a:pt x="335312" y="-25151"/>
                  <a:pt x="467629" y="7042"/>
                  <a:pt x="543899" y="127022"/>
                </a:cubicBezTo>
              </a:path>
            </a:pathLst>
          </a:custGeom>
          <a:ln w="19050">
            <a:solidFill>
              <a:schemeClr val="bg1">
                <a:lumMod val="75000"/>
              </a:schemeClr>
            </a:solidFill>
            <a:headEnd type="none" w="lg" len="med"/>
            <a:tailEnd type="none" w="lg" len="med"/>
            <a:extLst>
              <a:ext uri="{C807C97D-BFC1-408E-A445-0C87EB9F89A2}">
                <ask:lineSketchStyleProps xmlns:ask="http://schemas.microsoft.com/office/drawing/2018/sketchyshapes" sd="1978871457">
                  <a:prstGeom prst="arc">
                    <a:avLst>
                      <a:gd name="adj1" fmla="val 10266924"/>
                      <a:gd name="adj2" fmla="val 19634347"/>
                    </a:avLst>
                  </a:prstGeom>
                  <ask:type>
                    <ask:lineSketchFreehand/>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4282388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up)">
                                      <p:cBhvr>
                                        <p:cTn id="11" dur="500"/>
                                        <p:tgtEl>
                                          <p:spTgt spid="5"/>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5"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541AC8-D361-78EB-67B1-99455110EF14}"/>
              </a:ext>
            </a:extLst>
          </p:cNvPr>
          <p:cNvSpPr>
            <a:spLocks noGrp="1"/>
          </p:cNvSpPr>
          <p:nvPr>
            <p:ph type="title" idx="4294967295"/>
          </p:nvPr>
        </p:nvSpPr>
        <p:spPr>
          <a:xfrm>
            <a:off x="3962401" y="848861"/>
            <a:ext cx="7733413" cy="633413"/>
          </a:xfrm>
        </p:spPr>
        <p:txBody>
          <a:bodyPr>
            <a:normAutofit fontScale="90000"/>
          </a:bodyPr>
          <a:lstStyle/>
          <a:p>
            <a:pPr algn="l"/>
            <a:r>
              <a:rPr lang="en-US" sz="4000"/>
              <a:t>Session feedback surveys</a:t>
            </a:r>
          </a:p>
        </p:txBody>
      </p:sp>
      <p:sp>
        <p:nvSpPr>
          <p:cNvPr id="3" name="Text Placeholder 2" descr="Instructions for submitting a survey">
            <a:extLst>
              <a:ext uri="{FF2B5EF4-FFF2-40B4-BE49-F238E27FC236}">
                <a16:creationId xmlns:a16="http://schemas.microsoft.com/office/drawing/2014/main" id="{46403AEF-0FC4-1DC9-2277-CD8177962343}"/>
              </a:ext>
            </a:extLst>
          </p:cNvPr>
          <p:cNvSpPr>
            <a:spLocks noGrp="1"/>
          </p:cNvSpPr>
          <p:nvPr>
            <p:ph type="body" idx="4294967295"/>
          </p:nvPr>
        </p:nvSpPr>
        <p:spPr>
          <a:xfrm>
            <a:off x="3962400" y="1602924"/>
            <a:ext cx="6904522" cy="5168900"/>
          </a:xfrm>
        </p:spPr>
        <p:txBody>
          <a:bodyPr>
            <a:normAutofit fontScale="25000" lnSpcReduction="20000"/>
          </a:bodyPr>
          <a:lstStyle/>
          <a:p>
            <a:pPr marL="0" indent="0">
              <a:lnSpc>
                <a:spcPct val="120000"/>
              </a:lnSpc>
              <a:buNone/>
            </a:pPr>
            <a:r>
              <a:rPr lang="en-US" sz="7200" b="0"/>
              <a:t>We want to hear from YOU!</a:t>
            </a:r>
          </a:p>
          <a:p>
            <a:pPr marL="0" indent="0">
              <a:lnSpc>
                <a:spcPct val="120000"/>
              </a:lnSpc>
              <a:spcAft>
                <a:spcPts val="1200"/>
              </a:spcAft>
              <a:buNone/>
            </a:pPr>
            <a:r>
              <a:rPr lang="en-US" sz="7200" b="0"/>
              <a:t>Share your feedback to make next years conference even better!</a:t>
            </a:r>
          </a:p>
          <a:p>
            <a:pPr marL="0" indent="0">
              <a:lnSpc>
                <a:spcPct val="120000"/>
              </a:lnSpc>
              <a:buNone/>
            </a:pPr>
            <a:r>
              <a:rPr lang="en-US" sz="7200"/>
              <a:t>Here’s how –</a:t>
            </a:r>
          </a:p>
          <a:p>
            <a:pPr>
              <a:lnSpc>
                <a:spcPct val="120000"/>
              </a:lnSpc>
            </a:pPr>
            <a:r>
              <a:rPr lang="en-US" sz="7200" b="0"/>
              <a:t>Simply go to the Whova App on your smartphone.</a:t>
            </a:r>
          </a:p>
          <a:p>
            <a:pPr>
              <a:lnSpc>
                <a:spcPct val="120000"/>
              </a:lnSpc>
            </a:pPr>
            <a:r>
              <a:rPr lang="en-US" sz="7200" b="0"/>
              <a:t>Scroll down on the M365 Community Conference Homepage to ‘Additional Resources’ to click “Surveys’.</a:t>
            </a:r>
          </a:p>
          <a:p>
            <a:pPr>
              <a:lnSpc>
                <a:spcPct val="120000"/>
              </a:lnSpc>
            </a:pPr>
            <a:r>
              <a:rPr lang="en-US" sz="7200" b="0"/>
              <a:t>Click Session Feedback.</a:t>
            </a:r>
          </a:p>
          <a:p>
            <a:pPr>
              <a:lnSpc>
                <a:spcPct val="120000"/>
              </a:lnSpc>
            </a:pPr>
            <a:r>
              <a:rPr lang="en-US" sz="7200" b="0"/>
              <a:t>Scroll down to find this session title.</a:t>
            </a:r>
          </a:p>
          <a:p>
            <a:pPr>
              <a:lnSpc>
                <a:spcPct val="120000"/>
              </a:lnSpc>
            </a:pPr>
            <a:r>
              <a:rPr lang="en-US" sz="7200" b="0"/>
              <a:t>Complete the session feedback survey.</a:t>
            </a:r>
          </a:p>
          <a:p>
            <a:pPr>
              <a:lnSpc>
                <a:spcPct val="120000"/>
              </a:lnSpc>
              <a:spcAft>
                <a:spcPts val="1200"/>
              </a:spcAft>
            </a:pPr>
            <a:r>
              <a:rPr lang="en-US" sz="7200" b="0"/>
              <a:t>Finally, click ‘Submit’.</a:t>
            </a:r>
          </a:p>
          <a:p>
            <a:pPr marL="0" indent="0">
              <a:lnSpc>
                <a:spcPct val="120000"/>
              </a:lnSpc>
              <a:buNone/>
            </a:pPr>
            <a:r>
              <a:rPr lang="en-US" sz="7200"/>
              <a:t>It’s just that easy!</a:t>
            </a:r>
          </a:p>
          <a:p>
            <a:endParaRPr lang="en-US" sz="2133"/>
          </a:p>
        </p:txBody>
      </p:sp>
      <p:pic>
        <p:nvPicPr>
          <p:cNvPr id="6" name="Picture 5">
            <a:extLst>
              <a:ext uri="{FF2B5EF4-FFF2-40B4-BE49-F238E27FC236}">
                <a16:creationId xmlns:a16="http://schemas.microsoft.com/office/drawing/2014/main" id="{BB06DC14-A1AD-69D8-21E5-934E2DB2F63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499" y="548896"/>
            <a:ext cx="2844721" cy="5760207"/>
          </a:xfrm>
          <a:prstGeom prst="rect">
            <a:avLst/>
          </a:prstGeom>
        </p:spPr>
      </p:pic>
    </p:spTree>
    <p:extLst>
      <p:ext uri="{BB962C8B-B14F-4D97-AF65-F5344CB8AC3E}">
        <p14:creationId xmlns:p14="http://schemas.microsoft.com/office/powerpoint/2010/main" val="372054618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03277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B5ACF46D-1D94-F69F-5688-9C49F2EDF52D}"/>
            </a:ext>
          </a:extLst>
        </p:cNvPr>
        <p:cNvGrpSpPr/>
        <p:nvPr/>
      </p:nvGrpSpPr>
      <p:grpSpPr>
        <a:xfrm>
          <a:off x="0" y="0"/>
          <a:ext cx="0" cy="0"/>
          <a:chOff x="0" y="0"/>
          <a:chExt cx="0" cy="0"/>
        </a:xfrm>
      </p:grpSpPr>
      <p:grpSp>
        <p:nvGrpSpPr>
          <p:cNvPr id="13" name="Group 12">
            <a:extLst>
              <a:ext uri="{FF2B5EF4-FFF2-40B4-BE49-F238E27FC236}">
                <a16:creationId xmlns:a16="http://schemas.microsoft.com/office/drawing/2014/main" id="{4E2E8901-DA65-0D47-502B-A617F6ACC6A1}"/>
              </a:ext>
            </a:extLst>
          </p:cNvPr>
          <p:cNvGrpSpPr/>
          <p:nvPr/>
        </p:nvGrpSpPr>
        <p:grpSpPr>
          <a:xfrm>
            <a:off x="2797513" y="2738028"/>
            <a:ext cx="5031748" cy="3291932"/>
            <a:chOff x="10948709" y="5241982"/>
            <a:chExt cx="9654060" cy="6315998"/>
          </a:xfrm>
        </p:grpSpPr>
        <p:sp>
          <p:nvSpPr>
            <p:cNvPr id="3" name="Graphic 13">
              <a:extLst>
                <a:ext uri="{FF2B5EF4-FFF2-40B4-BE49-F238E27FC236}">
                  <a16:creationId xmlns:a16="http://schemas.microsoft.com/office/drawing/2014/main" id="{0DB8FEDF-7957-A78E-E696-85CC40AF4A15}"/>
                </a:ext>
              </a:extLst>
            </p:cNvPr>
            <p:cNvSpPr/>
            <p:nvPr/>
          </p:nvSpPr>
          <p:spPr>
            <a:xfrm rot="20439329">
              <a:off x="10948709" y="5837858"/>
              <a:ext cx="9654060" cy="5720122"/>
            </a:xfrm>
            <a:custGeom>
              <a:avLst/>
              <a:gdLst>
                <a:gd name="connsiteX0" fmla="*/ 10297665 w 10297664"/>
                <a:gd name="connsiteY0" fmla="*/ 1398618 h 6101463"/>
                <a:gd name="connsiteX1" fmla="*/ 10289039 w 10297664"/>
                <a:gd name="connsiteY1" fmla="*/ 1390603 h 6101463"/>
                <a:gd name="connsiteX2" fmla="*/ 10280413 w 10297664"/>
                <a:gd name="connsiteY2" fmla="*/ 1389235 h 6101463"/>
                <a:gd name="connsiteX3" fmla="*/ 9874509 w 10297664"/>
                <a:gd name="connsiteY3" fmla="*/ 1342132 h 6101463"/>
                <a:gd name="connsiteX4" fmla="*/ 9840975 w 10297664"/>
                <a:gd name="connsiteY4" fmla="*/ 1343246 h 6101463"/>
                <a:gd name="connsiteX5" fmla="*/ 9606045 w 10297664"/>
                <a:gd name="connsiteY5" fmla="*/ 1371038 h 6101463"/>
                <a:gd name="connsiteX6" fmla="*/ 9325694 w 10297664"/>
                <a:gd name="connsiteY6" fmla="*/ 1523120 h 6101463"/>
                <a:gd name="connsiteX7" fmla="*/ 9189979 w 10297664"/>
                <a:gd name="connsiteY7" fmla="*/ 1671290 h 6101463"/>
                <a:gd name="connsiteX8" fmla="*/ 9169887 w 10297664"/>
                <a:gd name="connsiteY8" fmla="*/ 1703057 h 6101463"/>
                <a:gd name="connsiteX9" fmla="*/ 9086262 w 10297664"/>
                <a:gd name="connsiteY9" fmla="*/ 1872012 h 6101463"/>
                <a:gd name="connsiteX10" fmla="*/ 9094088 w 10297664"/>
                <a:gd name="connsiteY10" fmla="*/ 1726451 h 6101463"/>
                <a:gd name="connsiteX11" fmla="*/ 9096066 w 10297664"/>
                <a:gd name="connsiteY11" fmla="*/ 1689677 h 6101463"/>
                <a:gd name="connsiteX12" fmla="*/ 9100084 w 10297664"/>
                <a:gd name="connsiteY12" fmla="*/ 1658225 h 6101463"/>
                <a:gd name="connsiteX13" fmla="*/ 9101957 w 10297664"/>
                <a:gd name="connsiteY13" fmla="*/ 1524530 h 6101463"/>
                <a:gd name="connsiteX14" fmla="*/ 9076585 w 10297664"/>
                <a:gd name="connsiteY14" fmla="*/ 1475785 h 6101463"/>
                <a:gd name="connsiteX15" fmla="*/ 9076311 w 10297664"/>
                <a:gd name="connsiteY15" fmla="*/ 1474586 h 6101463"/>
                <a:gd name="connsiteX16" fmla="*/ 9027819 w 10297664"/>
                <a:gd name="connsiteY16" fmla="*/ 1249607 h 6101463"/>
                <a:gd name="connsiteX17" fmla="*/ 8964685 w 10297664"/>
                <a:gd name="connsiteY17" fmla="*/ 969845 h 6101463"/>
                <a:gd name="connsiteX18" fmla="*/ 8876094 w 10297664"/>
                <a:gd name="connsiteY18" fmla="*/ 706872 h 6101463"/>
                <a:gd name="connsiteX19" fmla="*/ 8997252 w 10297664"/>
                <a:gd name="connsiteY19" fmla="*/ 1047370 h 6101463"/>
                <a:gd name="connsiteX20" fmla="*/ 9087777 w 10297664"/>
                <a:gd name="connsiteY20" fmla="*/ 1447805 h 6101463"/>
                <a:gd name="connsiteX21" fmla="*/ 9117609 w 10297664"/>
                <a:gd name="connsiteY21" fmla="*/ 1479972 h 6101463"/>
                <a:gd name="connsiteX22" fmla="*/ 9194607 w 10297664"/>
                <a:gd name="connsiteY22" fmla="*/ 1423527 h 6101463"/>
                <a:gd name="connsiteX23" fmla="*/ 9243688 w 10297664"/>
                <a:gd name="connsiteY23" fmla="*/ 1350462 h 6101463"/>
                <a:gd name="connsiteX24" fmla="*/ 9351445 w 10297664"/>
                <a:gd name="connsiteY24" fmla="*/ 951311 h 6101463"/>
                <a:gd name="connsiteX25" fmla="*/ 9229257 w 10297664"/>
                <a:gd name="connsiteY25" fmla="*/ 556557 h 6101463"/>
                <a:gd name="connsiteX26" fmla="*/ 8684755 w 10297664"/>
                <a:gd name="connsiteY26" fmla="*/ 85330 h 6101463"/>
                <a:gd name="connsiteX27" fmla="*/ 8552195 w 10297664"/>
                <a:gd name="connsiteY27" fmla="*/ 1725 h 6101463"/>
                <a:gd name="connsiteX28" fmla="*/ 8537637 w 10297664"/>
                <a:gd name="connsiteY28" fmla="*/ 4776 h 6101463"/>
                <a:gd name="connsiteX29" fmla="*/ 8540708 w 10297664"/>
                <a:gd name="connsiteY29" fmla="*/ 19334 h 6101463"/>
                <a:gd name="connsiteX30" fmla="*/ 8494425 w 10297664"/>
                <a:gd name="connsiteY30" fmla="*/ 679565 h 6101463"/>
                <a:gd name="connsiteX31" fmla="*/ 8526739 w 10297664"/>
                <a:gd name="connsiteY31" fmla="*/ 1039523 h 6101463"/>
                <a:gd name="connsiteX32" fmla="*/ 8689762 w 10297664"/>
                <a:gd name="connsiteY32" fmla="*/ 1324165 h 6101463"/>
                <a:gd name="connsiteX33" fmla="*/ 8986332 w 10297664"/>
                <a:gd name="connsiteY33" fmla="*/ 1474460 h 6101463"/>
                <a:gd name="connsiteX34" fmla="*/ 9004152 w 10297664"/>
                <a:gd name="connsiteY34" fmla="*/ 1472461 h 6101463"/>
                <a:gd name="connsiteX35" fmla="*/ 9045007 w 10297664"/>
                <a:gd name="connsiteY35" fmla="*/ 1475028 h 6101463"/>
                <a:gd name="connsiteX36" fmla="*/ 9057167 w 10297664"/>
                <a:gd name="connsiteY36" fmla="*/ 1485399 h 6101463"/>
                <a:gd name="connsiteX37" fmla="*/ 9075092 w 10297664"/>
                <a:gd name="connsiteY37" fmla="*/ 1688246 h 6101463"/>
                <a:gd name="connsiteX38" fmla="*/ 9019699 w 10297664"/>
                <a:gd name="connsiteY38" fmla="*/ 1922040 h 6101463"/>
                <a:gd name="connsiteX39" fmla="*/ 8946466 w 10297664"/>
                <a:gd name="connsiteY39" fmla="*/ 2133702 h 6101463"/>
                <a:gd name="connsiteX40" fmla="*/ 8877104 w 10297664"/>
                <a:gd name="connsiteY40" fmla="*/ 2297208 h 6101463"/>
                <a:gd name="connsiteX41" fmla="*/ 8877104 w 10297664"/>
                <a:gd name="connsiteY41" fmla="*/ 2297208 h 6101463"/>
                <a:gd name="connsiteX42" fmla="*/ 8867448 w 10297664"/>
                <a:gd name="connsiteY42" fmla="*/ 2328429 h 6101463"/>
                <a:gd name="connsiteX43" fmla="*/ 8872854 w 10297664"/>
                <a:gd name="connsiteY43" fmla="*/ 2295168 h 6101463"/>
                <a:gd name="connsiteX44" fmla="*/ 8890168 w 10297664"/>
                <a:gd name="connsiteY44" fmla="*/ 2106963 h 6101463"/>
                <a:gd name="connsiteX45" fmla="*/ 8885435 w 10297664"/>
                <a:gd name="connsiteY45" fmla="*/ 1913394 h 6101463"/>
                <a:gd name="connsiteX46" fmla="*/ 8872665 w 10297664"/>
                <a:gd name="connsiteY46" fmla="*/ 1870140 h 6101463"/>
                <a:gd name="connsiteX47" fmla="*/ 8828233 w 10297664"/>
                <a:gd name="connsiteY47" fmla="*/ 1762237 h 6101463"/>
                <a:gd name="connsiteX48" fmla="*/ 8826255 w 10297664"/>
                <a:gd name="connsiteY48" fmla="*/ 1740504 h 6101463"/>
                <a:gd name="connsiteX49" fmla="*/ 8814054 w 10297664"/>
                <a:gd name="connsiteY49" fmla="*/ 1691886 h 6101463"/>
                <a:gd name="connsiteX50" fmla="*/ 8779046 w 10297664"/>
                <a:gd name="connsiteY50" fmla="*/ 1682398 h 6101463"/>
                <a:gd name="connsiteX51" fmla="*/ 8757019 w 10297664"/>
                <a:gd name="connsiteY51" fmla="*/ 1675014 h 6101463"/>
                <a:gd name="connsiteX52" fmla="*/ 8748037 w 10297664"/>
                <a:gd name="connsiteY52" fmla="*/ 1662517 h 6101463"/>
                <a:gd name="connsiteX53" fmla="*/ 8626669 w 10297664"/>
                <a:gd name="connsiteY53" fmla="*/ 1596605 h 6101463"/>
                <a:gd name="connsiteX54" fmla="*/ 8584173 w 10297664"/>
                <a:gd name="connsiteY54" fmla="*/ 1643162 h 6101463"/>
                <a:gd name="connsiteX55" fmla="*/ 8588233 w 10297664"/>
                <a:gd name="connsiteY55" fmla="*/ 1668997 h 6101463"/>
                <a:gd name="connsiteX56" fmla="*/ 8590505 w 10297664"/>
                <a:gd name="connsiteY56" fmla="*/ 1678022 h 6101463"/>
                <a:gd name="connsiteX57" fmla="*/ 8533471 w 10297664"/>
                <a:gd name="connsiteY57" fmla="*/ 1780266 h 6101463"/>
                <a:gd name="connsiteX58" fmla="*/ 8508668 w 10297664"/>
                <a:gd name="connsiteY58" fmla="*/ 1801304 h 6101463"/>
                <a:gd name="connsiteX59" fmla="*/ 8409937 w 10297664"/>
                <a:gd name="connsiteY59" fmla="*/ 1854719 h 6101463"/>
                <a:gd name="connsiteX60" fmla="*/ 8382357 w 10297664"/>
                <a:gd name="connsiteY60" fmla="*/ 1819691 h 6101463"/>
                <a:gd name="connsiteX61" fmla="*/ 8283689 w 10297664"/>
                <a:gd name="connsiteY61" fmla="*/ 1713744 h 6101463"/>
                <a:gd name="connsiteX62" fmla="*/ 8239994 w 10297664"/>
                <a:gd name="connsiteY62" fmla="*/ 1794740 h 6101463"/>
                <a:gd name="connsiteX63" fmla="*/ 8263304 w 10297664"/>
                <a:gd name="connsiteY63" fmla="*/ 1861325 h 6101463"/>
                <a:gd name="connsiteX64" fmla="*/ 8281522 w 10297664"/>
                <a:gd name="connsiteY64" fmla="*/ 1882889 h 6101463"/>
                <a:gd name="connsiteX65" fmla="*/ 8293893 w 10297664"/>
                <a:gd name="connsiteY65" fmla="*/ 1959488 h 6101463"/>
                <a:gd name="connsiteX66" fmla="*/ 8283795 w 10297664"/>
                <a:gd name="connsiteY66" fmla="*/ 1963884 h 6101463"/>
                <a:gd name="connsiteX67" fmla="*/ 8249966 w 10297664"/>
                <a:gd name="connsiteY67" fmla="*/ 1938239 h 6101463"/>
                <a:gd name="connsiteX68" fmla="*/ 8210814 w 10297664"/>
                <a:gd name="connsiteY68" fmla="*/ 1909460 h 6101463"/>
                <a:gd name="connsiteX69" fmla="*/ 8168275 w 10297664"/>
                <a:gd name="connsiteY69" fmla="*/ 1929993 h 6101463"/>
                <a:gd name="connsiteX70" fmla="*/ 8165835 w 10297664"/>
                <a:gd name="connsiteY70" fmla="*/ 1932286 h 6101463"/>
                <a:gd name="connsiteX71" fmla="*/ 8162995 w 10297664"/>
                <a:gd name="connsiteY71" fmla="*/ 1942763 h 6101463"/>
                <a:gd name="connsiteX72" fmla="*/ 8171074 w 10297664"/>
                <a:gd name="connsiteY72" fmla="*/ 1974719 h 6101463"/>
                <a:gd name="connsiteX73" fmla="*/ 8190891 w 10297664"/>
                <a:gd name="connsiteY73" fmla="*/ 2041661 h 6101463"/>
                <a:gd name="connsiteX74" fmla="*/ 8334538 w 10297664"/>
                <a:gd name="connsiteY74" fmla="*/ 2206683 h 6101463"/>
                <a:gd name="connsiteX75" fmla="*/ 8353871 w 10297664"/>
                <a:gd name="connsiteY75" fmla="*/ 2209901 h 6101463"/>
                <a:gd name="connsiteX76" fmla="*/ 8379916 w 10297664"/>
                <a:gd name="connsiteY76" fmla="*/ 2214992 h 6101463"/>
                <a:gd name="connsiteX77" fmla="*/ 8407560 w 10297664"/>
                <a:gd name="connsiteY77" fmla="*/ 2237040 h 6101463"/>
                <a:gd name="connsiteX78" fmla="*/ 8329468 w 10297664"/>
                <a:gd name="connsiteY78" fmla="*/ 2427117 h 6101463"/>
                <a:gd name="connsiteX79" fmla="*/ 8263493 w 10297664"/>
                <a:gd name="connsiteY79" fmla="*/ 2562285 h 6101463"/>
                <a:gd name="connsiteX80" fmla="*/ 8267364 w 10297664"/>
                <a:gd name="connsiteY80" fmla="*/ 2614859 h 6101463"/>
                <a:gd name="connsiteX81" fmla="*/ 8264419 w 10297664"/>
                <a:gd name="connsiteY81" fmla="*/ 2694445 h 6101463"/>
                <a:gd name="connsiteX82" fmla="*/ 8235407 w 10297664"/>
                <a:gd name="connsiteY82" fmla="*/ 2736858 h 6101463"/>
                <a:gd name="connsiteX83" fmla="*/ 8208984 w 10297664"/>
                <a:gd name="connsiteY83" fmla="*/ 2772285 h 6101463"/>
                <a:gd name="connsiteX84" fmla="*/ 8188745 w 10297664"/>
                <a:gd name="connsiteY84" fmla="*/ 2824649 h 6101463"/>
                <a:gd name="connsiteX85" fmla="*/ 8185064 w 10297664"/>
                <a:gd name="connsiteY85" fmla="*/ 2836661 h 6101463"/>
                <a:gd name="connsiteX86" fmla="*/ 7999783 w 10297664"/>
                <a:gd name="connsiteY86" fmla="*/ 3092566 h 6101463"/>
                <a:gd name="connsiteX87" fmla="*/ 7952743 w 10297664"/>
                <a:gd name="connsiteY87" fmla="*/ 3098919 h 6101463"/>
                <a:gd name="connsiteX88" fmla="*/ 7941950 w 10297664"/>
                <a:gd name="connsiteY88" fmla="*/ 3070413 h 6101463"/>
                <a:gd name="connsiteX89" fmla="*/ 7894236 w 10297664"/>
                <a:gd name="connsiteY89" fmla="*/ 2887657 h 6101463"/>
                <a:gd name="connsiteX90" fmla="*/ 7879489 w 10297664"/>
                <a:gd name="connsiteY90" fmla="*/ 2761556 h 6101463"/>
                <a:gd name="connsiteX91" fmla="*/ 7890765 w 10297664"/>
                <a:gd name="connsiteY91" fmla="*/ 2723351 h 6101463"/>
                <a:gd name="connsiteX92" fmla="*/ 7904945 w 10297664"/>
                <a:gd name="connsiteY92" fmla="*/ 2657671 h 6101463"/>
                <a:gd name="connsiteX93" fmla="*/ 7875134 w 10297664"/>
                <a:gd name="connsiteY93" fmla="*/ 2578527 h 6101463"/>
                <a:gd name="connsiteX94" fmla="*/ 7849531 w 10297664"/>
                <a:gd name="connsiteY94" fmla="*/ 2523492 h 6101463"/>
                <a:gd name="connsiteX95" fmla="*/ 7848647 w 10297664"/>
                <a:gd name="connsiteY95" fmla="*/ 2477208 h 6101463"/>
                <a:gd name="connsiteX96" fmla="*/ 7828661 w 10297664"/>
                <a:gd name="connsiteY96" fmla="*/ 2388807 h 6101463"/>
                <a:gd name="connsiteX97" fmla="*/ 7713016 w 10297664"/>
                <a:gd name="connsiteY97" fmla="*/ 2376121 h 6101463"/>
                <a:gd name="connsiteX98" fmla="*/ 7693704 w 10297664"/>
                <a:gd name="connsiteY98" fmla="*/ 2382812 h 6101463"/>
                <a:gd name="connsiteX99" fmla="*/ 7587168 w 10297664"/>
                <a:gd name="connsiteY99" fmla="*/ 2391374 h 6101463"/>
                <a:gd name="connsiteX100" fmla="*/ 7512673 w 10297664"/>
                <a:gd name="connsiteY100" fmla="*/ 2311430 h 6101463"/>
                <a:gd name="connsiteX101" fmla="*/ 7475478 w 10297664"/>
                <a:gd name="connsiteY101" fmla="*/ 2205021 h 6101463"/>
                <a:gd name="connsiteX102" fmla="*/ 7479559 w 10297664"/>
                <a:gd name="connsiteY102" fmla="*/ 2171844 h 6101463"/>
                <a:gd name="connsiteX103" fmla="*/ 7484208 w 10297664"/>
                <a:gd name="connsiteY103" fmla="*/ 2125266 h 6101463"/>
                <a:gd name="connsiteX104" fmla="*/ 7482336 w 10297664"/>
                <a:gd name="connsiteY104" fmla="*/ 2095308 h 6101463"/>
                <a:gd name="connsiteX105" fmla="*/ 7482041 w 10297664"/>
                <a:gd name="connsiteY105" fmla="*/ 2049593 h 6101463"/>
                <a:gd name="connsiteX106" fmla="*/ 7521593 w 10297664"/>
                <a:gd name="connsiteY106" fmla="*/ 1985385 h 6101463"/>
                <a:gd name="connsiteX107" fmla="*/ 7546017 w 10297664"/>
                <a:gd name="connsiteY107" fmla="*/ 1956669 h 6101463"/>
                <a:gd name="connsiteX108" fmla="*/ 7570169 w 10297664"/>
                <a:gd name="connsiteY108" fmla="*/ 1888906 h 6101463"/>
                <a:gd name="connsiteX109" fmla="*/ 7585737 w 10297664"/>
                <a:gd name="connsiteY109" fmla="*/ 1837826 h 6101463"/>
                <a:gd name="connsiteX110" fmla="*/ 7664545 w 10297664"/>
                <a:gd name="connsiteY110" fmla="*/ 1786409 h 6101463"/>
                <a:gd name="connsiteX111" fmla="*/ 7691410 w 10297664"/>
                <a:gd name="connsiteY111" fmla="*/ 1776942 h 6101463"/>
                <a:gd name="connsiteX112" fmla="*/ 7832343 w 10297664"/>
                <a:gd name="connsiteY112" fmla="*/ 1755084 h 6101463"/>
                <a:gd name="connsiteX113" fmla="*/ 7845870 w 10297664"/>
                <a:gd name="connsiteY113" fmla="*/ 1786093 h 6101463"/>
                <a:gd name="connsiteX114" fmla="*/ 7845723 w 10297664"/>
                <a:gd name="connsiteY114" fmla="*/ 1800042 h 6101463"/>
                <a:gd name="connsiteX115" fmla="*/ 7853528 w 10297664"/>
                <a:gd name="connsiteY115" fmla="*/ 1848387 h 6101463"/>
                <a:gd name="connsiteX116" fmla="*/ 7920681 w 10297664"/>
                <a:gd name="connsiteY116" fmla="*/ 1875799 h 6101463"/>
                <a:gd name="connsiteX117" fmla="*/ 7977483 w 10297664"/>
                <a:gd name="connsiteY117" fmla="*/ 1835743 h 6101463"/>
                <a:gd name="connsiteX118" fmla="*/ 7916705 w 10297664"/>
                <a:gd name="connsiteY118" fmla="*/ 1713807 h 6101463"/>
                <a:gd name="connsiteX119" fmla="*/ 7871410 w 10297664"/>
                <a:gd name="connsiteY119" fmla="*/ 1677454 h 6101463"/>
                <a:gd name="connsiteX120" fmla="*/ 7746319 w 10297664"/>
                <a:gd name="connsiteY120" fmla="*/ 1517040 h 6101463"/>
                <a:gd name="connsiteX121" fmla="*/ 7749748 w 10297664"/>
                <a:gd name="connsiteY121" fmla="*/ 1509530 h 6101463"/>
                <a:gd name="connsiteX122" fmla="*/ 7756312 w 10297664"/>
                <a:gd name="connsiteY122" fmla="*/ 1491774 h 6101463"/>
                <a:gd name="connsiteX123" fmla="*/ 7749790 w 10297664"/>
                <a:gd name="connsiteY123" fmla="*/ 1467664 h 6101463"/>
                <a:gd name="connsiteX124" fmla="*/ 7723514 w 10297664"/>
                <a:gd name="connsiteY124" fmla="*/ 1466760 h 6101463"/>
                <a:gd name="connsiteX125" fmla="*/ 7680639 w 10297664"/>
                <a:gd name="connsiteY125" fmla="*/ 1514053 h 6101463"/>
                <a:gd name="connsiteX126" fmla="*/ 7680849 w 10297664"/>
                <a:gd name="connsiteY126" fmla="*/ 1531746 h 6101463"/>
                <a:gd name="connsiteX127" fmla="*/ 7678661 w 10297664"/>
                <a:gd name="connsiteY127" fmla="*/ 1557959 h 6101463"/>
                <a:gd name="connsiteX128" fmla="*/ 7674812 w 10297664"/>
                <a:gd name="connsiteY128" fmla="*/ 1559263 h 6101463"/>
                <a:gd name="connsiteX129" fmla="*/ 7660401 w 10297664"/>
                <a:gd name="connsiteY129" fmla="*/ 1534838 h 6101463"/>
                <a:gd name="connsiteX130" fmla="*/ 7635639 w 10297664"/>
                <a:gd name="connsiteY130" fmla="*/ 1499979 h 6101463"/>
                <a:gd name="connsiteX131" fmla="*/ 7607953 w 10297664"/>
                <a:gd name="connsiteY131" fmla="*/ 1509319 h 6101463"/>
                <a:gd name="connsiteX132" fmla="*/ 7580751 w 10297664"/>
                <a:gd name="connsiteY132" fmla="*/ 1578513 h 6101463"/>
                <a:gd name="connsiteX133" fmla="*/ 7581635 w 10297664"/>
                <a:gd name="connsiteY133" fmla="*/ 1644971 h 6101463"/>
                <a:gd name="connsiteX134" fmla="*/ 7586263 w 10297664"/>
                <a:gd name="connsiteY134" fmla="*/ 1650568 h 6101463"/>
                <a:gd name="connsiteX135" fmla="*/ 7590260 w 10297664"/>
                <a:gd name="connsiteY135" fmla="*/ 1655764 h 6101463"/>
                <a:gd name="connsiteX136" fmla="*/ 7590155 w 10297664"/>
                <a:gd name="connsiteY136" fmla="*/ 1657531 h 6101463"/>
                <a:gd name="connsiteX137" fmla="*/ 7564131 w 10297664"/>
                <a:gd name="connsiteY137" fmla="*/ 1667924 h 6101463"/>
                <a:gd name="connsiteX138" fmla="*/ 7555359 w 10297664"/>
                <a:gd name="connsiteY138" fmla="*/ 1665504 h 6101463"/>
                <a:gd name="connsiteX139" fmla="*/ 7527883 w 10297664"/>
                <a:gd name="connsiteY139" fmla="*/ 1664347 h 6101463"/>
                <a:gd name="connsiteX140" fmla="*/ 7501544 w 10297664"/>
                <a:gd name="connsiteY140" fmla="*/ 1712440 h 6101463"/>
                <a:gd name="connsiteX141" fmla="*/ 7504237 w 10297664"/>
                <a:gd name="connsiteY141" fmla="*/ 1728471 h 6101463"/>
                <a:gd name="connsiteX142" fmla="*/ 7506635 w 10297664"/>
                <a:gd name="connsiteY142" fmla="*/ 1746711 h 6101463"/>
                <a:gd name="connsiteX143" fmla="*/ 7495863 w 10297664"/>
                <a:gd name="connsiteY143" fmla="*/ 1744333 h 6101463"/>
                <a:gd name="connsiteX144" fmla="*/ 7467799 w 10297664"/>
                <a:gd name="connsiteY144" fmla="*/ 1720834 h 6101463"/>
                <a:gd name="connsiteX145" fmla="*/ 7453661 w 10297664"/>
                <a:gd name="connsiteY145" fmla="*/ 1681556 h 6101463"/>
                <a:gd name="connsiteX146" fmla="*/ 7435674 w 10297664"/>
                <a:gd name="connsiteY146" fmla="*/ 1635168 h 6101463"/>
                <a:gd name="connsiteX147" fmla="*/ 7396986 w 10297664"/>
                <a:gd name="connsiteY147" fmla="*/ 1601634 h 6101463"/>
                <a:gd name="connsiteX148" fmla="*/ 7362820 w 10297664"/>
                <a:gd name="connsiteY148" fmla="*/ 1572706 h 6101463"/>
                <a:gd name="connsiteX149" fmla="*/ 7318956 w 10297664"/>
                <a:gd name="connsiteY149" fmla="*/ 1544158 h 6101463"/>
                <a:gd name="connsiteX150" fmla="*/ 7308227 w 10297664"/>
                <a:gd name="connsiteY150" fmla="*/ 1557012 h 6101463"/>
                <a:gd name="connsiteX151" fmla="*/ 7345821 w 10297664"/>
                <a:gd name="connsiteY151" fmla="*/ 1629446 h 6101463"/>
                <a:gd name="connsiteX152" fmla="*/ 7371383 w 10297664"/>
                <a:gd name="connsiteY152" fmla="*/ 1652798 h 6101463"/>
                <a:gd name="connsiteX153" fmla="*/ 7411649 w 10297664"/>
                <a:gd name="connsiteY153" fmla="*/ 1691676 h 6101463"/>
                <a:gd name="connsiteX154" fmla="*/ 7409230 w 10297664"/>
                <a:gd name="connsiteY154" fmla="*/ 1692223 h 6101463"/>
                <a:gd name="connsiteX155" fmla="*/ 7405821 w 10297664"/>
                <a:gd name="connsiteY155" fmla="*/ 1693443 h 6101463"/>
                <a:gd name="connsiteX156" fmla="*/ 7390653 w 10297664"/>
                <a:gd name="connsiteY156" fmla="*/ 1730238 h 6101463"/>
                <a:gd name="connsiteX157" fmla="*/ 7387455 w 10297664"/>
                <a:gd name="connsiteY157" fmla="*/ 1745175 h 6101463"/>
                <a:gd name="connsiteX158" fmla="*/ 7387666 w 10297664"/>
                <a:gd name="connsiteY158" fmla="*/ 1740757 h 6101463"/>
                <a:gd name="connsiteX159" fmla="*/ 7374538 w 10297664"/>
                <a:gd name="connsiteY159" fmla="*/ 1691023 h 6101463"/>
                <a:gd name="connsiteX160" fmla="*/ 7344875 w 10297664"/>
                <a:gd name="connsiteY160" fmla="*/ 1668408 h 6101463"/>
                <a:gd name="connsiteX161" fmla="*/ 7285800 w 10297664"/>
                <a:gd name="connsiteY161" fmla="*/ 1602349 h 6101463"/>
                <a:gd name="connsiteX162" fmla="*/ 7285611 w 10297664"/>
                <a:gd name="connsiteY162" fmla="*/ 1601760 h 6101463"/>
                <a:gd name="connsiteX163" fmla="*/ 7285064 w 10297664"/>
                <a:gd name="connsiteY163" fmla="*/ 1600224 h 6101463"/>
                <a:gd name="connsiteX164" fmla="*/ 7256200 w 10297664"/>
                <a:gd name="connsiteY164" fmla="*/ 1577461 h 6101463"/>
                <a:gd name="connsiteX165" fmla="*/ 7234026 w 10297664"/>
                <a:gd name="connsiteY165" fmla="*/ 1600960 h 6101463"/>
                <a:gd name="connsiteX166" fmla="*/ 7224118 w 10297664"/>
                <a:gd name="connsiteY166" fmla="*/ 1614509 h 6101463"/>
                <a:gd name="connsiteX167" fmla="*/ 7208865 w 10297664"/>
                <a:gd name="connsiteY167" fmla="*/ 1612047 h 6101463"/>
                <a:gd name="connsiteX168" fmla="*/ 7168430 w 10297664"/>
                <a:gd name="connsiteY168" fmla="*/ 1620715 h 6101463"/>
                <a:gd name="connsiteX169" fmla="*/ 7167294 w 10297664"/>
                <a:gd name="connsiteY169" fmla="*/ 1623513 h 6101463"/>
                <a:gd name="connsiteX170" fmla="*/ 7144615 w 10297664"/>
                <a:gd name="connsiteY170" fmla="*/ 1673394 h 6101463"/>
                <a:gd name="connsiteX171" fmla="*/ 7116109 w 10297664"/>
                <a:gd name="connsiteY171" fmla="*/ 1694642 h 6101463"/>
                <a:gd name="connsiteX172" fmla="*/ 7112869 w 10297664"/>
                <a:gd name="connsiteY172" fmla="*/ 1699817 h 6101463"/>
                <a:gd name="connsiteX173" fmla="*/ 7107357 w 10297664"/>
                <a:gd name="connsiteY173" fmla="*/ 1728913 h 6101463"/>
                <a:gd name="connsiteX174" fmla="*/ 7083795 w 10297664"/>
                <a:gd name="connsiteY174" fmla="*/ 1785525 h 6101463"/>
                <a:gd name="connsiteX175" fmla="*/ 7082448 w 10297664"/>
                <a:gd name="connsiteY175" fmla="*/ 1786767 h 6101463"/>
                <a:gd name="connsiteX176" fmla="*/ 6986074 w 10297664"/>
                <a:gd name="connsiteY176" fmla="*/ 1798338 h 6101463"/>
                <a:gd name="connsiteX177" fmla="*/ 6963185 w 10297664"/>
                <a:gd name="connsiteY177" fmla="*/ 1789018 h 6101463"/>
                <a:gd name="connsiteX178" fmla="*/ 6957947 w 10297664"/>
                <a:gd name="connsiteY178" fmla="*/ 1727293 h 6101463"/>
                <a:gd name="connsiteX179" fmla="*/ 6963311 w 10297664"/>
                <a:gd name="connsiteY179" fmla="*/ 1701879 h 6101463"/>
                <a:gd name="connsiteX180" fmla="*/ 6963395 w 10297664"/>
                <a:gd name="connsiteY180" fmla="*/ 1700091 h 6101463"/>
                <a:gd name="connsiteX181" fmla="*/ 6961039 w 10297664"/>
                <a:gd name="connsiteY181" fmla="*/ 1676087 h 6101463"/>
                <a:gd name="connsiteX182" fmla="*/ 6963185 w 10297664"/>
                <a:gd name="connsiteY182" fmla="*/ 1629446 h 6101463"/>
                <a:gd name="connsiteX183" fmla="*/ 7019840 w 10297664"/>
                <a:gd name="connsiteY183" fmla="*/ 1618569 h 6101463"/>
                <a:gd name="connsiteX184" fmla="*/ 7050892 w 10297664"/>
                <a:gd name="connsiteY184" fmla="*/ 1622587 h 6101463"/>
                <a:gd name="connsiteX185" fmla="*/ 7096292 w 10297664"/>
                <a:gd name="connsiteY185" fmla="*/ 1589558 h 6101463"/>
                <a:gd name="connsiteX186" fmla="*/ 7067490 w 10297664"/>
                <a:gd name="connsiteY186" fmla="*/ 1484369 h 6101463"/>
                <a:gd name="connsiteX187" fmla="*/ 7061474 w 10297664"/>
                <a:gd name="connsiteY187" fmla="*/ 1479614 h 6101463"/>
                <a:gd name="connsiteX188" fmla="*/ 7048115 w 10297664"/>
                <a:gd name="connsiteY188" fmla="*/ 1465729 h 6101463"/>
                <a:gd name="connsiteX189" fmla="*/ 7109209 w 10297664"/>
                <a:gd name="connsiteY189" fmla="*/ 1419235 h 6101463"/>
                <a:gd name="connsiteX190" fmla="*/ 7153599 w 10297664"/>
                <a:gd name="connsiteY190" fmla="*/ 1392749 h 6101463"/>
                <a:gd name="connsiteX191" fmla="*/ 7177077 w 10297664"/>
                <a:gd name="connsiteY191" fmla="*/ 1355533 h 6101463"/>
                <a:gd name="connsiteX192" fmla="*/ 7207245 w 10297664"/>
                <a:gd name="connsiteY192" fmla="*/ 1312321 h 6101463"/>
                <a:gd name="connsiteX193" fmla="*/ 7224601 w 10297664"/>
                <a:gd name="connsiteY193" fmla="*/ 1302160 h 6101463"/>
                <a:gd name="connsiteX194" fmla="*/ 7260618 w 10297664"/>
                <a:gd name="connsiteY194" fmla="*/ 1260231 h 6101463"/>
                <a:gd name="connsiteX195" fmla="*/ 7257652 w 10297664"/>
                <a:gd name="connsiteY195" fmla="*/ 1227012 h 6101463"/>
                <a:gd name="connsiteX196" fmla="*/ 7263710 w 10297664"/>
                <a:gd name="connsiteY196" fmla="*/ 1184242 h 6101463"/>
                <a:gd name="connsiteX197" fmla="*/ 7276922 w 10297664"/>
                <a:gd name="connsiteY197" fmla="*/ 1181949 h 6101463"/>
                <a:gd name="connsiteX198" fmla="*/ 7285737 w 10297664"/>
                <a:gd name="connsiteY198" fmla="*/ 1189355 h 6101463"/>
                <a:gd name="connsiteX199" fmla="*/ 7282876 w 10297664"/>
                <a:gd name="connsiteY199" fmla="*/ 1209972 h 6101463"/>
                <a:gd name="connsiteX200" fmla="*/ 7278816 w 10297664"/>
                <a:gd name="connsiteY200" fmla="*/ 1243611 h 6101463"/>
                <a:gd name="connsiteX201" fmla="*/ 7300527 w 10297664"/>
                <a:gd name="connsiteY201" fmla="*/ 1269277 h 6101463"/>
                <a:gd name="connsiteX202" fmla="*/ 7385415 w 10297664"/>
                <a:gd name="connsiteY202" fmla="*/ 1252826 h 6101463"/>
                <a:gd name="connsiteX203" fmla="*/ 7402834 w 10297664"/>
                <a:gd name="connsiteY203" fmla="*/ 1250911 h 6101463"/>
                <a:gd name="connsiteX204" fmla="*/ 7443458 w 10297664"/>
                <a:gd name="connsiteY204" fmla="*/ 1233702 h 6101463"/>
                <a:gd name="connsiteX205" fmla="*/ 7448886 w 10297664"/>
                <a:gd name="connsiteY205" fmla="*/ 1198716 h 6101463"/>
                <a:gd name="connsiteX206" fmla="*/ 7450211 w 10297664"/>
                <a:gd name="connsiteY206" fmla="*/ 1177342 h 6101463"/>
                <a:gd name="connsiteX207" fmla="*/ 7477350 w 10297664"/>
                <a:gd name="connsiteY207" fmla="*/ 1160049 h 6101463"/>
                <a:gd name="connsiteX208" fmla="*/ 7477603 w 10297664"/>
                <a:gd name="connsiteY208" fmla="*/ 1160049 h 6101463"/>
                <a:gd name="connsiteX209" fmla="*/ 7498451 w 10297664"/>
                <a:gd name="connsiteY209" fmla="*/ 1140715 h 6101463"/>
                <a:gd name="connsiteX210" fmla="*/ 7489131 w 10297664"/>
                <a:gd name="connsiteY210" fmla="*/ 1117784 h 6101463"/>
                <a:gd name="connsiteX211" fmla="*/ 7484882 w 10297664"/>
                <a:gd name="connsiteY211" fmla="*/ 1110210 h 6101463"/>
                <a:gd name="connsiteX212" fmla="*/ 7485366 w 10297664"/>
                <a:gd name="connsiteY212" fmla="*/ 1110210 h 6101463"/>
                <a:gd name="connsiteX213" fmla="*/ 7562911 w 10297664"/>
                <a:gd name="connsiteY213" fmla="*/ 1072258 h 6101463"/>
                <a:gd name="connsiteX214" fmla="*/ 7565667 w 10297664"/>
                <a:gd name="connsiteY214" fmla="*/ 1046360 h 6101463"/>
                <a:gd name="connsiteX215" fmla="*/ 7558872 w 10297664"/>
                <a:gd name="connsiteY215" fmla="*/ 1041374 h 6101463"/>
                <a:gd name="connsiteX216" fmla="*/ 7507792 w 10297664"/>
                <a:gd name="connsiteY216" fmla="*/ 1046108 h 6101463"/>
                <a:gd name="connsiteX217" fmla="*/ 7470281 w 10297664"/>
                <a:gd name="connsiteY217" fmla="*/ 1049495 h 6101463"/>
                <a:gd name="connsiteX218" fmla="*/ 7459657 w 10297664"/>
                <a:gd name="connsiteY218" fmla="*/ 998015 h 6101463"/>
                <a:gd name="connsiteX219" fmla="*/ 7481011 w 10297664"/>
                <a:gd name="connsiteY219" fmla="*/ 951900 h 6101463"/>
                <a:gd name="connsiteX220" fmla="*/ 7489089 w 10297664"/>
                <a:gd name="connsiteY220" fmla="*/ 937531 h 6101463"/>
                <a:gd name="connsiteX221" fmla="*/ 7507035 w 10297664"/>
                <a:gd name="connsiteY221" fmla="*/ 863226 h 6101463"/>
                <a:gd name="connsiteX222" fmla="*/ 7488773 w 10297664"/>
                <a:gd name="connsiteY222" fmla="*/ 844397 h 6101463"/>
                <a:gd name="connsiteX223" fmla="*/ 7473521 w 10297664"/>
                <a:gd name="connsiteY223" fmla="*/ 853506 h 6101463"/>
                <a:gd name="connsiteX224" fmla="*/ 7403402 w 10297664"/>
                <a:gd name="connsiteY224" fmla="*/ 955708 h 6101463"/>
                <a:gd name="connsiteX225" fmla="*/ 7387455 w 10297664"/>
                <a:gd name="connsiteY225" fmla="*/ 1016781 h 6101463"/>
                <a:gd name="connsiteX226" fmla="*/ 7397385 w 10297664"/>
                <a:gd name="connsiteY226" fmla="*/ 1031949 h 6101463"/>
                <a:gd name="connsiteX227" fmla="*/ 7402581 w 10297664"/>
                <a:gd name="connsiteY227" fmla="*/ 1038744 h 6101463"/>
                <a:gd name="connsiteX228" fmla="*/ 7403907 w 10297664"/>
                <a:gd name="connsiteY228" fmla="*/ 1076634 h 6101463"/>
                <a:gd name="connsiteX229" fmla="*/ 7395513 w 10297664"/>
                <a:gd name="connsiteY229" fmla="*/ 1099733 h 6101463"/>
                <a:gd name="connsiteX230" fmla="*/ 7387518 w 10297664"/>
                <a:gd name="connsiteY230" fmla="*/ 1121150 h 6101463"/>
                <a:gd name="connsiteX231" fmla="*/ 7380386 w 10297664"/>
                <a:gd name="connsiteY231" fmla="*/ 1151150 h 6101463"/>
                <a:gd name="connsiteX232" fmla="*/ 7372750 w 10297664"/>
                <a:gd name="connsiteY232" fmla="*/ 1182202 h 6101463"/>
                <a:gd name="connsiteX233" fmla="*/ 7347946 w 10297664"/>
                <a:gd name="connsiteY233" fmla="*/ 1214074 h 6101463"/>
                <a:gd name="connsiteX234" fmla="*/ 7347757 w 10297664"/>
                <a:gd name="connsiteY234" fmla="*/ 1214074 h 6101463"/>
                <a:gd name="connsiteX235" fmla="*/ 7329181 w 10297664"/>
                <a:gd name="connsiteY235" fmla="*/ 1188892 h 6101463"/>
                <a:gd name="connsiteX236" fmla="*/ 7325688 w 10297664"/>
                <a:gd name="connsiteY236" fmla="*/ 1174397 h 6101463"/>
                <a:gd name="connsiteX237" fmla="*/ 7277743 w 10297664"/>
                <a:gd name="connsiteY237" fmla="*/ 1112651 h 6101463"/>
                <a:gd name="connsiteX238" fmla="*/ 7251614 w 10297664"/>
                <a:gd name="connsiteY238" fmla="*/ 1129376 h 6101463"/>
                <a:gd name="connsiteX239" fmla="*/ 7235604 w 10297664"/>
                <a:gd name="connsiteY239" fmla="*/ 1140505 h 6101463"/>
                <a:gd name="connsiteX240" fmla="*/ 7221151 w 10297664"/>
                <a:gd name="connsiteY240" fmla="*/ 1123275 h 6101463"/>
                <a:gd name="connsiteX241" fmla="*/ 7218437 w 10297664"/>
                <a:gd name="connsiteY241" fmla="*/ 1087658 h 6101463"/>
                <a:gd name="connsiteX242" fmla="*/ 7230492 w 10297664"/>
                <a:gd name="connsiteY242" fmla="*/ 992019 h 6101463"/>
                <a:gd name="connsiteX243" fmla="*/ 7276880 w 10297664"/>
                <a:gd name="connsiteY243" fmla="*/ 937889 h 6101463"/>
                <a:gd name="connsiteX244" fmla="*/ 7328697 w 10297664"/>
                <a:gd name="connsiteY244" fmla="*/ 875743 h 6101463"/>
                <a:gd name="connsiteX245" fmla="*/ 7350197 w 10297664"/>
                <a:gd name="connsiteY245" fmla="*/ 817111 h 6101463"/>
                <a:gd name="connsiteX246" fmla="*/ 7373696 w 10297664"/>
                <a:gd name="connsiteY246" fmla="*/ 756648 h 6101463"/>
                <a:gd name="connsiteX247" fmla="*/ 7420232 w 10297664"/>
                <a:gd name="connsiteY247" fmla="*/ 715876 h 6101463"/>
                <a:gd name="connsiteX248" fmla="*/ 7437168 w 10297664"/>
                <a:gd name="connsiteY248" fmla="*/ 704390 h 6101463"/>
                <a:gd name="connsiteX249" fmla="*/ 7507708 w 10297664"/>
                <a:gd name="connsiteY249" fmla="*/ 662966 h 6101463"/>
                <a:gd name="connsiteX250" fmla="*/ 7550436 w 10297664"/>
                <a:gd name="connsiteY250" fmla="*/ 657707 h 6101463"/>
                <a:gd name="connsiteX251" fmla="*/ 7568696 w 10297664"/>
                <a:gd name="connsiteY251" fmla="*/ 663955 h 6101463"/>
                <a:gd name="connsiteX252" fmla="*/ 7568613 w 10297664"/>
                <a:gd name="connsiteY252" fmla="*/ 669867 h 6101463"/>
                <a:gd name="connsiteX253" fmla="*/ 7575218 w 10297664"/>
                <a:gd name="connsiteY253" fmla="*/ 692482 h 6101463"/>
                <a:gd name="connsiteX254" fmla="*/ 7733192 w 10297664"/>
                <a:gd name="connsiteY254" fmla="*/ 752377 h 6101463"/>
                <a:gd name="connsiteX255" fmla="*/ 7775856 w 10297664"/>
                <a:gd name="connsiteY255" fmla="*/ 742679 h 6101463"/>
                <a:gd name="connsiteX256" fmla="*/ 7798977 w 10297664"/>
                <a:gd name="connsiteY256" fmla="*/ 738177 h 6101463"/>
                <a:gd name="connsiteX257" fmla="*/ 7813935 w 10297664"/>
                <a:gd name="connsiteY257" fmla="*/ 736304 h 6101463"/>
                <a:gd name="connsiteX258" fmla="*/ 7844671 w 10297664"/>
                <a:gd name="connsiteY258" fmla="*/ 727910 h 6101463"/>
                <a:gd name="connsiteX259" fmla="*/ 7889482 w 10297664"/>
                <a:gd name="connsiteY259" fmla="*/ 717791 h 6101463"/>
                <a:gd name="connsiteX260" fmla="*/ 8021263 w 10297664"/>
                <a:gd name="connsiteY260" fmla="*/ 669825 h 6101463"/>
                <a:gd name="connsiteX261" fmla="*/ 8030435 w 10297664"/>
                <a:gd name="connsiteY261" fmla="*/ 582097 h 6101463"/>
                <a:gd name="connsiteX262" fmla="*/ 8035337 w 10297664"/>
                <a:gd name="connsiteY262" fmla="*/ 525084 h 6101463"/>
                <a:gd name="connsiteX263" fmla="*/ 8083114 w 10297664"/>
                <a:gd name="connsiteY263" fmla="*/ 530722 h 6101463"/>
                <a:gd name="connsiteX264" fmla="*/ 8099166 w 10297664"/>
                <a:gd name="connsiteY264" fmla="*/ 540063 h 6101463"/>
                <a:gd name="connsiteX265" fmla="*/ 8146859 w 10297664"/>
                <a:gd name="connsiteY265" fmla="*/ 562048 h 6101463"/>
                <a:gd name="connsiteX266" fmla="*/ 8185001 w 10297664"/>
                <a:gd name="connsiteY266" fmla="*/ 562237 h 6101463"/>
                <a:gd name="connsiteX267" fmla="*/ 8218261 w 10297664"/>
                <a:gd name="connsiteY267" fmla="*/ 558850 h 6101463"/>
                <a:gd name="connsiteX268" fmla="*/ 8227202 w 10297664"/>
                <a:gd name="connsiteY268" fmla="*/ 551718 h 6101463"/>
                <a:gd name="connsiteX269" fmla="*/ 8224342 w 10297664"/>
                <a:gd name="connsiteY269" fmla="*/ 540631 h 6101463"/>
                <a:gd name="connsiteX270" fmla="*/ 6835148 w 10297664"/>
                <a:gd name="connsiteY270" fmla="*/ 0 h 6101463"/>
                <a:gd name="connsiteX271" fmla="*/ 6347680 w 10297664"/>
                <a:gd name="connsiteY271" fmla="*/ 58170 h 6101463"/>
                <a:gd name="connsiteX272" fmla="*/ 5902140 w 10297664"/>
                <a:gd name="connsiteY272" fmla="*/ 223527 h 6101463"/>
                <a:gd name="connsiteX273" fmla="*/ 5512287 w 10297664"/>
                <a:gd name="connsiteY273" fmla="*/ 482356 h 6101463"/>
                <a:gd name="connsiteX274" fmla="*/ 5191818 w 10297664"/>
                <a:gd name="connsiteY274" fmla="*/ 820939 h 6101463"/>
                <a:gd name="connsiteX275" fmla="*/ 5192281 w 10297664"/>
                <a:gd name="connsiteY275" fmla="*/ 834151 h 6101463"/>
                <a:gd name="connsiteX276" fmla="*/ 5205282 w 10297664"/>
                <a:gd name="connsiteY276" fmla="*/ 836486 h 6101463"/>
                <a:gd name="connsiteX277" fmla="*/ 5499055 w 10297664"/>
                <a:gd name="connsiteY277" fmla="*/ 741879 h 6101463"/>
                <a:gd name="connsiteX278" fmla="*/ 5582049 w 10297664"/>
                <a:gd name="connsiteY278" fmla="*/ 744172 h 6101463"/>
                <a:gd name="connsiteX279" fmla="*/ 5597407 w 10297664"/>
                <a:gd name="connsiteY279" fmla="*/ 747896 h 6101463"/>
                <a:gd name="connsiteX280" fmla="*/ 5661341 w 10297664"/>
                <a:gd name="connsiteY280" fmla="*/ 747033 h 6101463"/>
                <a:gd name="connsiteX281" fmla="*/ 5700661 w 10297664"/>
                <a:gd name="connsiteY281" fmla="*/ 724649 h 6101463"/>
                <a:gd name="connsiteX282" fmla="*/ 5747744 w 10297664"/>
                <a:gd name="connsiteY282" fmla="*/ 701865 h 6101463"/>
                <a:gd name="connsiteX283" fmla="*/ 5761439 w 10297664"/>
                <a:gd name="connsiteY283" fmla="*/ 715729 h 6101463"/>
                <a:gd name="connsiteX284" fmla="*/ 5793585 w 10297664"/>
                <a:gd name="connsiteY284" fmla="*/ 743205 h 6101463"/>
                <a:gd name="connsiteX285" fmla="*/ 5904623 w 10297664"/>
                <a:gd name="connsiteY285" fmla="*/ 705547 h 6101463"/>
                <a:gd name="connsiteX286" fmla="*/ 5947961 w 10297664"/>
                <a:gd name="connsiteY286" fmla="*/ 622363 h 6101463"/>
                <a:gd name="connsiteX287" fmla="*/ 5938473 w 10297664"/>
                <a:gd name="connsiteY287" fmla="*/ 612475 h 6101463"/>
                <a:gd name="connsiteX288" fmla="*/ 5902435 w 10297664"/>
                <a:gd name="connsiteY288" fmla="*/ 622700 h 6101463"/>
                <a:gd name="connsiteX289" fmla="*/ 5883480 w 10297664"/>
                <a:gd name="connsiteY289" fmla="*/ 631788 h 6101463"/>
                <a:gd name="connsiteX290" fmla="*/ 5928985 w 10297664"/>
                <a:gd name="connsiteY290" fmla="*/ 571977 h 6101463"/>
                <a:gd name="connsiteX291" fmla="*/ 5994665 w 10297664"/>
                <a:gd name="connsiteY291" fmla="*/ 520729 h 6101463"/>
                <a:gd name="connsiteX292" fmla="*/ 6010107 w 10297664"/>
                <a:gd name="connsiteY292" fmla="*/ 533142 h 6101463"/>
                <a:gd name="connsiteX293" fmla="*/ 6014062 w 10297664"/>
                <a:gd name="connsiteY293" fmla="*/ 538422 h 6101463"/>
                <a:gd name="connsiteX294" fmla="*/ 6072968 w 10297664"/>
                <a:gd name="connsiteY294" fmla="*/ 577531 h 6101463"/>
                <a:gd name="connsiteX295" fmla="*/ 6078900 w 10297664"/>
                <a:gd name="connsiteY295" fmla="*/ 580350 h 6101463"/>
                <a:gd name="connsiteX296" fmla="*/ 6086264 w 10297664"/>
                <a:gd name="connsiteY296" fmla="*/ 583611 h 6101463"/>
                <a:gd name="connsiteX297" fmla="*/ 6102126 w 10297664"/>
                <a:gd name="connsiteY297" fmla="*/ 613170 h 6101463"/>
                <a:gd name="connsiteX298" fmla="*/ 6080689 w 10297664"/>
                <a:gd name="connsiteY298" fmla="*/ 654214 h 6101463"/>
                <a:gd name="connsiteX299" fmla="*/ 6061859 w 10297664"/>
                <a:gd name="connsiteY299" fmla="*/ 688632 h 6101463"/>
                <a:gd name="connsiteX300" fmla="*/ 6063101 w 10297664"/>
                <a:gd name="connsiteY300" fmla="*/ 710869 h 6101463"/>
                <a:gd name="connsiteX301" fmla="*/ 6134735 w 10297664"/>
                <a:gd name="connsiteY301" fmla="*/ 713078 h 6101463"/>
                <a:gd name="connsiteX302" fmla="*/ 6143865 w 10297664"/>
                <a:gd name="connsiteY302" fmla="*/ 711269 h 6101463"/>
                <a:gd name="connsiteX303" fmla="*/ 6182070 w 10297664"/>
                <a:gd name="connsiteY303" fmla="*/ 696501 h 6101463"/>
                <a:gd name="connsiteX304" fmla="*/ 6201131 w 10297664"/>
                <a:gd name="connsiteY304" fmla="*/ 645989 h 6101463"/>
                <a:gd name="connsiteX305" fmla="*/ 6199784 w 10297664"/>
                <a:gd name="connsiteY305" fmla="*/ 632903 h 6101463"/>
                <a:gd name="connsiteX306" fmla="*/ 6271691 w 10297664"/>
                <a:gd name="connsiteY306" fmla="*/ 492370 h 6101463"/>
                <a:gd name="connsiteX307" fmla="*/ 6315387 w 10297664"/>
                <a:gd name="connsiteY307" fmla="*/ 449411 h 6101463"/>
                <a:gd name="connsiteX308" fmla="*/ 6319531 w 10297664"/>
                <a:gd name="connsiteY308" fmla="*/ 449137 h 6101463"/>
                <a:gd name="connsiteX309" fmla="*/ 6323592 w 10297664"/>
                <a:gd name="connsiteY309" fmla="*/ 463022 h 6101463"/>
                <a:gd name="connsiteX310" fmla="*/ 6338991 w 10297664"/>
                <a:gd name="connsiteY310" fmla="*/ 493380 h 6101463"/>
                <a:gd name="connsiteX311" fmla="*/ 6368549 w 10297664"/>
                <a:gd name="connsiteY311" fmla="*/ 493780 h 6101463"/>
                <a:gd name="connsiteX312" fmla="*/ 6424805 w 10297664"/>
                <a:gd name="connsiteY312" fmla="*/ 449579 h 6101463"/>
                <a:gd name="connsiteX313" fmla="*/ 6452806 w 10297664"/>
                <a:gd name="connsiteY313" fmla="*/ 422356 h 6101463"/>
                <a:gd name="connsiteX314" fmla="*/ 6471341 w 10297664"/>
                <a:gd name="connsiteY314" fmla="*/ 410196 h 6101463"/>
                <a:gd name="connsiteX315" fmla="*/ 6527848 w 10297664"/>
                <a:gd name="connsiteY315" fmla="*/ 357181 h 6101463"/>
                <a:gd name="connsiteX316" fmla="*/ 6523746 w 10297664"/>
                <a:gd name="connsiteY316" fmla="*/ 331767 h 6101463"/>
                <a:gd name="connsiteX317" fmla="*/ 6455436 w 10297664"/>
                <a:gd name="connsiteY317" fmla="*/ 334271 h 6101463"/>
                <a:gd name="connsiteX318" fmla="*/ 6446180 w 10297664"/>
                <a:gd name="connsiteY318" fmla="*/ 336942 h 6101463"/>
                <a:gd name="connsiteX319" fmla="*/ 6407953 w 10297664"/>
                <a:gd name="connsiteY319" fmla="*/ 331199 h 6101463"/>
                <a:gd name="connsiteX320" fmla="*/ 6417946 w 10297664"/>
                <a:gd name="connsiteY320" fmla="*/ 304165 h 6101463"/>
                <a:gd name="connsiteX321" fmla="*/ 6466333 w 10297664"/>
                <a:gd name="connsiteY321" fmla="*/ 276711 h 6101463"/>
                <a:gd name="connsiteX322" fmla="*/ 6511292 w 10297664"/>
                <a:gd name="connsiteY322" fmla="*/ 264551 h 6101463"/>
                <a:gd name="connsiteX323" fmla="*/ 6594560 w 10297664"/>
                <a:gd name="connsiteY323" fmla="*/ 251781 h 6101463"/>
                <a:gd name="connsiteX324" fmla="*/ 6619405 w 10297664"/>
                <a:gd name="connsiteY324" fmla="*/ 263352 h 6101463"/>
                <a:gd name="connsiteX325" fmla="*/ 6676965 w 10297664"/>
                <a:gd name="connsiteY325" fmla="*/ 280140 h 6101463"/>
                <a:gd name="connsiteX326" fmla="*/ 6742266 w 10297664"/>
                <a:gd name="connsiteY326" fmla="*/ 261101 h 6101463"/>
                <a:gd name="connsiteX327" fmla="*/ 6770689 w 10297664"/>
                <a:gd name="connsiteY327" fmla="*/ 250140 h 6101463"/>
                <a:gd name="connsiteX328" fmla="*/ 6814552 w 10297664"/>
                <a:gd name="connsiteY328" fmla="*/ 246227 h 6101463"/>
                <a:gd name="connsiteX329" fmla="*/ 6851831 w 10297664"/>
                <a:gd name="connsiteY329" fmla="*/ 244902 h 6101463"/>
                <a:gd name="connsiteX330" fmla="*/ 6886523 w 10297664"/>
                <a:gd name="connsiteY330" fmla="*/ 232006 h 6101463"/>
                <a:gd name="connsiteX331" fmla="*/ 6922624 w 10297664"/>
                <a:gd name="connsiteY331" fmla="*/ 220477 h 6101463"/>
                <a:gd name="connsiteX332" fmla="*/ 6929482 w 10297664"/>
                <a:gd name="connsiteY332" fmla="*/ 221886 h 6101463"/>
                <a:gd name="connsiteX333" fmla="*/ 6951993 w 10297664"/>
                <a:gd name="connsiteY333" fmla="*/ 222665 h 6101463"/>
                <a:gd name="connsiteX334" fmla="*/ 6979027 w 10297664"/>
                <a:gd name="connsiteY334" fmla="*/ 204320 h 6101463"/>
                <a:gd name="connsiteX335" fmla="*/ 6991754 w 10297664"/>
                <a:gd name="connsiteY335" fmla="*/ 193696 h 6101463"/>
                <a:gd name="connsiteX336" fmla="*/ 7062967 w 10297664"/>
                <a:gd name="connsiteY336" fmla="*/ 200933 h 6101463"/>
                <a:gd name="connsiteX337" fmla="*/ 7076285 w 10297664"/>
                <a:gd name="connsiteY337" fmla="*/ 222139 h 6101463"/>
                <a:gd name="connsiteX338" fmla="*/ 7135358 w 10297664"/>
                <a:gd name="connsiteY338" fmla="*/ 260491 h 6101463"/>
                <a:gd name="connsiteX339" fmla="*/ 7154545 w 10297664"/>
                <a:gd name="connsiteY339" fmla="*/ 254179 h 6101463"/>
                <a:gd name="connsiteX340" fmla="*/ 7175162 w 10297664"/>
                <a:gd name="connsiteY340" fmla="*/ 247847 h 6101463"/>
                <a:gd name="connsiteX341" fmla="*/ 7175457 w 10297664"/>
                <a:gd name="connsiteY341" fmla="*/ 250035 h 6101463"/>
                <a:gd name="connsiteX342" fmla="*/ 7174068 w 10297664"/>
                <a:gd name="connsiteY342" fmla="*/ 262006 h 6101463"/>
                <a:gd name="connsiteX343" fmla="*/ 7161004 w 10297664"/>
                <a:gd name="connsiteY343" fmla="*/ 293689 h 6101463"/>
                <a:gd name="connsiteX344" fmla="*/ 7152505 w 10297664"/>
                <a:gd name="connsiteY344" fmla="*/ 311339 h 6101463"/>
                <a:gd name="connsiteX345" fmla="*/ 7148676 w 10297664"/>
                <a:gd name="connsiteY345" fmla="*/ 320491 h 6101463"/>
                <a:gd name="connsiteX346" fmla="*/ 7128122 w 10297664"/>
                <a:gd name="connsiteY346" fmla="*/ 360694 h 6101463"/>
                <a:gd name="connsiteX347" fmla="*/ 7105632 w 10297664"/>
                <a:gd name="connsiteY347" fmla="*/ 381774 h 6101463"/>
                <a:gd name="connsiteX348" fmla="*/ 7069363 w 10297664"/>
                <a:gd name="connsiteY348" fmla="*/ 424965 h 6101463"/>
                <a:gd name="connsiteX349" fmla="*/ 7062231 w 10297664"/>
                <a:gd name="connsiteY349" fmla="*/ 460266 h 6101463"/>
                <a:gd name="connsiteX350" fmla="*/ 7060548 w 10297664"/>
                <a:gd name="connsiteY350" fmla="*/ 474257 h 6101463"/>
                <a:gd name="connsiteX351" fmla="*/ 7040225 w 10297664"/>
                <a:gd name="connsiteY351" fmla="*/ 506949 h 6101463"/>
                <a:gd name="connsiteX352" fmla="*/ 7015358 w 10297664"/>
                <a:gd name="connsiteY352" fmla="*/ 545491 h 6101463"/>
                <a:gd name="connsiteX353" fmla="*/ 7014665 w 10297664"/>
                <a:gd name="connsiteY353" fmla="*/ 575301 h 6101463"/>
                <a:gd name="connsiteX354" fmla="*/ 7015337 w 10297664"/>
                <a:gd name="connsiteY354" fmla="*/ 582012 h 6101463"/>
                <a:gd name="connsiteX355" fmla="*/ 6983928 w 10297664"/>
                <a:gd name="connsiteY355" fmla="*/ 617356 h 6101463"/>
                <a:gd name="connsiteX356" fmla="*/ 6966404 w 10297664"/>
                <a:gd name="connsiteY356" fmla="*/ 623205 h 6101463"/>
                <a:gd name="connsiteX357" fmla="*/ 6920814 w 10297664"/>
                <a:gd name="connsiteY357" fmla="*/ 656045 h 6101463"/>
                <a:gd name="connsiteX358" fmla="*/ 6916691 w 10297664"/>
                <a:gd name="connsiteY358" fmla="*/ 659768 h 6101463"/>
                <a:gd name="connsiteX359" fmla="*/ 6828522 w 10297664"/>
                <a:gd name="connsiteY359" fmla="*/ 727468 h 6101463"/>
                <a:gd name="connsiteX360" fmla="*/ 6815373 w 10297664"/>
                <a:gd name="connsiteY360" fmla="*/ 735862 h 6101463"/>
                <a:gd name="connsiteX361" fmla="*/ 6755078 w 10297664"/>
                <a:gd name="connsiteY361" fmla="*/ 784775 h 6101463"/>
                <a:gd name="connsiteX362" fmla="*/ 6722028 w 10297664"/>
                <a:gd name="connsiteY362" fmla="*/ 840463 h 6101463"/>
                <a:gd name="connsiteX363" fmla="*/ 6715885 w 10297664"/>
                <a:gd name="connsiteY363" fmla="*/ 852307 h 6101463"/>
                <a:gd name="connsiteX364" fmla="*/ 6714117 w 10297664"/>
                <a:gd name="connsiteY364" fmla="*/ 855694 h 6101463"/>
                <a:gd name="connsiteX365" fmla="*/ 6663627 w 10297664"/>
                <a:gd name="connsiteY365" fmla="*/ 919881 h 6101463"/>
                <a:gd name="connsiteX366" fmla="*/ 6648185 w 10297664"/>
                <a:gd name="connsiteY366" fmla="*/ 916767 h 6101463"/>
                <a:gd name="connsiteX367" fmla="*/ 6622203 w 10297664"/>
                <a:gd name="connsiteY367" fmla="*/ 810778 h 6101463"/>
                <a:gd name="connsiteX368" fmla="*/ 6620983 w 10297664"/>
                <a:gd name="connsiteY368" fmla="*/ 775140 h 6101463"/>
                <a:gd name="connsiteX369" fmla="*/ 6620310 w 10297664"/>
                <a:gd name="connsiteY369" fmla="*/ 768155 h 6101463"/>
                <a:gd name="connsiteX370" fmla="*/ 6634342 w 10297664"/>
                <a:gd name="connsiteY370" fmla="*/ 709628 h 6101463"/>
                <a:gd name="connsiteX371" fmla="*/ 6637308 w 10297664"/>
                <a:gd name="connsiteY371" fmla="*/ 705736 h 6101463"/>
                <a:gd name="connsiteX372" fmla="*/ 6665310 w 10297664"/>
                <a:gd name="connsiteY372" fmla="*/ 649860 h 6101463"/>
                <a:gd name="connsiteX373" fmla="*/ 6662070 w 10297664"/>
                <a:gd name="connsiteY373" fmla="*/ 620996 h 6101463"/>
                <a:gd name="connsiteX374" fmla="*/ 6660513 w 10297664"/>
                <a:gd name="connsiteY374" fmla="*/ 588345 h 6101463"/>
                <a:gd name="connsiteX375" fmla="*/ 6667918 w 10297664"/>
                <a:gd name="connsiteY375" fmla="*/ 560890 h 6101463"/>
                <a:gd name="connsiteX376" fmla="*/ 6676691 w 10297664"/>
                <a:gd name="connsiteY376" fmla="*/ 505308 h 6101463"/>
                <a:gd name="connsiteX377" fmla="*/ 6675976 w 10297664"/>
                <a:gd name="connsiteY377" fmla="*/ 500470 h 6101463"/>
                <a:gd name="connsiteX378" fmla="*/ 6648143 w 10297664"/>
                <a:gd name="connsiteY378" fmla="*/ 436977 h 6101463"/>
                <a:gd name="connsiteX379" fmla="*/ 6609391 w 10297664"/>
                <a:gd name="connsiteY379" fmla="*/ 439207 h 6101463"/>
                <a:gd name="connsiteX380" fmla="*/ 6599924 w 10297664"/>
                <a:gd name="connsiteY380" fmla="*/ 444425 h 6101463"/>
                <a:gd name="connsiteX381" fmla="*/ 6587049 w 10297664"/>
                <a:gd name="connsiteY381" fmla="*/ 450463 h 6101463"/>
                <a:gd name="connsiteX382" fmla="*/ 6586838 w 10297664"/>
                <a:gd name="connsiteY382" fmla="*/ 450379 h 6101463"/>
                <a:gd name="connsiteX383" fmla="*/ 6585155 w 10297664"/>
                <a:gd name="connsiteY383" fmla="*/ 438240 h 6101463"/>
                <a:gd name="connsiteX384" fmla="*/ 6575751 w 10297664"/>
                <a:gd name="connsiteY384" fmla="*/ 413163 h 6101463"/>
                <a:gd name="connsiteX385" fmla="*/ 6549538 w 10297664"/>
                <a:gd name="connsiteY385" fmla="*/ 414530 h 6101463"/>
                <a:gd name="connsiteX386" fmla="*/ 6505401 w 10297664"/>
                <a:gd name="connsiteY386" fmla="*/ 450000 h 6101463"/>
                <a:gd name="connsiteX387" fmla="*/ 6481712 w 10297664"/>
                <a:gd name="connsiteY387" fmla="*/ 472489 h 6101463"/>
                <a:gd name="connsiteX388" fmla="*/ 6427771 w 10297664"/>
                <a:gd name="connsiteY388" fmla="*/ 501143 h 6101463"/>
                <a:gd name="connsiteX389" fmla="*/ 6426551 w 10297664"/>
                <a:gd name="connsiteY389" fmla="*/ 501627 h 6101463"/>
                <a:gd name="connsiteX390" fmla="*/ 6369454 w 10297664"/>
                <a:gd name="connsiteY390" fmla="*/ 539684 h 6101463"/>
                <a:gd name="connsiteX391" fmla="*/ 6371137 w 10297664"/>
                <a:gd name="connsiteY391" fmla="*/ 554158 h 6101463"/>
                <a:gd name="connsiteX392" fmla="*/ 6397266 w 10297664"/>
                <a:gd name="connsiteY392" fmla="*/ 564299 h 6101463"/>
                <a:gd name="connsiteX393" fmla="*/ 6399370 w 10297664"/>
                <a:gd name="connsiteY393" fmla="*/ 564467 h 6101463"/>
                <a:gd name="connsiteX394" fmla="*/ 6432526 w 10297664"/>
                <a:gd name="connsiteY394" fmla="*/ 563226 h 6101463"/>
                <a:gd name="connsiteX395" fmla="*/ 6471404 w 10297664"/>
                <a:gd name="connsiteY395" fmla="*/ 563794 h 6101463"/>
                <a:gd name="connsiteX396" fmla="*/ 6480134 w 10297664"/>
                <a:gd name="connsiteY396" fmla="*/ 566844 h 6101463"/>
                <a:gd name="connsiteX397" fmla="*/ 6518697 w 10297664"/>
                <a:gd name="connsiteY397" fmla="*/ 592679 h 6101463"/>
                <a:gd name="connsiteX398" fmla="*/ 6511670 w 10297664"/>
                <a:gd name="connsiteY398" fmla="*/ 618850 h 6101463"/>
                <a:gd name="connsiteX399" fmla="*/ 6502245 w 10297664"/>
                <a:gd name="connsiteY399" fmla="*/ 642559 h 6101463"/>
                <a:gd name="connsiteX400" fmla="*/ 6527575 w 10297664"/>
                <a:gd name="connsiteY400" fmla="*/ 683857 h 6101463"/>
                <a:gd name="connsiteX401" fmla="*/ 6538178 w 10297664"/>
                <a:gd name="connsiteY401" fmla="*/ 690084 h 6101463"/>
                <a:gd name="connsiteX402" fmla="*/ 6538746 w 10297664"/>
                <a:gd name="connsiteY402" fmla="*/ 709502 h 6101463"/>
                <a:gd name="connsiteX403" fmla="*/ 6513522 w 10297664"/>
                <a:gd name="connsiteY403" fmla="*/ 733022 h 6101463"/>
                <a:gd name="connsiteX404" fmla="*/ 6474833 w 10297664"/>
                <a:gd name="connsiteY404" fmla="*/ 775645 h 6101463"/>
                <a:gd name="connsiteX405" fmla="*/ 6468879 w 10297664"/>
                <a:gd name="connsiteY405" fmla="*/ 787700 h 6101463"/>
                <a:gd name="connsiteX406" fmla="*/ 6427835 w 10297664"/>
                <a:gd name="connsiteY406" fmla="*/ 829775 h 6101463"/>
                <a:gd name="connsiteX407" fmla="*/ 6392638 w 10297664"/>
                <a:gd name="connsiteY407" fmla="*/ 815301 h 6101463"/>
                <a:gd name="connsiteX408" fmla="*/ 6369054 w 10297664"/>
                <a:gd name="connsiteY408" fmla="*/ 801774 h 6101463"/>
                <a:gd name="connsiteX409" fmla="*/ 6364931 w 10297664"/>
                <a:gd name="connsiteY409" fmla="*/ 800386 h 6101463"/>
                <a:gd name="connsiteX410" fmla="*/ 6341179 w 10297664"/>
                <a:gd name="connsiteY410" fmla="*/ 787426 h 6101463"/>
                <a:gd name="connsiteX411" fmla="*/ 6343115 w 10297664"/>
                <a:gd name="connsiteY411" fmla="*/ 780105 h 6101463"/>
                <a:gd name="connsiteX412" fmla="*/ 6363480 w 10297664"/>
                <a:gd name="connsiteY412" fmla="*/ 761592 h 6101463"/>
                <a:gd name="connsiteX413" fmla="*/ 6383760 w 10297664"/>
                <a:gd name="connsiteY413" fmla="*/ 750210 h 6101463"/>
                <a:gd name="connsiteX414" fmla="*/ 6412456 w 10297664"/>
                <a:gd name="connsiteY414" fmla="*/ 733506 h 6101463"/>
                <a:gd name="connsiteX415" fmla="*/ 6415359 w 10297664"/>
                <a:gd name="connsiteY415" fmla="*/ 731571 h 6101463"/>
                <a:gd name="connsiteX416" fmla="*/ 6462021 w 10297664"/>
                <a:gd name="connsiteY416" fmla="*/ 678219 h 6101463"/>
                <a:gd name="connsiteX417" fmla="*/ 6436776 w 10297664"/>
                <a:gd name="connsiteY417" fmla="*/ 645757 h 6101463"/>
                <a:gd name="connsiteX418" fmla="*/ 6423900 w 10297664"/>
                <a:gd name="connsiteY418" fmla="*/ 637552 h 6101463"/>
                <a:gd name="connsiteX419" fmla="*/ 6422743 w 10297664"/>
                <a:gd name="connsiteY419" fmla="*/ 629116 h 6101463"/>
                <a:gd name="connsiteX420" fmla="*/ 6400254 w 10297664"/>
                <a:gd name="connsiteY420" fmla="*/ 603135 h 6101463"/>
                <a:gd name="connsiteX421" fmla="*/ 6355948 w 10297664"/>
                <a:gd name="connsiteY421" fmla="*/ 619418 h 6101463"/>
                <a:gd name="connsiteX422" fmla="*/ 6327042 w 10297664"/>
                <a:gd name="connsiteY422" fmla="*/ 662987 h 6101463"/>
                <a:gd name="connsiteX423" fmla="*/ 6300787 w 10297664"/>
                <a:gd name="connsiteY423" fmla="*/ 702559 h 6101463"/>
                <a:gd name="connsiteX424" fmla="*/ 6260667 w 10297664"/>
                <a:gd name="connsiteY424" fmla="*/ 728625 h 6101463"/>
                <a:gd name="connsiteX425" fmla="*/ 6242827 w 10297664"/>
                <a:gd name="connsiteY425" fmla="*/ 739144 h 6101463"/>
                <a:gd name="connsiteX426" fmla="*/ 6214721 w 10297664"/>
                <a:gd name="connsiteY426" fmla="*/ 765568 h 6101463"/>
                <a:gd name="connsiteX427" fmla="*/ 6206579 w 10297664"/>
                <a:gd name="connsiteY427" fmla="*/ 774719 h 6101463"/>
                <a:gd name="connsiteX428" fmla="*/ 6138332 w 10297664"/>
                <a:gd name="connsiteY428" fmla="*/ 831711 h 6101463"/>
                <a:gd name="connsiteX429" fmla="*/ 6060177 w 10297664"/>
                <a:gd name="connsiteY429" fmla="*/ 898695 h 6101463"/>
                <a:gd name="connsiteX430" fmla="*/ 6040422 w 10297664"/>
                <a:gd name="connsiteY430" fmla="*/ 951690 h 6101463"/>
                <a:gd name="connsiteX431" fmla="*/ 6095226 w 10297664"/>
                <a:gd name="connsiteY431" fmla="*/ 1022798 h 6101463"/>
                <a:gd name="connsiteX432" fmla="*/ 6096656 w 10297664"/>
                <a:gd name="connsiteY432" fmla="*/ 1023660 h 6101463"/>
                <a:gd name="connsiteX433" fmla="*/ 6119504 w 10297664"/>
                <a:gd name="connsiteY433" fmla="*/ 1041690 h 6101463"/>
                <a:gd name="connsiteX434" fmla="*/ 6198438 w 10297664"/>
                <a:gd name="connsiteY434" fmla="*/ 1066851 h 6101463"/>
                <a:gd name="connsiteX435" fmla="*/ 6265548 w 10297664"/>
                <a:gd name="connsiteY435" fmla="*/ 986381 h 6101463"/>
                <a:gd name="connsiteX436" fmla="*/ 6267547 w 10297664"/>
                <a:gd name="connsiteY436" fmla="*/ 966942 h 6101463"/>
                <a:gd name="connsiteX437" fmla="*/ 6316208 w 10297664"/>
                <a:gd name="connsiteY437" fmla="*/ 903113 h 6101463"/>
                <a:gd name="connsiteX438" fmla="*/ 6367645 w 10297664"/>
                <a:gd name="connsiteY438" fmla="*/ 906458 h 6101463"/>
                <a:gd name="connsiteX439" fmla="*/ 6370296 w 10297664"/>
                <a:gd name="connsiteY439" fmla="*/ 916683 h 6101463"/>
                <a:gd name="connsiteX440" fmla="*/ 6380920 w 10297664"/>
                <a:gd name="connsiteY440" fmla="*/ 942601 h 6101463"/>
                <a:gd name="connsiteX441" fmla="*/ 6424342 w 10297664"/>
                <a:gd name="connsiteY441" fmla="*/ 933766 h 6101463"/>
                <a:gd name="connsiteX442" fmla="*/ 6438227 w 10297664"/>
                <a:gd name="connsiteY442" fmla="*/ 915757 h 6101463"/>
                <a:gd name="connsiteX443" fmla="*/ 6451839 w 10297664"/>
                <a:gd name="connsiteY443" fmla="*/ 898485 h 6101463"/>
                <a:gd name="connsiteX444" fmla="*/ 6459160 w 10297664"/>
                <a:gd name="connsiteY444" fmla="*/ 959474 h 6101463"/>
                <a:gd name="connsiteX445" fmla="*/ 6469384 w 10297664"/>
                <a:gd name="connsiteY445" fmla="*/ 1023766 h 6101463"/>
                <a:gd name="connsiteX446" fmla="*/ 6477568 w 10297664"/>
                <a:gd name="connsiteY446" fmla="*/ 1034831 h 6101463"/>
                <a:gd name="connsiteX447" fmla="*/ 6495702 w 10297664"/>
                <a:gd name="connsiteY447" fmla="*/ 1065168 h 6101463"/>
                <a:gd name="connsiteX448" fmla="*/ 6487666 w 10297664"/>
                <a:gd name="connsiteY448" fmla="*/ 1106255 h 6101463"/>
                <a:gd name="connsiteX449" fmla="*/ 6489959 w 10297664"/>
                <a:gd name="connsiteY449" fmla="*/ 1171578 h 6101463"/>
                <a:gd name="connsiteX450" fmla="*/ 6502182 w 10297664"/>
                <a:gd name="connsiteY450" fmla="*/ 1205722 h 6101463"/>
                <a:gd name="connsiteX451" fmla="*/ 6486656 w 10297664"/>
                <a:gd name="connsiteY451" fmla="*/ 1210456 h 6101463"/>
                <a:gd name="connsiteX452" fmla="*/ 6457687 w 10297664"/>
                <a:gd name="connsiteY452" fmla="*/ 1204860 h 6101463"/>
                <a:gd name="connsiteX453" fmla="*/ 6383255 w 10297664"/>
                <a:gd name="connsiteY453" fmla="*/ 1204102 h 6101463"/>
                <a:gd name="connsiteX454" fmla="*/ 6351509 w 10297664"/>
                <a:gd name="connsiteY454" fmla="*/ 1238120 h 6101463"/>
                <a:gd name="connsiteX455" fmla="*/ 6349279 w 10297664"/>
                <a:gd name="connsiteY455" fmla="*/ 1249817 h 6101463"/>
                <a:gd name="connsiteX456" fmla="*/ 6347638 w 10297664"/>
                <a:gd name="connsiteY456" fmla="*/ 1258548 h 6101463"/>
                <a:gd name="connsiteX457" fmla="*/ 6303900 w 10297664"/>
                <a:gd name="connsiteY457" fmla="*/ 1286570 h 6101463"/>
                <a:gd name="connsiteX458" fmla="*/ 6179546 w 10297664"/>
                <a:gd name="connsiteY458" fmla="*/ 1366556 h 6101463"/>
                <a:gd name="connsiteX459" fmla="*/ 6132862 w 10297664"/>
                <a:gd name="connsiteY459" fmla="*/ 1435876 h 6101463"/>
                <a:gd name="connsiteX460" fmla="*/ 6106902 w 10297664"/>
                <a:gd name="connsiteY460" fmla="*/ 1479845 h 6101463"/>
                <a:gd name="connsiteX461" fmla="*/ 6064637 w 10297664"/>
                <a:gd name="connsiteY461" fmla="*/ 1521627 h 6101463"/>
                <a:gd name="connsiteX462" fmla="*/ 6009791 w 10297664"/>
                <a:gd name="connsiteY462" fmla="*/ 1582426 h 6101463"/>
                <a:gd name="connsiteX463" fmla="*/ 6002575 w 10297664"/>
                <a:gd name="connsiteY463" fmla="*/ 1650673 h 6101463"/>
                <a:gd name="connsiteX464" fmla="*/ 6004889 w 10297664"/>
                <a:gd name="connsiteY464" fmla="*/ 1674088 h 6101463"/>
                <a:gd name="connsiteX465" fmla="*/ 5997610 w 10297664"/>
                <a:gd name="connsiteY465" fmla="*/ 1699144 h 6101463"/>
                <a:gd name="connsiteX466" fmla="*/ 5964455 w 10297664"/>
                <a:gd name="connsiteY466" fmla="*/ 1677160 h 6101463"/>
                <a:gd name="connsiteX467" fmla="*/ 5878431 w 10297664"/>
                <a:gd name="connsiteY467" fmla="*/ 1625469 h 6101463"/>
                <a:gd name="connsiteX468" fmla="*/ 5772652 w 10297664"/>
                <a:gd name="connsiteY468" fmla="*/ 1649095 h 6101463"/>
                <a:gd name="connsiteX469" fmla="*/ 5729293 w 10297664"/>
                <a:gd name="connsiteY469" fmla="*/ 1771304 h 6101463"/>
                <a:gd name="connsiteX470" fmla="*/ 5777827 w 10297664"/>
                <a:gd name="connsiteY470" fmla="*/ 1826570 h 6101463"/>
                <a:gd name="connsiteX471" fmla="*/ 5811236 w 10297664"/>
                <a:gd name="connsiteY471" fmla="*/ 1833555 h 6101463"/>
                <a:gd name="connsiteX472" fmla="*/ 5833157 w 10297664"/>
                <a:gd name="connsiteY472" fmla="*/ 1837468 h 6101463"/>
                <a:gd name="connsiteX473" fmla="*/ 5928122 w 10297664"/>
                <a:gd name="connsiteY473" fmla="*/ 1922019 h 6101463"/>
                <a:gd name="connsiteX474" fmla="*/ 5987848 w 10297664"/>
                <a:gd name="connsiteY474" fmla="*/ 1994495 h 6101463"/>
                <a:gd name="connsiteX475" fmla="*/ 6066404 w 10297664"/>
                <a:gd name="connsiteY475" fmla="*/ 2023064 h 6101463"/>
                <a:gd name="connsiteX476" fmla="*/ 6112939 w 10297664"/>
                <a:gd name="connsiteY476" fmla="*/ 2031521 h 6101463"/>
                <a:gd name="connsiteX477" fmla="*/ 6171593 w 10297664"/>
                <a:gd name="connsiteY477" fmla="*/ 2077615 h 6101463"/>
                <a:gd name="connsiteX478" fmla="*/ 6172140 w 10297664"/>
                <a:gd name="connsiteY478" fmla="*/ 2078246 h 6101463"/>
                <a:gd name="connsiteX479" fmla="*/ 6227638 w 10297664"/>
                <a:gd name="connsiteY479" fmla="*/ 2122489 h 6101463"/>
                <a:gd name="connsiteX480" fmla="*/ 6261151 w 10297664"/>
                <a:gd name="connsiteY480" fmla="*/ 2124614 h 6101463"/>
                <a:gd name="connsiteX481" fmla="*/ 6295443 w 10297664"/>
                <a:gd name="connsiteY481" fmla="*/ 2130546 h 6101463"/>
                <a:gd name="connsiteX482" fmla="*/ 6330113 w 10297664"/>
                <a:gd name="connsiteY482" fmla="*/ 2178723 h 6101463"/>
                <a:gd name="connsiteX483" fmla="*/ 6334132 w 10297664"/>
                <a:gd name="connsiteY483" fmla="*/ 2200560 h 6101463"/>
                <a:gd name="connsiteX484" fmla="*/ 6342294 w 10297664"/>
                <a:gd name="connsiteY484" fmla="*/ 2233674 h 6101463"/>
                <a:gd name="connsiteX485" fmla="*/ 6385128 w 10297664"/>
                <a:gd name="connsiteY485" fmla="*/ 2255743 h 6101463"/>
                <a:gd name="connsiteX486" fmla="*/ 6395920 w 10297664"/>
                <a:gd name="connsiteY486" fmla="*/ 2256837 h 6101463"/>
                <a:gd name="connsiteX487" fmla="*/ 6427203 w 10297664"/>
                <a:gd name="connsiteY487" fmla="*/ 2267755 h 6101463"/>
                <a:gd name="connsiteX488" fmla="*/ 6458045 w 10297664"/>
                <a:gd name="connsiteY488" fmla="*/ 2279158 h 6101463"/>
                <a:gd name="connsiteX489" fmla="*/ 6492273 w 10297664"/>
                <a:gd name="connsiteY489" fmla="*/ 2284670 h 6101463"/>
                <a:gd name="connsiteX490" fmla="*/ 6537757 w 10297664"/>
                <a:gd name="connsiteY490" fmla="*/ 2293969 h 6101463"/>
                <a:gd name="connsiteX491" fmla="*/ 6555640 w 10297664"/>
                <a:gd name="connsiteY491" fmla="*/ 2310694 h 6101463"/>
                <a:gd name="connsiteX492" fmla="*/ 6576088 w 10297664"/>
                <a:gd name="connsiteY492" fmla="*/ 2330680 h 6101463"/>
                <a:gd name="connsiteX493" fmla="*/ 6605373 w 10297664"/>
                <a:gd name="connsiteY493" fmla="*/ 2336886 h 6101463"/>
                <a:gd name="connsiteX494" fmla="*/ 6620752 w 10297664"/>
                <a:gd name="connsiteY494" fmla="*/ 2338506 h 6101463"/>
                <a:gd name="connsiteX495" fmla="*/ 6634784 w 10297664"/>
                <a:gd name="connsiteY495" fmla="*/ 2357272 h 6101463"/>
                <a:gd name="connsiteX496" fmla="*/ 6637119 w 10297664"/>
                <a:gd name="connsiteY496" fmla="*/ 2369747 h 6101463"/>
                <a:gd name="connsiteX497" fmla="*/ 6607876 w 10297664"/>
                <a:gd name="connsiteY497" fmla="*/ 2436942 h 6101463"/>
                <a:gd name="connsiteX498" fmla="*/ 6573690 w 10297664"/>
                <a:gd name="connsiteY498" fmla="*/ 2510406 h 6101463"/>
                <a:gd name="connsiteX499" fmla="*/ 6576803 w 10297664"/>
                <a:gd name="connsiteY499" fmla="*/ 2544424 h 6101463"/>
                <a:gd name="connsiteX500" fmla="*/ 6578739 w 10297664"/>
                <a:gd name="connsiteY500" fmla="*/ 2587342 h 6101463"/>
                <a:gd name="connsiteX501" fmla="*/ 6568872 w 10297664"/>
                <a:gd name="connsiteY501" fmla="*/ 2626367 h 6101463"/>
                <a:gd name="connsiteX502" fmla="*/ 6558521 w 10297664"/>
                <a:gd name="connsiteY502" fmla="*/ 2667349 h 6101463"/>
                <a:gd name="connsiteX503" fmla="*/ 6513816 w 10297664"/>
                <a:gd name="connsiteY503" fmla="*/ 2714368 h 6101463"/>
                <a:gd name="connsiteX504" fmla="*/ 6498585 w 10297664"/>
                <a:gd name="connsiteY504" fmla="*/ 2720932 h 6101463"/>
                <a:gd name="connsiteX505" fmla="*/ 6456614 w 10297664"/>
                <a:gd name="connsiteY505" fmla="*/ 2800413 h 6101463"/>
                <a:gd name="connsiteX506" fmla="*/ 6445969 w 10297664"/>
                <a:gd name="connsiteY506" fmla="*/ 2862307 h 6101463"/>
                <a:gd name="connsiteX507" fmla="*/ 6427729 w 10297664"/>
                <a:gd name="connsiteY507" fmla="*/ 2904046 h 6101463"/>
                <a:gd name="connsiteX508" fmla="*/ 6405534 w 10297664"/>
                <a:gd name="connsiteY508" fmla="*/ 2947152 h 6101463"/>
                <a:gd name="connsiteX509" fmla="*/ 6396908 w 10297664"/>
                <a:gd name="connsiteY509" fmla="*/ 2951675 h 6101463"/>
                <a:gd name="connsiteX510" fmla="*/ 6374882 w 10297664"/>
                <a:gd name="connsiteY510" fmla="*/ 2991921 h 6101463"/>
                <a:gd name="connsiteX511" fmla="*/ 6378038 w 10297664"/>
                <a:gd name="connsiteY511" fmla="*/ 3005932 h 6101463"/>
                <a:gd name="connsiteX512" fmla="*/ 6381530 w 10297664"/>
                <a:gd name="connsiteY512" fmla="*/ 3025729 h 6101463"/>
                <a:gd name="connsiteX513" fmla="*/ 6373620 w 10297664"/>
                <a:gd name="connsiteY513" fmla="*/ 3045967 h 6101463"/>
                <a:gd name="connsiteX514" fmla="*/ 6371348 w 10297664"/>
                <a:gd name="connsiteY514" fmla="*/ 3049670 h 6101463"/>
                <a:gd name="connsiteX515" fmla="*/ 6354791 w 10297664"/>
                <a:gd name="connsiteY515" fmla="*/ 3185132 h 6101463"/>
                <a:gd name="connsiteX516" fmla="*/ 6386411 w 10297664"/>
                <a:gd name="connsiteY516" fmla="*/ 3301893 h 6101463"/>
                <a:gd name="connsiteX517" fmla="*/ 6402631 w 10297664"/>
                <a:gd name="connsiteY517" fmla="*/ 3352699 h 6101463"/>
                <a:gd name="connsiteX518" fmla="*/ 6408290 w 10297664"/>
                <a:gd name="connsiteY518" fmla="*/ 3396542 h 6101463"/>
                <a:gd name="connsiteX519" fmla="*/ 6396719 w 10297664"/>
                <a:gd name="connsiteY519" fmla="*/ 3392713 h 6101463"/>
                <a:gd name="connsiteX520" fmla="*/ 6285492 w 10297664"/>
                <a:gd name="connsiteY520" fmla="*/ 3296212 h 6101463"/>
                <a:gd name="connsiteX521" fmla="*/ 6280885 w 10297664"/>
                <a:gd name="connsiteY521" fmla="*/ 3291521 h 6101463"/>
                <a:gd name="connsiteX522" fmla="*/ 6195555 w 10297664"/>
                <a:gd name="connsiteY522" fmla="*/ 3143225 h 6101463"/>
                <a:gd name="connsiteX523" fmla="*/ 6179293 w 10297664"/>
                <a:gd name="connsiteY523" fmla="*/ 3098099 h 6101463"/>
                <a:gd name="connsiteX524" fmla="*/ 6163662 w 10297664"/>
                <a:gd name="connsiteY524" fmla="*/ 3064249 h 6101463"/>
                <a:gd name="connsiteX525" fmla="*/ 6142182 w 10297664"/>
                <a:gd name="connsiteY525" fmla="*/ 3011991 h 6101463"/>
                <a:gd name="connsiteX526" fmla="*/ 6136881 w 10297664"/>
                <a:gd name="connsiteY526" fmla="*/ 2975301 h 6101463"/>
                <a:gd name="connsiteX527" fmla="*/ 6131201 w 10297664"/>
                <a:gd name="connsiteY527" fmla="*/ 2935813 h 6101463"/>
                <a:gd name="connsiteX528" fmla="*/ 6114875 w 10297664"/>
                <a:gd name="connsiteY528" fmla="*/ 2873267 h 6101463"/>
                <a:gd name="connsiteX529" fmla="*/ 6090471 w 10297664"/>
                <a:gd name="connsiteY529" fmla="*/ 2761703 h 6101463"/>
                <a:gd name="connsiteX530" fmla="*/ 6088872 w 10297664"/>
                <a:gd name="connsiteY530" fmla="*/ 2741759 h 6101463"/>
                <a:gd name="connsiteX531" fmla="*/ 6014903 w 10297664"/>
                <a:gd name="connsiteY531" fmla="*/ 2592832 h 6101463"/>
                <a:gd name="connsiteX532" fmla="*/ 5904455 w 10297664"/>
                <a:gd name="connsiteY532" fmla="*/ 2493975 h 6101463"/>
                <a:gd name="connsiteX533" fmla="*/ 5869153 w 10297664"/>
                <a:gd name="connsiteY533" fmla="*/ 2447608 h 6101463"/>
                <a:gd name="connsiteX534" fmla="*/ 5808416 w 10297664"/>
                <a:gd name="connsiteY534" fmla="*/ 2343155 h 6101463"/>
                <a:gd name="connsiteX535" fmla="*/ 5804335 w 10297664"/>
                <a:gd name="connsiteY535" fmla="*/ 2317889 h 6101463"/>
                <a:gd name="connsiteX536" fmla="*/ 5799370 w 10297664"/>
                <a:gd name="connsiteY536" fmla="*/ 2265589 h 6101463"/>
                <a:gd name="connsiteX537" fmla="*/ 5810752 w 10297664"/>
                <a:gd name="connsiteY537" fmla="*/ 2247811 h 6101463"/>
                <a:gd name="connsiteX538" fmla="*/ 5822491 w 10297664"/>
                <a:gd name="connsiteY538" fmla="*/ 2235589 h 6101463"/>
                <a:gd name="connsiteX539" fmla="*/ 5859370 w 10297664"/>
                <a:gd name="connsiteY539" fmla="*/ 2167131 h 6101463"/>
                <a:gd name="connsiteX540" fmla="*/ 5856740 w 10297664"/>
                <a:gd name="connsiteY540" fmla="*/ 2133323 h 6101463"/>
                <a:gd name="connsiteX541" fmla="*/ 5858571 w 10297664"/>
                <a:gd name="connsiteY541" fmla="*/ 2080855 h 6101463"/>
                <a:gd name="connsiteX542" fmla="*/ 5873445 w 10297664"/>
                <a:gd name="connsiteY542" fmla="*/ 2051760 h 6101463"/>
                <a:gd name="connsiteX543" fmla="*/ 5893241 w 10297664"/>
                <a:gd name="connsiteY543" fmla="*/ 1977580 h 6101463"/>
                <a:gd name="connsiteX544" fmla="*/ 5849314 w 10297664"/>
                <a:gd name="connsiteY544" fmla="*/ 1932706 h 6101463"/>
                <a:gd name="connsiteX545" fmla="*/ 5739244 w 10297664"/>
                <a:gd name="connsiteY545" fmla="*/ 1897678 h 6101463"/>
                <a:gd name="connsiteX546" fmla="*/ 5730703 w 10297664"/>
                <a:gd name="connsiteY546" fmla="*/ 1895974 h 6101463"/>
                <a:gd name="connsiteX547" fmla="*/ 5628984 w 10297664"/>
                <a:gd name="connsiteY547" fmla="*/ 1851458 h 6101463"/>
                <a:gd name="connsiteX548" fmla="*/ 5617793 w 10297664"/>
                <a:gd name="connsiteY548" fmla="*/ 1812159 h 6101463"/>
                <a:gd name="connsiteX549" fmla="*/ 5574476 w 10297664"/>
                <a:gd name="connsiteY549" fmla="*/ 1742040 h 6101463"/>
                <a:gd name="connsiteX550" fmla="*/ 5545338 w 10297664"/>
                <a:gd name="connsiteY550" fmla="*/ 1742461 h 6101463"/>
                <a:gd name="connsiteX551" fmla="*/ 5538017 w 10297664"/>
                <a:gd name="connsiteY551" fmla="*/ 1743303 h 6101463"/>
                <a:gd name="connsiteX552" fmla="*/ 5510436 w 10297664"/>
                <a:gd name="connsiteY552" fmla="*/ 1735771 h 6101463"/>
                <a:gd name="connsiteX553" fmla="*/ 5494679 w 10297664"/>
                <a:gd name="connsiteY553" fmla="*/ 1695694 h 6101463"/>
                <a:gd name="connsiteX554" fmla="*/ 5465015 w 10297664"/>
                <a:gd name="connsiteY554" fmla="*/ 1602749 h 6101463"/>
                <a:gd name="connsiteX555" fmla="*/ 5459693 w 10297664"/>
                <a:gd name="connsiteY555" fmla="*/ 1591893 h 6101463"/>
                <a:gd name="connsiteX556" fmla="*/ 5437877 w 10297664"/>
                <a:gd name="connsiteY556" fmla="*/ 1567384 h 6101463"/>
                <a:gd name="connsiteX557" fmla="*/ 5421068 w 10297664"/>
                <a:gd name="connsiteY557" fmla="*/ 1547966 h 6101463"/>
                <a:gd name="connsiteX558" fmla="*/ 5429420 w 10297664"/>
                <a:gd name="connsiteY558" fmla="*/ 1390918 h 6101463"/>
                <a:gd name="connsiteX559" fmla="*/ 5448227 w 10297664"/>
                <a:gd name="connsiteY559" fmla="*/ 1347328 h 6101463"/>
                <a:gd name="connsiteX560" fmla="*/ 5478227 w 10297664"/>
                <a:gd name="connsiteY560" fmla="*/ 1291388 h 6101463"/>
                <a:gd name="connsiteX561" fmla="*/ 5481972 w 10297664"/>
                <a:gd name="connsiteY561" fmla="*/ 1287559 h 6101463"/>
                <a:gd name="connsiteX562" fmla="*/ 5500443 w 10297664"/>
                <a:gd name="connsiteY562" fmla="*/ 1262103 h 6101463"/>
                <a:gd name="connsiteX563" fmla="*/ 5477617 w 10297664"/>
                <a:gd name="connsiteY563" fmla="*/ 1215420 h 6101463"/>
                <a:gd name="connsiteX564" fmla="*/ 5469139 w 10297664"/>
                <a:gd name="connsiteY564" fmla="*/ 1207637 h 6101463"/>
                <a:gd name="connsiteX565" fmla="*/ 5448059 w 10297664"/>
                <a:gd name="connsiteY565" fmla="*/ 1161059 h 6101463"/>
                <a:gd name="connsiteX566" fmla="*/ 5447470 w 10297664"/>
                <a:gd name="connsiteY566" fmla="*/ 1136087 h 6101463"/>
                <a:gd name="connsiteX567" fmla="*/ 5417491 w 10297664"/>
                <a:gd name="connsiteY567" fmla="*/ 1046465 h 6101463"/>
                <a:gd name="connsiteX568" fmla="*/ 5371965 w 10297664"/>
                <a:gd name="connsiteY568" fmla="*/ 1033275 h 6101463"/>
                <a:gd name="connsiteX569" fmla="*/ 5349770 w 10297664"/>
                <a:gd name="connsiteY569" fmla="*/ 1029109 h 6101463"/>
                <a:gd name="connsiteX570" fmla="*/ 5337063 w 10297664"/>
                <a:gd name="connsiteY570" fmla="*/ 1024944 h 6101463"/>
                <a:gd name="connsiteX571" fmla="*/ 5286446 w 10297664"/>
                <a:gd name="connsiteY571" fmla="*/ 1019558 h 6101463"/>
                <a:gd name="connsiteX572" fmla="*/ 5158894 w 10297664"/>
                <a:gd name="connsiteY572" fmla="*/ 1071711 h 6101463"/>
                <a:gd name="connsiteX573" fmla="*/ 5058816 w 10297664"/>
                <a:gd name="connsiteY573" fmla="*/ 1139726 h 6101463"/>
                <a:gd name="connsiteX574" fmla="*/ 4966923 w 10297664"/>
                <a:gd name="connsiteY574" fmla="*/ 1202524 h 6101463"/>
                <a:gd name="connsiteX575" fmla="*/ 4962673 w 10297664"/>
                <a:gd name="connsiteY575" fmla="*/ 1207258 h 6101463"/>
                <a:gd name="connsiteX576" fmla="*/ 4780128 w 10297664"/>
                <a:gd name="connsiteY576" fmla="*/ 2055168 h 6101463"/>
                <a:gd name="connsiteX577" fmla="*/ 5114925 w 10297664"/>
                <a:gd name="connsiteY577" fmla="*/ 3165841 h 6101463"/>
                <a:gd name="connsiteX578" fmla="*/ 5432533 w 10297664"/>
                <a:gd name="connsiteY578" fmla="*/ 3548078 h 6101463"/>
                <a:gd name="connsiteX579" fmla="*/ 4560787 w 10297664"/>
                <a:gd name="connsiteY579" fmla="*/ 3627853 h 6101463"/>
                <a:gd name="connsiteX580" fmla="*/ 4176278 w 10297664"/>
                <a:gd name="connsiteY580" fmla="*/ 3734010 h 6101463"/>
                <a:gd name="connsiteX581" fmla="*/ 4038038 w 10297664"/>
                <a:gd name="connsiteY581" fmla="*/ 3769270 h 6101463"/>
                <a:gd name="connsiteX582" fmla="*/ 3316377 w 10297664"/>
                <a:gd name="connsiteY582" fmla="*/ 4090918 h 6101463"/>
                <a:gd name="connsiteX583" fmla="*/ 3214785 w 10297664"/>
                <a:gd name="connsiteY583" fmla="*/ 4195371 h 6101463"/>
                <a:gd name="connsiteX584" fmla="*/ 3230458 w 10297664"/>
                <a:gd name="connsiteY584" fmla="*/ 4231871 h 6101463"/>
                <a:gd name="connsiteX585" fmla="*/ 3395269 w 10297664"/>
                <a:gd name="connsiteY585" fmla="*/ 4196886 h 6101463"/>
                <a:gd name="connsiteX586" fmla="*/ 3556524 w 10297664"/>
                <a:gd name="connsiteY586" fmla="*/ 4103540 h 6101463"/>
                <a:gd name="connsiteX587" fmla="*/ 3599104 w 10297664"/>
                <a:gd name="connsiteY587" fmla="*/ 4076296 h 6101463"/>
                <a:gd name="connsiteX588" fmla="*/ 4146783 w 10297664"/>
                <a:gd name="connsiteY588" fmla="*/ 3767860 h 6101463"/>
                <a:gd name="connsiteX589" fmla="*/ 4182989 w 10297664"/>
                <a:gd name="connsiteY589" fmla="*/ 3753933 h 6101463"/>
                <a:gd name="connsiteX590" fmla="*/ 4824055 w 10297664"/>
                <a:gd name="connsiteY590" fmla="*/ 3775623 h 6101463"/>
                <a:gd name="connsiteX591" fmla="*/ 5149910 w 10297664"/>
                <a:gd name="connsiteY591" fmla="*/ 3969824 h 6101463"/>
                <a:gd name="connsiteX592" fmla="*/ 5462512 w 10297664"/>
                <a:gd name="connsiteY592" fmla="*/ 4159249 h 6101463"/>
                <a:gd name="connsiteX593" fmla="*/ 5482498 w 10297664"/>
                <a:gd name="connsiteY593" fmla="*/ 4167664 h 6101463"/>
                <a:gd name="connsiteX594" fmla="*/ 6372673 w 10297664"/>
                <a:gd name="connsiteY594" fmla="*/ 4393084 h 6101463"/>
                <a:gd name="connsiteX595" fmla="*/ 6393732 w 10297664"/>
                <a:gd name="connsiteY595" fmla="*/ 4392959 h 6101463"/>
                <a:gd name="connsiteX596" fmla="*/ 6829889 w 10297664"/>
                <a:gd name="connsiteY596" fmla="*/ 4351282 h 6101463"/>
                <a:gd name="connsiteX597" fmla="*/ 7279763 w 10297664"/>
                <a:gd name="connsiteY597" fmla="*/ 4321556 h 6101463"/>
                <a:gd name="connsiteX598" fmla="*/ 7456775 w 10297664"/>
                <a:gd name="connsiteY598" fmla="*/ 4372783 h 6101463"/>
                <a:gd name="connsiteX599" fmla="*/ 7568023 w 10297664"/>
                <a:gd name="connsiteY599" fmla="*/ 4479677 h 6101463"/>
                <a:gd name="connsiteX600" fmla="*/ 7567476 w 10297664"/>
                <a:gd name="connsiteY600" fmla="*/ 4666534 h 6101463"/>
                <a:gd name="connsiteX601" fmla="*/ 7325877 w 10297664"/>
                <a:gd name="connsiteY601" fmla="*/ 4848470 h 6101463"/>
                <a:gd name="connsiteX602" fmla="*/ 7132708 w 10297664"/>
                <a:gd name="connsiteY602" fmla="*/ 4915623 h 6101463"/>
                <a:gd name="connsiteX603" fmla="*/ 7327287 w 10297664"/>
                <a:gd name="connsiteY603" fmla="*/ 4830819 h 6101463"/>
                <a:gd name="connsiteX604" fmla="*/ 7549257 w 10297664"/>
                <a:gd name="connsiteY604" fmla="*/ 4646591 h 6101463"/>
                <a:gd name="connsiteX605" fmla="*/ 7458016 w 10297664"/>
                <a:gd name="connsiteY605" fmla="*/ 4574704 h 6101463"/>
                <a:gd name="connsiteX606" fmla="*/ 7003009 w 10297664"/>
                <a:gd name="connsiteY606" fmla="*/ 4714817 h 6101463"/>
                <a:gd name="connsiteX607" fmla="*/ 6923465 w 10297664"/>
                <a:gd name="connsiteY607" fmla="*/ 4833134 h 6101463"/>
                <a:gd name="connsiteX608" fmla="*/ 6982413 w 10297664"/>
                <a:gd name="connsiteY608" fmla="*/ 4929487 h 6101463"/>
                <a:gd name="connsiteX609" fmla="*/ 6670569 w 10297664"/>
                <a:gd name="connsiteY609" fmla="*/ 4983428 h 6101463"/>
                <a:gd name="connsiteX610" fmla="*/ 6506032 w 10297664"/>
                <a:gd name="connsiteY610" fmla="*/ 4976591 h 6101463"/>
                <a:gd name="connsiteX611" fmla="*/ 5641881 w 10297664"/>
                <a:gd name="connsiteY611" fmla="*/ 5001605 h 6101463"/>
                <a:gd name="connsiteX612" fmla="*/ 5478206 w 10297664"/>
                <a:gd name="connsiteY612" fmla="*/ 5063772 h 6101463"/>
                <a:gd name="connsiteX613" fmla="*/ 5484223 w 10297664"/>
                <a:gd name="connsiteY613" fmla="*/ 5086808 h 6101463"/>
                <a:gd name="connsiteX614" fmla="*/ 5710001 w 10297664"/>
                <a:gd name="connsiteY614" fmla="*/ 5111548 h 6101463"/>
                <a:gd name="connsiteX615" fmla="*/ 6152680 w 10297664"/>
                <a:gd name="connsiteY615" fmla="*/ 5075069 h 6101463"/>
                <a:gd name="connsiteX616" fmla="*/ 6671663 w 10297664"/>
                <a:gd name="connsiteY616" fmla="*/ 5004550 h 6101463"/>
                <a:gd name="connsiteX617" fmla="*/ 6913115 w 10297664"/>
                <a:gd name="connsiteY617" fmla="*/ 5022958 h 6101463"/>
                <a:gd name="connsiteX618" fmla="*/ 7091326 w 10297664"/>
                <a:gd name="connsiteY618" fmla="*/ 5059270 h 6101463"/>
                <a:gd name="connsiteX619" fmla="*/ 7090758 w 10297664"/>
                <a:gd name="connsiteY619" fmla="*/ 5060048 h 6101463"/>
                <a:gd name="connsiteX620" fmla="*/ 6787456 w 10297664"/>
                <a:gd name="connsiteY620" fmla="*/ 5260244 h 6101463"/>
                <a:gd name="connsiteX621" fmla="*/ 6801572 w 10297664"/>
                <a:gd name="connsiteY621" fmla="*/ 5300658 h 6101463"/>
                <a:gd name="connsiteX622" fmla="*/ 6823662 w 10297664"/>
                <a:gd name="connsiteY622" fmla="*/ 5307726 h 6101463"/>
                <a:gd name="connsiteX623" fmla="*/ 6985169 w 10297664"/>
                <a:gd name="connsiteY623" fmla="*/ 5196584 h 6101463"/>
                <a:gd name="connsiteX624" fmla="*/ 7104012 w 10297664"/>
                <a:gd name="connsiteY624" fmla="*/ 5077025 h 6101463"/>
                <a:gd name="connsiteX625" fmla="*/ 7196158 w 10297664"/>
                <a:gd name="connsiteY625" fmla="*/ 5033182 h 6101463"/>
                <a:gd name="connsiteX626" fmla="*/ 7853150 w 10297664"/>
                <a:gd name="connsiteY626" fmla="*/ 4694662 h 6101463"/>
                <a:gd name="connsiteX627" fmla="*/ 8503598 w 10297664"/>
                <a:gd name="connsiteY627" fmla="*/ 4292776 h 6101463"/>
                <a:gd name="connsiteX628" fmla="*/ 9102546 w 10297664"/>
                <a:gd name="connsiteY628" fmla="*/ 3942096 h 6101463"/>
                <a:gd name="connsiteX629" fmla="*/ 9336529 w 10297664"/>
                <a:gd name="connsiteY629" fmla="*/ 3908814 h 6101463"/>
                <a:gd name="connsiteX630" fmla="*/ 9491389 w 10297664"/>
                <a:gd name="connsiteY630" fmla="*/ 3976282 h 6101463"/>
                <a:gd name="connsiteX631" fmla="*/ 9520210 w 10297664"/>
                <a:gd name="connsiteY631" fmla="*/ 4145258 h 6101463"/>
                <a:gd name="connsiteX632" fmla="*/ 9341936 w 10297664"/>
                <a:gd name="connsiteY632" fmla="*/ 4384228 h 6101463"/>
                <a:gd name="connsiteX633" fmla="*/ 9216823 w 10297664"/>
                <a:gd name="connsiteY633" fmla="*/ 4458092 h 6101463"/>
                <a:gd name="connsiteX634" fmla="*/ 9406143 w 10297664"/>
                <a:gd name="connsiteY634" fmla="*/ 4293239 h 6101463"/>
                <a:gd name="connsiteX635" fmla="*/ 9503337 w 10297664"/>
                <a:gd name="connsiteY635" fmla="*/ 4087530 h 6101463"/>
                <a:gd name="connsiteX636" fmla="*/ 9403050 w 10297664"/>
                <a:gd name="connsiteY636" fmla="*/ 4033800 h 6101463"/>
                <a:gd name="connsiteX637" fmla="*/ 9237567 w 10297664"/>
                <a:gd name="connsiteY637" fmla="*/ 4078253 h 6101463"/>
                <a:gd name="connsiteX638" fmla="*/ 9098380 w 10297664"/>
                <a:gd name="connsiteY638" fmla="*/ 4192762 h 6101463"/>
                <a:gd name="connsiteX639" fmla="*/ 8996662 w 10297664"/>
                <a:gd name="connsiteY639" fmla="*/ 4380356 h 6101463"/>
                <a:gd name="connsiteX640" fmla="*/ 9090533 w 10297664"/>
                <a:gd name="connsiteY640" fmla="*/ 4479172 h 6101463"/>
                <a:gd name="connsiteX641" fmla="*/ 9129011 w 10297664"/>
                <a:gd name="connsiteY641" fmla="*/ 4488743 h 6101463"/>
                <a:gd name="connsiteX642" fmla="*/ 8828696 w 10297664"/>
                <a:gd name="connsiteY642" fmla="*/ 4686226 h 6101463"/>
                <a:gd name="connsiteX643" fmla="*/ 7471670 w 10297664"/>
                <a:gd name="connsiteY643" fmla="*/ 5545223 h 6101463"/>
                <a:gd name="connsiteX644" fmla="*/ 6416116 w 10297664"/>
                <a:gd name="connsiteY644" fmla="*/ 6014915 h 6101463"/>
                <a:gd name="connsiteX645" fmla="*/ 5837133 w 10297664"/>
                <a:gd name="connsiteY645" fmla="*/ 6034122 h 6101463"/>
                <a:gd name="connsiteX646" fmla="*/ 4542884 w 10297664"/>
                <a:gd name="connsiteY646" fmla="*/ 5480174 h 6101463"/>
                <a:gd name="connsiteX647" fmla="*/ 3444687 w 10297664"/>
                <a:gd name="connsiteY647" fmla="*/ 4996976 h 6101463"/>
                <a:gd name="connsiteX648" fmla="*/ 1767106 w 10297664"/>
                <a:gd name="connsiteY648" fmla="*/ 4595069 h 6101463"/>
                <a:gd name="connsiteX649" fmla="*/ 831889 w 10297664"/>
                <a:gd name="connsiteY649" fmla="*/ 4520069 h 6101463"/>
                <a:gd name="connsiteX650" fmla="*/ 8383 w 10297664"/>
                <a:gd name="connsiteY650" fmla="*/ 4585644 h 6101463"/>
                <a:gd name="connsiteX651" fmla="*/ 221 w 10297664"/>
                <a:gd name="connsiteY651" fmla="*/ 4598078 h 6101463"/>
                <a:gd name="connsiteX652" fmla="*/ 12654 w 10297664"/>
                <a:gd name="connsiteY652" fmla="*/ 4606240 h 6101463"/>
                <a:gd name="connsiteX653" fmla="*/ 831595 w 10297664"/>
                <a:gd name="connsiteY653" fmla="*/ 4541086 h 6101463"/>
                <a:gd name="connsiteX654" fmla="*/ 1764203 w 10297664"/>
                <a:gd name="connsiteY654" fmla="*/ 4615876 h 6101463"/>
                <a:gd name="connsiteX655" fmla="*/ 3437239 w 10297664"/>
                <a:gd name="connsiteY655" fmla="*/ 5016626 h 6101463"/>
                <a:gd name="connsiteX656" fmla="*/ 4533880 w 10297664"/>
                <a:gd name="connsiteY656" fmla="*/ 5499171 h 6101463"/>
                <a:gd name="connsiteX657" fmla="*/ 5830275 w 10297664"/>
                <a:gd name="connsiteY657" fmla="*/ 6053981 h 6101463"/>
                <a:gd name="connsiteX658" fmla="*/ 6099160 w 10297664"/>
                <a:gd name="connsiteY658" fmla="*/ 6101464 h 6101463"/>
                <a:gd name="connsiteX659" fmla="*/ 6423795 w 10297664"/>
                <a:gd name="connsiteY659" fmla="*/ 6034458 h 6101463"/>
                <a:gd name="connsiteX660" fmla="*/ 7481473 w 10297664"/>
                <a:gd name="connsiteY660" fmla="*/ 5563799 h 6101463"/>
                <a:gd name="connsiteX661" fmla="*/ 8840267 w 10297664"/>
                <a:gd name="connsiteY661" fmla="*/ 4703730 h 6101463"/>
                <a:gd name="connsiteX662" fmla="*/ 9155036 w 10297664"/>
                <a:gd name="connsiteY662" fmla="*/ 4497138 h 6101463"/>
                <a:gd name="connsiteX663" fmla="*/ 9167237 w 10297664"/>
                <a:gd name="connsiteY663" fmla="*/ 4489564 h 6101463"/>
                <a:gd name="connsiteX664" fmla="*/ 9355357 w 10297664"/>
                <a:gd name="connsiteY664" fmla="*/ 4400322 h 6101463"/>
                <a:gd name="connsiteX665" fmla="*/ 9539691 w 10297664"/>
                <a:gd name="connsiteY665" fmla="*/ 4153000 h 6101463"/>
                <a:gd name="connsiteX666" fmla="*/ 9552041 w 10297664"/>
                <a:gd name="connsiteY666" fmla="*/ 4047664 h 6101463"/>
                <a:gd name="connsiteX667" fmla="*/ 9506388 w 10297664"/>
                <a:gd name="connsiteY667" fmla="*/ 3961556 h 6101463"/>
                <a:gd name="connsiteX668" fmla="*/ 9338885 w 10297664"/>
                <a:gd name="connsiteY668" fmla="*/ 3887881 h 6101463"/>
                <a:gd name="connsiteX669" fmla="*/ 9095203 w 10297664"/>
                <a:gd name="connsiteY669" fmla="*/ 3922320 h 6101463"/>
                <a:gd name="connsiteX670" fmla="*/ 8492258 w 10297664"/>
                <a:gd name="connsiteY670" fmla="*/ 4274978 h 6101463"/>
                <a:gd name="connsiteX671" fmla="*/ 7842441 w 10297664"/>
                <a:gd name="connsiteY671" fmla="*/ 4676464 h 6101463"/>
                <a:gd name="connsiteX672" fmla="*/ 7187091 w 10297664"/>
                <a:gd name="connsiteY672" fmla="*/ 5014122 h 6101463"/>
                <a:gd name="connsiteX673" fmla="*/ 7110850 w 10297664"/>
                <a:gd name="connsiteY673" fmla="*/ 5050329 h 6101463"/>
                <a:gd name="connsiteX674" fmla="*/ 7110260 w 10297664"/>
                <a:gd name="connsiteY674" fmla="*/ 5049340 h 6101463"/>
                <a:gd name="connsiteX675" fmla="*/ 7045401 w 10297664"/>
                <a:gd name="connsiteY675" fmla="*/ 5021423 h 6101463"/>
                <a:gd name="connsiteX676" fmla="*/ 6913094 w 10297664"/>
                <a:gd name="connsiteY676" fmla="*/ 5001731 h 6101463"/>
                <a:gd name="connsiteX677" fmla="*/ 6766628 w 10297664"/>
                <a:gd name="connsiteY677" fmla="*/ 4989150 h 6101463"/>
                <a:gd name="connsiteX678" fmla="*/ 7027161 w 10297664"/>
                <a:gd name="connsiteY678" fmla="*/ 4942088 h 6101463"/>
                <a:gd name="connsiteX679" fmla="*/ 7334945 w 10297664"/>
                <a:gd name="connsiteY679" fmla="*/ 4867383 h 6101463"/>
                <a:gd name="connsiteX680" fmla="*/ 7585989 w 10297664"/>
                <a:gd name="connsiteY680" fmla="*/ 4676423 h 6101463"/>
                <a:gd name="connsiteX681" fmla="*/ 7586432 w 10297664"/>
                <a:gd name="connsiteY681" fmla="*/ 4469473 h 6101463"/>
                <a:gd name="connsiteX682" fmla="*/ 7281256 w 10297664"/>
                <a:gd name="connsiteY682" fmla="*/ 4300518 h 6101463"/>
                <a:gd name="connsiteX683" fmla="*/ 6826670 w 10297664"/>
                <a:gd name="connsiteY683" fmla="*/ 4330434 h 6101463"/>
                <a:gd name="connsiteX684" fmla="*/ 6393459 w 10297664"/>
                <a:gd name="connsiteY684" fmla="*/ 4371858 h 6101463"/>
                <a:gd name="connsiteX685" fmla="*/ 5917098 w 10297664"/>
                <a:gd name="connsiteY685" fmla="*/ 4308218 h 6101463"/>
                <a:gd name="connsiteX686" fmla="*/ 5490639 w 10297664"/>
                <a:gd name="connsiteY686" fmla="*/ 4148204 h 6101463"/>
                <a:gd name="connsiteX687" fmla="*/ 5470653 w 10297664"/>
                <a:gd name="connsiteY687" fmla="*/ 4139789 h 6101463"/>
                <a:gd name="connsiteX688" fmla="*/ 5162091 w 10297664"/>
                <a:gd name="connsiteY688" fmla="*/ 3952615 h 6101463"/>
                <a:gd name="connsiteX689" fmla="*/ 4831734 w 10297664"/>
                <a:gd name="connsiteY689" fmla="*/ 3755995 h 6101463"/>
                <a:gd name="connsiteX690" fmla="*/ 4313571 w 10297664"/>
                <a:gd name="connsiteY690" fmla="*/ 3709880 h 6101463"/>
                <a:gd name="connsiteX691" fmla="*/ 4564763 w 10297664"/>
                <a:gd name="connsiteY691" fmla="*/ 3648428 h 6101463"/>
                <a:gd name="connsiteX692" fmla="*/ 5453024 w 10297664"/>
                <a:gd name="connsiteY692" fmla="*/ 3570357 h 6101463"/>
                <a:gd name="connsiteX693" fmla="*/ 5456558 w 10297664"/>
                <a:gd name="connsiteY693" fmla="*/ 3570609 h 6101463"/>
                <a:gd name="connsiteX694" fmla="*/ 5496194 w 10297664"/>
                <a:gd name="connsiteY694" fmla="*/ 3606416 h 6101463"/>
                <a:gd name="connsiteX695" fmla="*/ 5987133 w 10297664"/>
                <a:gd name="connsiteY695" fmla="*/ 3932250 h 6101463"/>
                <a:gd name="connsiteX696" fmla="*/ 6149588 w 10297664"/>
                <a:gd name="connsiteY696" fmla="*/ 4003379 h 6101463"/>
                <a:gd name="connsiteX697" fmla="*/ 6251810 w 10297664"/>
                <a:gd name="connsiteY697" fmla="*/ 4003716 h 6101463"/>
                <a:gd name="connsiteX698" fmla="*/ 6264812 w 10297664"/>
                <a:gd name="connsiteY698" fmla="*/ 3950700 h 6101463"/>
                <a:gd name="connsiteX699" fmla="*/ 6241628 w 10297664"/>
                <a:gd name="connsiteY699" fmla="*/ 3906016 h 6101463"/>
                <a:gd name="connsiteX700" fmla="*/ 5897659 w 10297664"/>
                <a:gd name="connsiteY700" fmla="*/ 3644936 h 6101463"/>
                <a:gd name="connsiteX701" fmla="*/ 5465457 w 10297664"/>
                <a:gd name="connsiteY701" fmla="*/ 3550181 h 6101463"/>
                <a:gd name="connsiteX702" fmla="*/ 5132533 w 10297664"/>
                <a:gd name="connsiteY702" fmla="*/ 3154312 h 6101463"/>
                <a:gd name="connsiteX703" fmla="*/ 4801166 w 10297664"/>
                <a:gd name="connsiteY703" fmla="*/ 2055126 h 6101463"/>
                <a:gd name="connsiteX704" fmla="*/ 4980450 w 10297664"/>
                <a:gd name="connsiteY704" fmla="*/ 1218934 h 6101463"/>
                <a:gd name="connsiteX705" fmla="*/ 5071271 w 10297664"/>
                <a:gd name="connsiteY705" fmla="*/ 1156662 h 6101463"/>
                <a:gd name="connsiteX706" fmla="*/ 5169497 w 10297664"/>
                <a:gd name="connsiteY706" fmla="*/ 1089866 h 6101463"/>
                <a:gd name="connsiteX707" fmla="*/ 5290948 w 10297664"/>
                <a:gd name="connsiteY707" fmla="*/ 1040091 h 6101463"/>
                <a:gd name="connsiteX708" fmla="*/ 5329953 w 10297664"/>
                <a:gd name="connsiteY708" fmla="*/ 1044719 h 6101463"/>
                <a:gd name="connsiteX709" fmla="*/ 5344405 w 10297664"/>
                <a:gd name="connsiteY709" fmla="*/ 1049432 h 6101463"/>
                <a:gd name="connsiteX710" fmla="*/ 5368746 w 10297664"/>
                <a:gd name="connsiteY710" fmla="*/ 1054039 h 6101463"/>
                <a:gd name="connsiteX711" fmla="*/ 5406341 w 10297664"/>
                <a:gd name="connsiteY711" fmla="*/ 1064284 h 6101463"/>
                <a:gd name="connsiteX712" fmla="*/ 5426432 w 10297664"/>
                <a:gd name="connsiteY712" fmla="*/ 1136213 h 6101463"/>
                <a:gd name="connsiteX713" fmla="*/ 5427063 w 10297664"/>
                <a:gd name="connsiteY713" fmla="*/ 1162237 h 6101463"/>
                <a:gd name="connsiteX714" fmla="*/ 5453108 w 10297664"/>
                <a:gd name="connsiteY714" fmla="*/ 1221227 h 6101463"/>
                <a:gd name="connsiteX715" fmla="*/ 5464006 w 10297664"/>
                <a:gd name="connsiteY715" fmla="*/ 1231430 h 6101463"/>
                <a:gd name="connsiteX716" fmla="*/ 5480436 w 10297664"/>
                <a:gd name="connsiteY716" fmla="*/ 1255540 h 6101463"/>
                <a:gd name="connsiteX717" fmla="*/ 5466972 w 10297664"/>
                <a:gd name="connsiteY717" fmla="*/ 1272770 h 6101463"/>
                <a:gd name="connsiteX718" fmla="*/ 5463038 w 10297664"/>
                <a:gd name="connsiteY718" fmla="*/ 1276809 h 6101463"/>
                <a:gd name="connsiteX719" fmla="*/ 5428283 w 10297664"/>
                <a:gd name="connsiteY719" fmla="*/ 1340596 h 6101463"/>
                <a:gd name="connsiteX720" fmla="*/ 5411537 w 10297664"/>
                <a:gd name="connsiteY720" fmla="*/ 1379831 h 6101463"/>
                <a:gd name="connsiteX721" fmla="*/ 5401040 w 10297664"/>
                <a:gd name="connsiteY721" fmla="*/ 1554362 h 6101463"/>
                <a:gd name="connsiteX722" fmla="*/ 5424497 w 10297664"/>
                <a:gd name="connsiteY722" fmla="*/ 1583583 h 6101463"/>
                <a:gd name="connsiteX723" fmla="*/ 5440759 w 10297664"/>
                <a:gd name="connsiteY723" fmla="*/ 1601002 h 6101463"/>
                <a:gd name="connsiteX724" fmla="*/ 5446166 w 10297664"/>
                <a:gd name="connsiteY724" fmla="*/ 1612026 h 6101463"/>
                <a:gd name="connsiteX725" fmla="*/ 5473683 w 10297664"/>
                <a:gd name="connsiteY725" fmla="*/ 1696620 h 6101463"/>
                <a:gd name="connsiteX726" fmla="*/ 5496657 w 10297664"/>
                <a:gd name="connsiteY726" fmla="*/ 1751633 h 6101463"/>
                <a:gd name="connsiteX727" fmla="*/ 5540057 w 10297664"/>
                <a:gd name="connsiteY727" fmla="*/ 1764235 h 6101463"/>
                <a:gd name="connsiteX728" fmla="*/ 5547926 w 10297664"/>
                <a:gd name="connsiteY728" fmla="*/ 1763331 h 6101463"/>
                <a:gd name="connsiteX729" fmla="*/ 5570500 w 10297664"/>
                <a:gd name="connsiteY729" fmla="*/ 1762678 h 6101463"/>
                <a:gd name="connsiteX730" fmla="*/ 5597049 w 10297664"/>
                <a:gd name="connsiteY730" fmla="*/ 1815610 h 6101463"/>
                <a:gd name="connsiteX731" fmla="*/ 5612007 w 10297664"/>
                <a:gd name="connsiteY731" fmla="*/ 1863871 h 6101463"/>
                <a:gd name="connsiteX732" fmla="*/ 5726579 w 10297664"/>
                <a:gd name="connsiteY732" fmla="*/ 1916612 h 6101463"/>
                <a:gd name="connsiteX733" fmla="*/ 5735058 w 10297664"/>
                <a:gd name="connsiteY733" fmla="*/ 1918317 h 6101463"/>
                <a:gd name="connsiteX734" fmla="*/ 5839468 w 10297664"/>
                <a:gd name="connsiteY734" fmla="*/ 1951325 h 6101463"/>
                <a:gd name="connsiteX735" fmla="*/ 5873045 w 10297664"/>
                <a:gd name="connsiteY735" fmla="*/ 1983576 h 6101463"/>
                <a:gd name="connsiteX736" fmla="*/ 5855037 w 10297664"/>
                <a:gd name="connsiteY736" fmla="*/ 2041535 h 6101463"/>
                <a:gd name="connsiteX737" fmla="*/ 5839153 w 10297664"/>
                <a:gd name="connsiteY737" fmla="*/ 2072734 h 6101463"/>
                <a:gd name="connsiteX738" fmla="*/ 5835850 w 10297664"/>
                <a:gd name="connsiteY738" fmla="*/ 2136037 h 6101463"/>
                <a:gd name="connsiteX739" fmla="*/ 5838311 w 10297664"/>
                <a:gd name="connsiteY739" fmla="*/ 2166647 h 6101463"/>
                <a:gd name="connsiteX740" fmla="*/ 5807512 w 10297664"/>
                <a:gd name="connsiteY740" fmla="*/ 2220820 h 6101463"/>
                <a:gd name="connsiteX741" fmla="*/ 5795141 w 10297664"/>
                <a:gd name="connsiteY741" fmla="*/ 2233716 h 6101463"/>
                <a:gd name="connsiteX742" fmla="*/ 5778627 w 10297664"/>
                <a:gd name="connsiteY742" fmla="*/ 2261970 h 6101463"/>
                <a:gd name="connsiteX743" fmla="*/ 5783613 w 10297664"/>
                <a:gd name="connsiteY743" fmla="*/ 2321655 h 6101463"/>
                <a:gd name="connsiteX744" fmla="*/ 5787484 w 10297664"/>
                <a:gd name="connsiteY744" fmla="*/ 2345595 h 6101463"/>
                <a:gd name="connsiteX745" fmla="*/ 5852764 w 10297664"/>
                <a:gd name="connsiteY745" fmla="*/ 2460841 h 6101463"/>
                <a:gd name="connsiteX746" fmla="*/ 5886909 w 10297664"/>
                <a:gd name="connsiteY746" fmla="*/ 2505631 h 6101463"/>
                <a:gd name="connsiteX747" fmla="*/ 6004721 w 10297664"/>
                <a:gd name="connsiteY747" fmla="*/ 2611262 h 6101463"/>
                <a:gd name="connsiteX748" fmla="*/ 6067855 w 10297664"/>
                <a:gd name="connsiteY748" fmla="*/ 2743274 h 6101463"/>
                <a:gd name="connsiteX749" fmla="*/ 6069497 w 10297664"/>
                <a:gd name="connsiteY749" fmla="*/ 2763681 h 6101463"/>
                <a:gd name="connsiteX750" fmla="*/ 6094573 w 10297664"/>
                <a:gd name="connsiteY750" fmla="*/ 2878926 h 6101463"/>
                <a:gd name="connsiteX751" fmla="*/ 6110626 w 10297664"/>
                <a:gd name="connsiteY751" fmla="*/ 2940399 h 6101463"/>
                <a:gd name="connsiteX752" fmla="*/ 6115906 w 10297664"/>
                <a:gd name="connsiteY752" fmla="*/ 2977362 h 6101463"/>
                <a:gd name="connsiteX753" fmla="*/ 6121649 w 10297664"/>
                <a:gd name="connsiteY753" fmla="*/ 3016745 h 6101463"/>
                <a:gd name="connsiteX754" fmla="*/ 6144728 w 10297664"/>
                <a:gd name="connsiteY754" fmla="*/ 3073526 h 6101463"/>
                <a:gd name="connsiteX755" fmla="*/ 6159686 w 10297664"/>
                <a:gd name="connsiteY755" fmla="*/ 3105883 h 6101463"/>
                <a:gd name="connsiteX756" fmla="*/ 6175590 w 10297664"/>
                <a:gd name="connsiteY756" fmla="*/ 3150020 h 6101463"/>
                <a:gd name="connsiteX757" fmla="*/ 6265864 w 10297664"/>
                <a:gd name="connsiteY757" fmla="*/ 3306289 h 6101463"/>
                <a:gd name="connsiteX758" fmla="*/ 6270429 w 10297664"/>
                <a:gd name="connsiteY758" fmla="*/ 3310939 h 6101463"/>
                <a:gd name="connsiteX759" fmla="*/ 6386937 w 10297664"/>
                <a:gd name="connsiteY759" fmla="*/ 3411353 h 6101463"/>
                <a:gd name="connsiteX760" fmla="*/ 6421481 w 10297664"/>
                <a:gd name="connsiteY760" fmla="*/ 3412952 h 6101463"/>
                <a:gd name="connsiteX761" fmla="*/ 6422764 w 10297664"/>
                <a:gd name="connsiteY761" fmla="*/ 3346787 h 6101463"/>
                <a:gd name="connsiteX762" fmla="*/ 6406312 w 10297664"/>
                <a:gd name="connsiteY762" fmla="*/ 3295266 h 6101463"/>
                <a:gd name="connsiteX763" fmla="*/ 6375534 w 10297664"/>
                <a:gd name="connsiteY763" fmla="*/ 3182082 h 6101463"/>
                <a:gd name="connsiteX764" fmla="*/ 6389293 w 10297664"/>
                <a:gd name="connsiteY764" fmla="*/ 3060546 h 6101463"/>
                <a:gd name="connsiteX765" fmla="*/ 6391397 w 10297664"/>
                <a:gd name="connsiteY765" fmla="*/ 3057117 h 6101463"/>
                <a:gd name="connsiteX766" fmla="*/ 6402505 w 10297664"/>
                <a:gd name="connsiteY766" fmla="*/ 3025960 h 6101463"/>
                <a:gd name="connsiteX767" fmla="*/ 6398360 w 10297664"/>
                <a:gd name="connsiteY767" fmla="*/ 3000799 h 6101463"/>
                <a:gd name="connsiteX768" fmla="*/ 6395541 w 10297664"/>
                <a:gd name="connsiteY768" fmla="*/ 2988344 h 6101463"/>
                <a:gd name="connsiteX769" fmla="*/ 6405745 w 10297664"/>
                <a:gd name="connsiteY769" fmla="*/ 2970736 h 6101463"/>
                <a:gd name="connsiteX770" fmla="*/ 6416894 w 10297664"/>
                <a:gd name="connsiteY770" fmla="*/ 2964824 h 6101463"/>
                <a:gd name="connsiteX771" fmla="*/ 6447610 w 10297664"/>
                <a:gd name="connsiteY771" fmla="*/ 2910735 h 6101463"/>
                <a:gd name="connsiteX772" fmla="*/ 6463094 w 10297664"/>
                <a:gd name="connsiteY772" fmla="*/ 2874466 h 6101463"/>
                <a:gd name="connsiteX773" fmla="*/ 6477315 w 10297664"/>
                <a:gd name="connsiteY773" fmla="*/ 2797005 h 6101463"/>
                <a:gd name="connsiteX774" fmla="*/ 6479082 w 10297664"/>
                <a:gd name="connsiteY774" fmla="*/ 2756612 h 6101463"/>
                <a:gd name="connsiteX775" fmla="*/ 6506642 w 10297664"/>
                <a:gd name="connsiteY775" fmla="*/ 2740350 h 6101463"/>
                <a:gd name="connsiteX776" fmla="*/ 6522463 w 10297664"/>
                <a:gd name="connsiteY776" fmla="*/ 2733534 h 6101463"/>
                <a:gd name="connsiteX777" fmla="*/ 6579265 w 10297664"/>
                <a:gd name="connsiteY777" fmla="*/ 2670525 h 6101463"/>
                <a:gd name="connsiteX778" fmla="*/ 6588921 w 10297664"/>
                <a:gd name="connsiteY778" fmla="*/ 2632573 h 6101463"/>
                <a:gd name="connsiteX779" fmla="*/ 6599482 w 10297664"/>
                <a:gd name="connsiteY779" fmla="*/ 2590476 h 6101463"/>
                <a:gd name="connsiteX780" fmla="*/ 6597568 w 10297664"/>
                <a:gd name="connsiteY780" fmla="*/ 2541563 h 6101463"/>
                <a:gd name="connsiteX781" fmla="*/ 6594643 w 10297664"/>
                <a:gd name="connsiteY781" fmla="*/ 2510427 h 6101463"/>
                <a:gd name="connsiteX782" fmla="*/ 6623844 w 10297664"/>
                <a:gd name="connsiteY782" fmla="*/ 2450574 h 6101463"/>
                <a:gd name="connsiteX783" fmla="*/ 6658010 w 10297664"/>
                <a:gd name="connsiteY783" fmla="*/ 2368043 h 6101463"/>
                <a:gd name="connsiteX784" fmla="*/ 6654854 w 10297664"/>
                <a:gd name="connsiteY784" fmla="*/ 2351213 h 6101463"/>
                <a:gd name="connsiteX785" fmla="*/ 6627463 w 10297664"/>
                <a:gd name="connsiteY785" fmla="*/ 2318583 h 6101463"/>
                <a:gd name="connsiteX786" fmla="*/ 6605183 w 10297664"/>
                <a:gd name="connsiteY786" fmla="*/ 2315848 h 6101463"/>
                <a:gd name="connsiteX787" fmla="*/ 6586586 w 10297664"/>
                <a:gd name="connsiteY787" fmla="*/ 2312461 h 6101463"/>
                <a:gd name="connsiteX788" fmla="*/ 6572112 w 10297664"/>
                <a:gd name="connsiteY788" fmla="*/ 2297629 h 6101463"/>
                <a:gd name="connsiteX789" fmla="*/ 6545225 w 10297664"/>
                <a:gd name="connsiteY789" fmla="*/ 2274277 h 6101463"/>
                <a:gd name="connsiteX790" fmla="*/ 6494735 w 10297664"/>
                <a:gd name="connsiteY790" fmla="*/ 2263737 h 6101463"/>
                <a:gd name="connsiteX791" fmla="*/ 6462905 w 10297664"/>
                <a:gd name="connsiteY791" fmla="*/ 2258646 h 6101463"/>
                <a:gd name="connsiteX792" fmla="*/ 6435661 w 10297664"/>
                <a:gd name="connsiteY792" fmla="*/ 2248464 h 6101463"/>
                <a:gd name="connsiteX793" fmla="*/ 6399349 w 10297664"/>
                <a:gd name="connsiteY793" fmla="*/ 2236030 h 6101463"/>
                <a:gd name="connsiteX794" fmla="*/ 6386558 w 10297664"/>
                <a:gd name="connsiteY794" fmla="*/ 2234705 h 6101463"/>
                <a:gd name="connsiteX795" fmla="*/ 6360534 w 10297664"/>
                <a:gd name="connsiteY795" fmla="*/ 2223239 h 6101463"/>
                <a:gd name="connsiteX796" fmla="*/ 6355022 w 10297664"/>
                <a:gd name="connsiteY796" fmla="*/ 2198541 h 6101463"/>
                <a:gd name="connsiteX797" fmla="*/ 6349594 w 10297664"/>
                <a:gd name="connsiteY797" fmla="*/ 2170834 h 6101463"/>
                <a:gd name="connsiteX798" fmla="*/ 6306993 w 10297664"/>
                <a:gd name="connsiteY798" fmla="*/ 2112938 h 6101463"/>
                <a:gd name="connsiteX799" fmla="*/ 6259279 w 10297664"/>
                <a:gd name="connsiteY799" fmla="*/ 2103597 h 6101463"/>
                <a:gd name="connsiteX800" fmla="*/ 6233949 w 10297664"/>
                <a:gd name="connsiteY800" fmla="*/ 2102377 h 6101463"/>
                <a:gd name="connsiteX801" fmla="*/ 6187834 w 10297664"/>
                <a:gd name="connsiteY801" fmla="*/ 2064235 h 6101463"/>
                <a:gd name="connsiteX802" fmla="*/ 6187287 w 10297664"/>
                <a:gd name="connsiteY802" fmla="*/ 2063625 h 6101463"/>
                <a:gd name="connsiteX803" fmla="*/ 6119525 w 10297664"/>
                <a:gd name="connsiteY803" fmla="*/ 2011493 h 6101463"/>
                <a:gd name="connsiteX804" fmla="*/ 6068276 w 10297664"/>
                <a:gd name="connsiteY804" fmla="*/ 2002047 h 6101463"/>
                <a:gd name="connsiteX805" fmla="*/ 6000997 w 10297664"/>
                <a:gd name="connsiteY805" fmla="*/ 1978064 h 6101463"/>
                <a:gd name="connsiteX806" fmla="*/ 5945646 w 10297664"/>
                <a:gd name="connsiteY806" fmla="*/ 1910385 h 6101463"/>
                <a:gd name="connsiteX807" fmla="*/ 5838017 w 10297664"/>
                <a:gd name="connsiteY807" fmla="*/ 1816935 h 6101463"/>
                <a:gd name="connsiteX808" fmla="*/ 5814286 w 10297664"/>
                <a:gd name="connsiteY808" fmla="*/ 1812685 h 6101463"/>
                <a:gd name="connsiteX809" fmla="*/ 5784328 w 10297664"/>
                <a:gd name="connsiteY809" fmla="*/ 1806521 h 6101463"/>
                <a:gd name="connsiteX810" fmla="*/ 5749868 w 10297664"/>
                <a:gd name="connsiteY810" fmla="*/ 1767117 h 6101463"/>
                <a:gd name="connsiteX811" fmla="*/ 5786369 w 10297664"/>
                <a:gd name="connsiteY811" fmla="*/ 1664937 h 6101463"/>
                <a:gd name="connsiteX812" fmla="*/ 5877126 w 10297664"/>
                <a:gd name="connsiteY812" fmla="*/ 1646423 h 6101463"/>
                <a:gd name="connsiteX813" fmla="*/ 5947477 w 10297664"/>
                <a:gd name="connsiteY813" fmla="*/ 1689635 h 6101463"/>
                <a:gd name="connsiteX814" fmla="*/ 6004552 w 10297664"/>
                <a:gd name="connsiteY814" fmla="*/ 1718899 h 6101463"/>
                <a:gd name="connsiteX815" fmla="*/ 6025843 w 10297664"/>
                <a:gd name="connsiteY815" fmla="*/ 1673204 h 6101463"/>
                <a:gd name="connsiteX816" fmla="*/ 6023361 w 10297664"/>
                <a:gd name="connsiteY816" fmla="*/ 1647854 h 6101463"/>
                <a:gd name="connsiteX817" fmla="*/ 6028431 w 10297664"/>
                <a:gd name="connsiteY817" fmla="*/ 1591956 h 6101463"/>
                <a:gd name="connsiteX818" fmla="*/ 6077996 w 10297664"/>
                <a:gd name="connsiteY818" fmla="*/ 1537742 h 6101463"/>
                <a:gd name="connsiteX819" fmla="*/ 6123942 w 10297664"/>
                <a:gd name="connsiteY819" fmla="*/ 1491984 h 6101463"/>
                <a:gd name="connsiteX820" fmla="*/ 6151355 w 10297664"/>
                <a:gd name="connsiteY820" fmla="*/ 1445659 h 6101463"/>
                <a:gd name="connsiteX821" fmla="*/ 6194524 w 10297664"/>
                <a:gd name="connsiteY821" fmla="*/ 1381157 h 6101463"/>
                <a:gd name="connsiteX822" fmla="*/ 6310611 w 10297664"/>
                <a:gd name="connsiteY822" fmla="*/ 1306409 h 6101463"/>
                <a:gd name="connsiteX823" fmla="*/ 6367498 w 10297664"/>
                <a:gd name="connsiteY823" fmla="*/ 1265133 h 6101463"/>
                <a:gd name="connsiteX824" fmla="*/ 6370043 w 10297664"/>
                <a:gd name="connsiteY824" fmla="*/ 1252405 h 6101463"/>
                <a:gd name="connsiteX825" fmla="*/ 6371537 w 10297664"/>
                <a:gd name="connsiteY825" fmla="*/ 1244158 h 6101463"/>
                <a:gd name="connsiteX826" fmla="*/ 6392154 w 10297664"/>
                <a:gd name="connsiteY826" fmla="*/ 1223057 h 6101463"/>
                <a:gd name="connsiteX827" fmla="*/ 6452554 w 10297664"/>
                <a:gd name="connsiteY827" fmla="*/ 1225224 h 6101463"/>
                <a:gd name="connsiteX828" fmla="*/ 6485142 w 10297664"/>
                <a:gd name="connsiteY828" fmla="*/ 1231388 h 6101463"/>
                <a:gd name="connsiteX829" fmla="*/ 6521306 w 10297664"/>
                <a:gd name="connsiteY829" fmla="*/ 1214242 h 6101463"/>
                <a:gd name="connsiteX830" fmla="*/ 6504539 w 10297664"/>
                <a:gd name="connsiteY830" fmla="*/ 1156430 h 6101463"/>
                <a:gd name="connsiteX831" fmla="*/ 6507021 w 10297664"/>
                <a:gd name="connsiteY831" fmla="*/ 1114270 h 6101463"/>
                <a:gd name="connsiteX832" fmla="*/ 6515647 w 10297664"/>
                <a:gd name="connsiteY832" fmla="*/ 1058646 h 6101463"/>
                <a:gd name="connsiteX833" fmla="*/ 6494230 w 10297664"/>
                <a:gd name="connsiteY833" fmla="*/ 1022019 h 6101463"/>
                <a:gd name="connsiteX834" fmla="*/ 6486572 w 10297664"/>
                <a:gd name="connsiteY834" fmla="*/ 1011648 h 6101463"/>
                <a:gd name="connsiteX835" fmla="*/ 6486446 w 10297664"/>
                <a:gd name="connsiteY835" fmla="*/ 1011458 h 6101463"/>
                <a:gd name="connsiteX836" fmla="*/ 6480113 w 10297664"/>
                <a:gd name="connsiteY836" fmla="*/ 958317 h 6101463"/>
                <a:gd name="connsiteX837" fmla="*/ 6463094 w 10297664"/>
                <a:gd name="connsiteY837" fmla="*/ 879677 h 6101463"/>
                <a:gd name="connsiteX838" fmla="*/ 6448493 w 10297664"/>
                <a:gd name="connsiteY838" fmla="*/ 877047 h 6101463"/>
                <a:gd name="connsiteX839" fmla="*/ 6420513 w 10297664"/>
                <a:gd name="connsiteY839" fmla="*/ 904270 h 6101463"/>
                <a:gd name="connsiteX840" fmla="*/ 6410415 w 10297664"/>
                <a:gd name="connsiteY840" fmla="*/ 917903 h 6101463"/>
                <a:gd name="connsiteX841" fmla="*/ 6391039 w 10297664"/>
                <a:gd name="connsiteY841" fmla="*/ 924151 h 6101463"/>
                <a:gd name="connsiteX842" fmla="*/ 6390997 w 10297664"/>
                <a:gd name="connsiteY842" fmla="*/ 920133 h 6101463"/>
                <a:gd name="connsiteX843" fmla="*/ 6381761 w 10297664"/>
                <a:gd name="connsiteY843" fmla="*/ 890869 h 6101463"/>
                <a:gd name="connsiteX844" fmla="*/ 6310737 w 10297664"/>
                <a:gd name="connsiteY844" fmla="*/ 882749 h 6101463"/>
                <a:gd name="connsiteX845" fmla="*/ 6246551 w 10297664"/>
                <a:gd name="connsiteY845" fmla="*/ 965049 h 6101463"/>
                <a:gd name="connsiteX846" fmla="*/ 6244637 w 10297664"/>
                <a:gd name="connsiteY846" fmla="*/ 983688 h 6101463"/>
                <a:gd name="connsiteX847" fmla="*/ 6191138 w 10297664"/>
                <a:gd name="connsiteY847" fmla="*/ 1047097 h 6101463"/>
                <a:gd name="connsiteX848" fmla="*/ 6133809 w 10297664"/>
                <a:gd name="connsiteY848" fmla="*/ 1026290 h 6101463"/>
                <a:gd name="connsiteX849" fmla="*/ 6106818 w 10297664"/>
                <a:gd name="connsiteY849" fmla="*/ 1005252 h 6101463"/>
                <a:gd name="connsiteX850" fmla="*/ 6061270 w 10297664"/>
                <a:gd name="connsiteY850" fmla="*/ 949355 h 6101463"/>
                <a:gd name="connsiteX851" fmla="*/ 6075913 w 10297664"/>
                <a:gd name="connsiteY851" fmla="*/ 912622 h 6101463"/>
                <a:gd name="connsiteX852" fmla="*/ 6150702 w 10297664"/>
                <a:gd name="connsiteY852" fmla="*/ 848730 h 6101463"/>
                <a:gd name="connsiteX853" fmla="*/ 6221937 w 10297664"/>
                <a:gd name="connsiteY853" fmla="*/ 789088 h 6101463"/>
                <a:gd name="connsiteX854" fmla="*/ 6230562 w 10297664"/>
                <a:gd name="connsiteY854" fmla="*/ 779411 h 6101463"/>
                <a:gd name="connsiteX855" fmla="*/ 6253851 w 10297664"/>
                <a:gd name="connsiteY855" fmla="*/ 757069 h 6101463"/>
                <a:gd name="connsiteX856" fmla="*/ 6271144 w 10297664"/>
                <a:gd name="connsiteY856" fmla="*/ 746865 h 6101463"/>
                <a:gd name="connsiteX857" fmla="*/ 6313977 w 10297664"/>
                <a:gd name="connsiteY857" fmla="*/ 718927 h 6101463"/>
                <a:gd name="connsiteX858" fmla="*/ 6346208 w 10297664"/>
                <a:gd name="connsiteY858" fmla="*/ 671592 h 6101463"/>
                <a:gd name="connsiteX859" fmla="*/ 6369433 w 10297664"/>
                <a:gd name="connsiteY859" fmla="*/ 635554 h 6101463"/>
                <a:gd name="connsiteX860" fmla="*/ 6400464 w 10297664"/>
                <a:gd name="connsiteY860" fmla="*/ 624193 h 6101463"/>
                <a:gd name="connsiteX861" fmla="*/ 6400990 w 10297664"/>
                <a:gd name="connsiteY861" fmla="*/ 624193 h 6101463"/>
                <a:gd name="connsiteX862" fmla="*/ 6401705 w 10297664"/>
                <a:gd name="connsiteY862" fmla="*/ 630610 h 6101463"/>
                <a:gd name="connsiteX863" fmla="*/ 6403914 w 10297664"/>
                <a:gd name="connsiteY863" fmla="*/ 644263 h 6101463"/>
                <a:gd name="connsiteX864" fmla="*/ 6428550 w 10297664"/>
                <a:gd name="connsiteY864" fmla="*/ 665154 h 6101463"/>
                <a:gd name="connsiteX865" fmla="*/ 6441088 w 10297664"/>
                <a:gd name="connsiteY865" fmla="*/ 675904 h 6101463"/>
                <a:gd name="connsiteX866" fmla="*/ 6403704 w 10297664"/>
                <a:gd name="connsiteY866" fmla="*/ 714067 h 6101463"/>
                <a:gd name="connsiteX867" fmla="*/ 6400716 w 10297664"/>
                <a:gd name="connsiteY867" fmla="*/ 716045 h 6101463"/>
                <a:gd name="connsiteX868" fmla="*/ 6373767 w 10297664"/>
                <a:gd name="connsiteY868" fmla="*/ 731697 h 6101463"/>
                <a:gd name="connsiteX869" fmla="*/ 6352498 w 10297664"/>
                <a:gd name="connsiteY869" fmla="*/ 743646 h 6101463"/>
                <a:gd name="connsiteX870" fmla="*/ 6325085 w 10297664"/>
                <a:gd name="connsiteY870" fmla="*/ 769228 h 6101463"/>
                <a:gd name="connsiteX871" fmla="*/ 6321425 w 10297664"/>
                <a:gd name="connsiteY871" fmla="*/ 794747 h 6101463"/>
                <a:gd name="connsiteX872" fmla="*/ 6358346 w 10297664"/>
                <a:gd name="connsiteY872" fmla="*/ 820392 h 6101463"/>
                <a:gd name="connsiteX873" fmla="*/ 6362049 w 10297664"/>
                <a:gd name="connsiteY873" fmla="*/ 821634 h 6101463"/>
                <a:gd name="connsiteX874" fmla="*/ 6380688 w 10297664"/>
                <a:gd name="connsiteY874" fmla="*/ 832658 h 6101463"/>
                <a:gd name="connsiteX875" fmla="*/ 6433073 w 10297664"/>
                <a:gd name="connsiteY875" fmla="*/ 850161 h 6101463"/>
                <a:gd name="connsiteX876" fmla="*/ 6487792 w 10297664"/>
                <a:gd name="connsiteY876" fmla="*/ 796872 h 6101463"/>
                <a:gd name="connsiteX877" fmla="*/ 6493515 w 10297664"/>
                <a:gd name="connsiteY877" fmla="*/ 785238 h 6101463"/>
                <a:gd name="connsiteX878" fmla="*/ 6525450 w 10297664"/>
                <a:gd name="connsiteY878" fmla="*/ 750336 h 6101463"/>
                <a:gd name="connsiteX879" fmla="*/ 6556018 w 10297664"/>
                <a:gd name="connsiteY879" fmla="*/ 721451 h 6101463"/>
                <a:gd name="connsiteX880" fmla="*/ 6552504 w 10297664"/>
                <a:gd name="connsiteY880" fmla="*/ 674747 h 6101463"/>
                <a:gd name="connsiteX881" fmla="*/ 6536831 w 10297664"/>
                <a:gd name="connsiteY881" fmla="*/ 665028 h 6101463"/>
                <a:gd name="connsiteX882" fmla="*/ 6522652 w 10297664"/>
                <a:gd name="connsiteY882" fmla="*/ 647440 h 6101463"/>
                <a:gd name="connsiteX883" fmla="*/ 6530520 w 10297664"/>
                <a:gd name="connsiteY883" fmla="*/ 628106 h 6101463"/>
                <a:gd name="connsiteX884" fmla="*/ 6538514 w 10297664"/>
                <a:gd name="connsiteY884" fmla="*/ 585883 h 6101463"/>
                <a:gd name="connsiteX885" fmla="*/ 6486845 w 10297664"/>
                <a:gd name="connsiteY885" fmla="*/ 547006 h 6101463"/>
                <a:gd name="connsiteX886" fmla="*/ 6478599 w 10297664"/>
                <a:gd name="connsiteY886" fmla="*/ 544123 h 6101463"/>
                <a:gd name="connsiteX887" fmla="*/ 6430359 w 10297664"/>
                <a:gd name="connsiteY887" fmla="*/ 542377 h 6101463"/>
                <a:gd name="connsiteX888" fmla="*/ 6401411 w 10297664"/>
                <a:gd name="connsiteY888" fmla="*/ 543639 h 6101463"/>
                <a:gd name="connsiteX889" fmla="*/ 6398697 w 10297664"/>
                <a:gd name="connsiteY889" fmla="*/ 543429 h 6101463"/>
                <a:gd name="connsiteX890" fmla="*/ 6392596 w 10297664"/>
                <a:gd name="connsiteY890" fmla="*/ 542840 h 6101463"/>
                <a:gd name="connsiteX891" fmla="*/ 6434377 w 10297664"/>
                <a:gd name="connsiteY891" fmla="*/ 521255 h 6101463"/>
                <a:gd name="connsiteX892" fmla="*/ 6435618 w 10297664"/>
                <a:gd name="connsiteY892" fmla="*/ 520750 h 6101463"/>
                <a:gd name="connsiteX893" fmla="*/ 6494671 w 10297664"/>
                <a:gd name="connsiteY893" fmla="*/ 489130 h 6101463"/>
                <a:gd name="connsiteX894" fmla="*/ 6520464 w 10297664"/>
                <a:gd name="connsiteY894" fmla="*/ 464726 h 6101463"/>
                <a:gd name="connsiteX895" fmla="*/ 6557932 w 10297664"/>
                <a:gd name="connsiteY895" fmla="*/ 433906 h 6101463"/>
                <a:gd name="connsiteX896" fmla="*/ 6563634 w 10297664"/>
                <a:gd name="connsiteY896" fmla="*/ 431865 h 6101463"/>
                <a:gd name="connsiteX897" fmla="*/ 6564034 w 10297664"/>
                <a:gd name="connsiteY897" fmla="*/ 438976 h 6101463"/>
                <a:gd name="connsiteX898" fmla="*/ 6579580 w 10297664"/>
                <a:gd name="connsiteY898" fmla="*/ 470322 h 6101463"/>
                <a:gd name="connsiteX899" fmla="*/ 6610506 w 10297664"/>
                <a:gd name="connsiteY899" fmla="*/ 462686 h 6101463"/>
                <a:gd name="connsiteX900" fmla="*/ 6618332 w 10297664"/>
                <a:gd name="connsiteY900" fmla="*/ 458352 h 6101463"/>
                <a:gd name="connsiteX901" fmla="*/ 6638129 w 10297664"/>
                <a:gd name="connsiteY901" fmla="*/ 455680 h 6101463"/>
                <a:gd name="connsiteX902" fmla="*/ 6655043 w 10297664"/>
                <a:gd name="connsiteY902" fmla="*/ 503646 h 6101463"/>
                <a:gd name="connsiteX903" fmla="*/ 6655758 w 10297664"/>
                <a:gd name="connsiteY903" fmla="*/ 508506 h 6101463"/>
                <a:gd name="connsiteX904" fmla="*/ 6647701 w 10297664"/>
                <a:gd name="connsiteY904" fmla="*/ 554811 h 6101463"/>
                <a:gd name="connsiteX905" fmla="*/ 6639728 w 10297664"/>
                <a:gd name="connsiteY905" fmla="*/ 584621 h 6101463"/>
                <a:gd name="connsiteX906" fmla="*/ 6641369 w 10297664"/>
                <a:gd name="connsiteY906" fmla="*/ 625393 h 6101463"/>
                <a:gd name="connsiteX907" fmla="*/ 6644188 w 10297664"/>
                <a:gd name="connsiteY907" fmla="*/ 649355 h 6101463"/>
                <a:gd name="connsiteX908" fmla="*/ 6620520 w 10297664"/>
                <a:gd name="connsiteY908" fmla="*/ 693092 h 6101463"/>
                <a:gd name="connsiteX909" fmla="*/ 6617491 w 10297664"/>
                <a:gd name="connsiteY909" fmla="*/ 697047 h 6101463"/>
                <a:gd name="connsiteX910" fmla="*/ 6599272 w 10297664"/>
                <a:gd name="connsiteY910" fmla="*/ 770364 h 6101463"/>
                <a:gd name="connsiteX911" fmla="*/ 6599924 w 10297664"/>
                <a:gd name="connsiteY911" fmla="*/ 777118 h 6101463"/>
                <a:gd name="connsiteX912" fmla="*/ 6601060 w 10297664"/>
                <a:gd name="connsiteY912" fmla="*/ 811199 h 6101463"/>
                <a:gd name="connsiteX913" fmla="*/ 6636698 w 10297664"/>
                <a:gd name="connsiteY913" fmla="*/ 934607 h 6101463"/>
                <a:gd name="connsiteX914" fmla="*/ 6668886 w 10297664"/>
                <a:gd name="connsiteY914" fmla="*/ 940371 h 6101463"/>
                <a:gd name="connsiteX915" fmla="*/ 6732652 w 10297664"/>
                <a:gd name="connsiteY915" fmla="*/ 865603 h 6101463"/>
                <a:gd name="connsiteX916" fmla="*/ 6734419 w 10297664"/>
                <a:gd name="connsiteY916" fmla="*/ 862237 h 6101463"/>
                <a:gd name="connsiteX917" fmla="*/ 6740625 w 10297664"/>
                <a:gd name="connsiteY917" fmla="*/ 850245 h 6101463"/>
                <a:gd name="connsiteX918" fmla="*/ 6771656 w 10297664"/>
                <a:gd name="connsiteY918" fmla="*/ 797735 h 6101463"/>
                <a:gd name="connsiteX919" fmla="*/ 6826481 w 10297664"/>
                <a:gd name="connsiteY919" fmla="*/ 753808 h 6101463"/>
                <a:gd name="connsiteX920" fmla="*/ 6839945 w 10297664"/>
                <a:gd name="connsiteY920" fmla="*/ 745203 h 6101463"/>
                <a:gd name="connsiteX921" fmla="*/ 6930618 w 10297664"/>
                <a:gd name="connsiteY921" fmla="*/ 675568 h 6101463"/>
                <a:gd name="connsiteX922" fmla="*/ 6934805 w 10297664"/>
                <a:gd name="connsiteY922" fmla="*/ 671781 h 6101463"/>
                <a:gd name="connsiteX923" fmla="*/ 6974251 w 10297664"/>
                <a:gd name="connsiteY923" fmla="*/ 642812 h 6101463"/>
                <a:gd name="connsiteX924" fmla="*/ 6989756 w 10297664"/>
                <a:gd name="connsiteY924" fmla="*/ 637679 h 6101463"/>
                <a:gd name="connsiteX925" fmla="*/ 7036165 w 10297664"/>
                <a:gd name="connsiteY925" fmla="*/ 580477 h 6101463"/>
                <a:gd name="connsiteX926" fmla="*/ 7035450 w 10297664"/>
                <a:gd name="connsiteY926" fmla="*/ 573177 h 6101463"/>
                <a:gd name="connsiteX927" fmla="*/ 7035618 w 10297664"/>
                <a:gd name="connsiteY927" fmla="*/ 550855 h 6101463"/>
                <a:gd name="connsiteX928" fmla="*/ 7055330 w 10297664"/>
                <a:gd name="connsiteY928" fmla="*/ 521592 h 6101463"/>
                <a:gd name="connsiteX929" fmla="*/ 7081207 w 10297664"/>
                <a:gd name="connsiteY929" fmla="*/ 477686 h 6101463"/>
                <a:gd name="connsiteX930" fmla="*/ 7083038 w 10297664"/>
                <a:gd name="connsiteY930" fmla="*/ 462559 h 6101463"/>
                <a:gd name="connsiteX931" fmla="*/ 7088802 w 10297664"/>
                <a:gd name="connsiteY931" fmla="*/ 432854 h 6101463"/>
                <a:gd name="connsiteX932" fmla="*/ 7118465 w 10297664"/>
                <a:gd name="connsiteY932" fmla="*/ 398499 h 6101463"/>
                <a:gd name="connsiteX933" fmla="*/ 7144847 w 10297664"/>
                <a:gd name="connsiteY933" fmla="*/ 373422 h 6101463"/>
                <a:gd name="connsiteX934" fmla="*/ 7167988 w 10297664"/>
                <a:gd name="connsiteY934" fmla="*/ 328696 h 6101463"/>
                <a:gd name="connsiteX935" fmla="*/ 7171733 w 10297664"/>
                <a:gd name="connsiteY935" fmla="*/ 319754 h 6101463"/>
                <a:gd name="connsiteX936" fmla="*/ 7179643 w 10297664"/>
                <a:gd name="connsiteY936" fmla="*/ 303366 h 6101463"/>
                <a:gd name="connsiteX937" fmla="*/ 7194538 w 10297664"/>
                <a:gd name="connsiteY937" fmla="*/ 266571 h 6101463"/>
                <a:gd name="connsiteX938" fmla="*/ 7196368 w 10297664"/>
                <a:gd name="connsiteY938" fmla="*/ 249004 h 6101463"/>
                <a:gd name="connsiteX939" fmla="*/ 7186775 w 10297664"/>
                <a:gd name="connsiteY939" fmla="*/ 230196 h 6101463"/>
                <a:gd name="connsiteX940" fmla="*/ 7146551 w 10297664"/>
                <a:gd name="connsiteY940" fmla="*/ 234804 h 6101463"/>
                <a:gd name="connsiteX941" fmla="*/ 7132097 w 10297664"/>
                <a:gd name="connsiteY941" fmla="*/ 239811 h 6101463"/>
                <a:gd name="connsiteX942" fmla="*/ 7094693 w 10297664"/>
                <a:gd name="connsiteY942" fmla="*/ 212293 h 6101463"/>
                <a:gd name="connsiteX943" fmla="*/ 7078851 w 10297664"/>
                <a:gd name="connsiteY943" fmla="*/ 187384 h 6101463"/>
                <a:gd name="connsiteX944" fmla="*/ 6979741 w 10297664"/>
                <a:gd name="connsiteY944" fmla="*/ 176466 h 6101463"/>
                <a:gd name="connsiteX945" fmla="*/ 6964805 w 10297664"/>
                <a:gd name="connsiteY945" fmla="*/ 188815 h 6101463"/>
                <a:gd name="connsiteX946" fmla="*/ 6945871 w 10297664"/>
                <a:gd name="connsiteY946" fmla="*/ 202595 h 6101463"/>
                <a:gd name="connsiteX947" fmla="*/ 6934657 w 10297664"/>
                <a:gd name="connsiteY947" fmla="*/ 201606 h 6101463"/>
                <a:gd name="connsiteX948" fmla="*/ 6924244 w 10297664"/>
                <a:gd name="connsiteY948" fmla="*/ 199586 h 6101463"/>
                <a:gd name="connsiteX949" fmla="*/ 6877519 w 10297664"/>
                <a:gd name="connsiteY949" fmla="*/ 213029 h 6101463"/>
                <a:gd name="connsiteX950" fmla="*/ 6848045 w 10297664"/>
                <a:gd name="connsiteY950" fmla="*/ 224264 h 6101463"/>
                <a:gd name="connsiteX951" fmla="*/ 6815436 w 10297664"/>
                <a:gd name="connsiteY951" fmla="*/ 225294 h 6101463"/>
                <a:gd name="connsiteX952" fmla="*/ 6763977 w 10297664"/>
                <a:gd name="connsiteY952" fmla="*/ 230259 h 6101463"/>
                <a:gd name="connsiteX953" fmla="*/ 6734209 w 10297664"/>
                <a:gd name="connsiteY953" fmla="*/ 241725 h 6101463"/>
                <a:gd name="connsiteX954" fmla="*/ 6676355 w 10297664"/>
                <a:gd name="connsiteY954" fmla="*/ 259186 h 6101463"/>
                <a:gd name="connsiteX955" fmla="*/ 6629608 w 10297664"/>
                <a:gd name="connsiteY955" fmla="*/ 245070 h 6101463"/>
                <a:gd name="connsiteX956" fmla="*/ 6600660 w 10297664"/>
                <a:gd name="connsiteY956" fmla="*/ 231753 h 6101463"/>
                <a:gd name="connsiteX957" fmla="*/ 6505107 w 10297664"/>
                <a:gd name="connsiteY957" fmla="*/ 244523 h 6101463"/>
                <a:gd name="connsiteX958" fmla="*/ 6462147 w 10297664"/>
                <a:gd name="connsiteY958" fmla="*/ 256178 h 6101463"/>
                <a:gd name="connsiteX959" fmla="*/ 6401179 w 10297664"/>
                <a:gd name="connsiteY959" fmla="*/ 291459 h 6101463"/>
                <a:gd name="connsiteX960" fmla="*/ 6390282 w 10297664"/>
                <a:gd name="connsiteY960" fmla="*/ 342812 h 6101463"/>
                <a:gd name="connsiteX961" fmla="*/ 6451249 w 10297664"/>
                <a:gd name="connsiteY961" fmla="*/ 357433 h 6101463"/>
                <a:gd name="connsiteX962" fmla="*/ 6461390 w 10297664"/>
                <a:gd name="connsiteY962" fmla="*/ 354530 h 6101463"/>
                <a:gd name="connsiteX963" fmla="*/ 6491242 w 10297664"/>
                <a:gd name="connsiteY963" fmla="*/ 346872 h 6101463"/>
                <a:gd name="connsiteX964" fmla="*/ 6508472 w 10297664"/>
                <a:gd name="connsiteY964" fmla="*/ 346557 h 6101463"/>
                <a:gd name="connsiteX965" fmla="*/ 6507652 w 10297664"/>
                <a:gd name="connsiteY965" fmla="*/ 351122 h 6101463"/>
                <a:gd name="connsiteX966" fmla="*/ 6460212 w 10297664"/>
                <a:gd name="connsiteY966" fmla="*/ 392377 h 6101463"/>
                <a:gd name="connsiteX967" fmla="*/ 6439658 w 10297664"/>
                <a:gd name="connsiteY967" fmla="*/ 405947 h 6101463"/>
                <a:gd name="connsiteX968" fmla="*/ 6409363 w 10297664"/>
                <a:gd name="connsiteY968" fmla="*/ 435273 h 6101463"/>
                <a:gd name="connsiteX969" fmla="*/ 6361607 w 10297664"/>
                <a:gd name="connsiteY969" fmla="*/ 473983 h 6101463"/>
                <a:gd name="connsiteX970" fmla="*/ 6349552 w 10297664"/>
                <a:gd name="connsiteY970" fmla="*/ 475329 h 6101463"/>
                <a:gd name="connsiteX971" fmla="*/ 6344188 w 10297664"/>
                <a:gd name="connsiteY971" fmla="*/ 459383 h 6101463"/>
                <a:gd name="connsiteX972" fmla="*/ 6330955 w 10297664"/>
                <a:gd name="connsiteY972" fmla="*/ 431634 h 6101463"/>
                <a:gd name="connsiteX973" fmla="*/ 6310464 w 10297664"/>
                <a:gd name="connsiteY973" fmla="*/ 429025 h 6101463"/>
                <a:gd name="connsiteX974" fmla="*/ 6254588 w 10297664"/>
                <a:gd name="connsiteY974" fmla="*/ 480063 h 6101463"/>
                <a:gd name="connsiteX975" fmla="*/ 6178935 w 10297664"/>
                <a:gd name="connsiteY975" fmla="*/ 629390 h 6101463"/>
                <a:gd name="connsiteX976" fmla="*/ 6180471 w 10297664"/>
                <a:gd name="connsiteY976" fmla="*/ 650638 h 6101463"/>
                <a:gd name="connsiteX977" fmla="*/ 6169342 w 10297664"/>
                <a:gd name="connsiteY977" fmla="*/ 679754 h 6101463"/>
                <a:gd name="connsiteX978" fmla="*/ 6140520 w 10297664"/>
                <a:gd name="connsiteY978" fmla="*/ 690589 h 6101463"/>
                <a:gd name="connsiteX979" fmla="*/ 6130275 w 10297664"/>
                <a:gd name="connsiteY979" fmla="*/ 692609 h 6101463"/>
                <a:gd name="connsiteX980" fmla="*/ 6080562 w 10297664"/>
                <a:gd name="connsiteY980" fmla="*/ 698141 h 6101463"/>
                <a:gd name="connsiteX981" fmla="*/ 6080836 w 10297664"/>
                <a:gd name="connsiteY981" fmla="*/ 697489 h 6101463"/>
                <a:gd name="connsiteX982" fmla="*/ 6098634 w 10297664"/>
                <a:gd name="connsiteY982" fmla="*/ 665049 h 6101463"/>
                <a:gd name="connsiteX983" fmla="*/ 6121649 w 10297664"/>
                <a:gd name="connsiteY983" fmla="*/ 620722 h 6101463"/>
                <a:gd name="connsiteX984" fmla="*/ 6094363 w 10297664"/>
                <a:gd name="connsiteY984" fmla="*/ 564383 h 6101463"/>
                <a:gd name="connsiteX985" fmla="*/ 6087799 w 10297664"/>
                <a:gd name="connsiteY985" fmla="*/ 561480 h 6101463"/>
                <a:gd name="connsiteX986" fmla="*/ 6081824 w 10297664"/>
                <a:gd name="connsiteY986" fmla="*/ 558639 h 6101463"/>
                <a:gd name="connsiteX987" fmla="*/ 6030240 w 10297664"/>
                <a:gd name="connsiteY987" fmla="*/ 525252 h 6101463"/>
                <a:gd name="connsiteX988" fmla="*/ 6027042 w 10297664"/>
                <a:gd name="connsiteY988" fmla="*/ 520982 h 6101463"/>
                <a:gd name="connsiteX989" fmla="*/ 5991635 w 10297664"/>
                <a:gd name="connsiteY989" fmla="*/ 500028 h 6101463"/>
                <a:gd name="connsiteX990" fmla="*/ 5865702 w 10297664"/>
                <a:gd name="connsiteY990" fmla="*/ 619649 h 6101463"/>
                <a:gd name="connsiteX991" fmla="*/ 5864462 w 10297664"/>
                <a:gd name="connsiteY991" fmla="*/ 645189 h 6101463"/>
                <a:gd name="connsiteX992" fmla="*/ 5912344 w 10297664"/>
                <a:gd name="connsiteY992" fmla="*/ 641318 h 6101463"/>
                <a:gd name="connsiteX993" fmla="*/ 5927933 w 10297664"/>
                <a:gd name="connsiteY993" fmla="*/ 633534 h 6101463"/>
                <a:gd name="connsiteX994" fmla="*/ 5889749 w 10297664"/>
                <a:gd name="connsiteY994" fmla="*/ 690673 h 6101463"/>
                <a:gd name="connsiteX995" fmla="*/ 5796614 w 10297664"/>
                <a:gd name="connsiteY995" fmla="*/ 722545 h 6101463"/>
                <a:gd name="connsiteX996" fmla="*/ 5779910 w 10297664"/>
                <a:gd name="connsiteY996" fmla="*/ 706052 h 6101463"/>
                <a:gd name="connsiteX997" fmla="*/ 5748921 w 10297664"/>
                <a:gd name="connsiteY997" fmla="*/ 680996 h 6101463"/>
                <a:gd name="connsiteX998" fmla="*/ 5688984 w 10297664"/>
                <a:gd name="connsiteY998" fmla="*/ 707167 h 6101463"/>
                <a:gd name="connsiteX999" fmla="*/ 5653557 w 10297664"/>
                <a:gd name="connsiteY999" fmla="*/ 727552 h 6101463"/>
                <a:gd name="connsiteX1000" fmla="*/ 5603066 w 10297664"/>
                <a:gd name="connsiteY1000" fmla="*/ 727784 h 6101463"/>
                <a:gd name="connsiteX1001" fmla="*/ 5585037 w 10297664"/>
                <a:gd name="connsiteY1001" fmla="*/ 723492 h 6101463"/>
                <a:gd name="connsiteX1002" fmla="*/ 5497351 w 10297664"/>
                <a:gd name="connsiteY1002" fmla="*/ 721031 h 6101463"/>
                <a:gd name="connsiteX1003" fmla="*/ 5237554 w 10297664"/>
                <a:gd name="connsiteY1003" fmla="*/ 796031 h 6101463"/>
                <a:gd name="connsiteX1004" fmla="*/ 5525710 w 10297664"/>
                <a:gd name="connsiteY1004" fmla="*/ 498597 h 6101463"/>
                <a:gd name="connsiteX1005" fmla="*/ 5911586 w 10297664"/>
                <a:gd name="connsiteY1005" fmla="*/ 242419 h 6101463"/>
                <a:gd name="connsiteX1006" fmla="*/ 6352540 w 10297664"/>
                <a:gd name="connsiteY1006" fmla="*/ 78766 h 6101463"/>
                <a:gd name="connsiteX1007" fmla="*/ 6835043 w 10297664"/>
                <a:gd name="connsiteY1007" fmla="*/ 21206 h 6101463"/>
                <a:gd name="connsiteX1008" fmla="*/ 8192553 w 10297664"/>
                <a:gd name="connsiteY1008" fmla="*/ 540484 h 6101463"/>
                <a:gd name="connsiteX1009" fmla="*/ 8182686 w 10297664"/>
                <a:gd name="connsiteY1009" fmla="*/ 541515 h 6101463"/>
                <a:gd name="connsiteX1010" fmla="*/ 8151003 w 10297664"/>
                <a:gd name="connsiteY1010" fmla="*/ 541641 h 6101463"/>
                <a:gd name="connsiteX1011" fmla="*/ 8109895 w 10297664"/>
                <a:gd name="connsiteY1011" fmla="*/ 522244 h 6101463"/>
                <a:gd name="connsiteX1012" fmla="*/ 8093044 w 10297664"/>
                <a:gd name="connsiteY1012" fmla="*/ 512440 h 6101463"/>
                <a:gd name="connsiteX1013" fmla="*/ 8022294 w 10297664"/>
                <a:gd name="connsiteY1013" fmla="*/ 508696 h 6101463"/>
                <a:gd name="connsiteX1014" fmla="*/ 8009482 w 10297664"/>
                <a:gd name="connsiteY1014" fmla="*/ 585357 h 6101463"/>
                <a:gd name="connsiteX1015" fmla="*/ 8004201 w 10297664"/>
                <a:gd name="connsiteY1015" fmla="*/ 657559 h 6101463"/>
                <a:gd name="connsiteX1016" fmla="*/ 7888220 w 10297664"/>
                <a:gd name="connsiteY1016" fmla="*/ 696984 h 6101463"/>
                <a:gd name="connsiteX1017" fmla="*/ 7838360 w 10297664"/>
                <a:gd name="connsiteY1017" fmla="*/ 708008 h 6101463"/>
                <a:gd name="connsiteX1018" fmla="*/ 7809580 w 10297664"/>
                <a:gd name="connsiteY1018" fmla="*/ 715897 h 6101463"/>
                <a:gd name="connsiteX1019" fmla="*/ 7796957 w 10297664"/>
                <a:gd name="connsiteY1019" fmla="*/ 717433 h 6101463"/>
                <a:gd name="connsiteX1020" fmla="*/ 7765106 w 10297664"/>
                <a:gd name="connsiteY1020" fmla="*/ 724733 h 6101463"/>
                <a:gd name="connsiteX1021" fmla="*/ 7589271 w 10297664"/>
                <a:gd name="connsiteY1021" fmla="*/ 677125 h 6101463"/>
                <a:gd name="connsiteX1022" fmla="*/ 7589461 w 10297664"/>
                <a:gd name="connsiteY1022" fmla="*/ 671928 h 6101463"/>
                <a:gd name="connsiteX1023" fmla="*/ 7583823 w 10297664"/>
                <a:gd name="connsiteY1023" fmla="*/ 649691 h 6101463"/>
                <a:gd name="connsiteX1024" fmla="*/ 7552497 w 10297664"/>
                <a:gd name="connsiteY1024" fmla="*/ 636984 h 6101463"/>
                <a:gd name="connsiteX1025" fmla="*/ 7500976 w 10297664"/>
                <a:gd name="connsiteY1025" fmla="*/ 643212 h 6101463"/>
                <a:gd name="connsiteX1026" fmla="*/ 7424650 w 10297664"/>
                <a:gd name="connsiteY1026" fmla="*/ 687623 h 6101463"/>
                <a:gd name="connsiteX1027" fmla="*/ 7408620 w 10297664"/>
                <a:gd name="connsiteY1027" fmla="*/ 698499 h 6101463"/>
                <a:gd name="connsiteX1028" fmla="*/ 7355941 w 10297664"/>
                <a:gd name="connsiteY1028" fmla="*/ 745435 h 6101463"/>
                <a:gd name="connsiteX1029" fmla="*/ 7329853 w 10297664"/>
                <a:gd name="connsiteY1029" fmla="*/ 811620 h 6101463"/>
                <a:gd name="connsiteX1030" fmla="*/ 7310162 w 10297664"/>
                <a:gd name="connsiteY1030" fmla="*/ 865834 h 6101463"/>
                <a:gd name="connsiteX1031" fmla="*/ 7262133 w 10297664"/>
                <a:gd name="connsiteY1031" fmla="*/ 923015 h 6101463"/>
                <a:gd name="connsiteX1032" fmla="*/ 7212273 w 10297664"/>
                <a:gd name="connsiteY1032" fmla="*/ 981564 h 6101463"/>
                <a:gd name="connsiteX1033" fmla="*/ 7197399 w 10297664"/>
                <a:gd name="connsiteY1033" fmla="*/ 1090035 h 6101463"/>
                <a:gd name="connsiteX1034" fmla="*/ 7200029 w 10297664"/>
                <a:gd name="connsiteY1034" fmla="*/ 1124032 h 6101463"/>
                <a:gd name="connsiteX1035" fmla="*/ 7233900 w 10297664"/>
                <a:gd name="connsiteY1035" fmla="*/ 1161711 h 6101463"/>
                <a:gd name="connsiteX1036" fmla="*/ 7266656 w 10297664"/>
                <a:gd name="connsiteY1036" fmla="*/ 1144228 h 6101463"/>
                <a:gd name="connsiteX1037" fmla="*/ 7280078 w 10297664"/>
                <a:gd name="connsiteY1037" fmla="*/ 1133794 h 6101463"/>
                <a:gd name="connsiteX1038" fmla="*/ 7305050 w 10297664"/>
                <a:gd name="connsiteY1038" fmla="*/ 1179235 h 6101463"/>
                <a:gd name="connsiteX1039" fmla="*/ 7308858 w 10297664"/>
                <a:gd name="connsiteY1039" fmla="*/ 1194972 h 6101463"/>
                <a:gd name="connsiteX1040" fmla="*/ 7347084 w 10297664"/>
                <a:gd name="connsiteY1040" fmla="*/ 1235364 h 6101463"/>
                <a:gd name="connsiteX1041" fmla="*/ 7392525 w 10297664"/>
                <a:gd name="connsiteY1041" fmla="*/ 1189355 h 6101463"/>
                <a:gd name="connsiteX1042" fmla="*/ 7400919 w 10297664"/>
                <a:gd name="connsiteY1042" fmla="*/ 1155526 h 6101463"/>
                <a:gd name="connsiteX1043" fmla="*/ 7407483 w 10297664"/>
                <a:gd name="connsiteY1043" fmla="*/ 1127714 h 6101463"/>
                <a:gd name="connsiteX1044" fmla="*/ 7414910 w 10297664"/>
                <a:gd name="connsiteY1044" fmla="*/ 1107875 h 6101463"/>
                <a:gd name="connsiteX1045" fmla="*/ 7424040 w 10297664"/>
                <a:gd name="connsiteY1045" fmla="*/ 1082566 h 6101463"/>
                <a:gd name="connsiteX1046" fmla="*/ 7420527 w 10297664"/>
                <a:gd name="connsiteY1046" fmla="*/ 1028204 h 6101463"/>
                <a:gd name="connsiteX1047" fmla="*/ 7413332 w 10297664"/>
                <a:gd name="connsiteY1047" fmla="*/ 1018611 h 6101463"/>
                <a:gd name="connsiteX1048" fmla="*/ 7406894 w 10297664"/>
                <a:gd name="connsiteY1048" fmla="*/ 1009270 h 6101463"/>
                <a:gd name="connsiteX1049" fmla="*/ 7420548 w 10297664"/>
                <a:gd name="connsiteY1049" fmla="*/ 967931 h 6101463"/>
                <a:gd name="connsiteX1050" fmla="*/ 7486607 w 10297664"/>
                <a:gd name="connsiteY1050" fmla="*/ 871746 h 6101463"/>
                <a:gd name="connsiteX1051" fmla="*/ 7470450 w 10297664"/>
                <a:gd name="connsiteY1051" fmla="*/ 927749 h 6101463"/>
                <a:gd name="connsiteX1052" fmla="*/ 7462624 w 10297664"/>
                <a:gd name="connsiteY1052" fmla="*/ 941655 h 6101463"/>
                <a:gd name="connsiteX1053" fmla="*/ 7439167 w 10297664"/>
                <a:gd name="connsiteY1053" fmla="*/ 992924 h 6101463"/>
                <a:gd name="connsiteX1054" fmla="*/ 7458858 w 10297664"/>
                <a:gd name="connsiteY1054" fmla="*/ 1067482 h 6101463"/>
                <a:gd name="connsiteX1055" fmla="*/ 7514566 w 10297664"/>
                <a:gd name="connsiteY1055" fmla="*/ 1066220 h 6101463"/>
                <a:gd name="connsiteX1056" fmla="*/ 7545871 w 10297664"/>
                <a:gd name="connsiteY1056" fmla="*/ 1059867 h 6101463"/>
                <a:gd name="connsiteX1057" fmla="*/ 7482420 w 10297664"/>
                <a:gd name="connsiteY1057" fmla="*/ 1089341 h 6101463"/>
                <a:gd name="connsiteX1058" fmla="*/ 7473437 w 10297664"/>
                <a:gd name="connsiteY1058" fmla="*/ 1091234 h 6101463"/>
                <a:gd name="connsiteX1059" fmla="*/ 7463507 w 10297664"/>
                <a:gd name="connsiteY1059" fmla="*/ 1106108 h 6101463"/>
                <a:gd name="connsiteX1060" fmla="*/ 7476130 w 10297664"/>
                <a:gd name="connsiteY1060" fmla="*/ 1134677 h 6101463"/>
                <a:gd name="connsiteX1061" fmla="*/ 7477392 w 10297664"/>
                <a:gd name="connsiteY1061" fmla="*/ 1138338 h 6101463"/>
                <a:gd name="connsiteX1062" fmla="*/ 7477266 w 10297664"/>
                <a:gd name="connsiteY1062" fmla="*/ 1139095 h 6101463"/>
                <a:gd name="connsiteX1063" fmla="*/ 7475373 w 10297664"/>
                <a:gd name="connsiteY1063" fmla="*/ 1139305 h 6101463"/>
                <a:gd name="connsiteX1064" fmla="*/ 7475099 w 10297664"/>
                <a:gd name="connsiteY1064" fmla="*/ 1139305 h 6101463"/>
                <a:gd name="connsiteX1065" fmla="*/ 7430099 w 10297664"/>
                <a:gd name="connsiteY1065" fmla="*/ 1170757 h 6101463"/>
                <a:gd name="connsiteX1066" fmla="*/ 7427659 w 10297664"/>
                <a:gd name="connsiteY1066" fmla="*/ 1199916 h 6101463"/>
                <a:gd name="connsiteX1067" fmla="*/ 7425113 w 10297664"/>
                <a:gd name="connsiteY1067" fmla="*/ 1223247 h 6101463"/>
                <a:gd name="connsiteX1068" fmla="*/ 7403339 w 10297664"/>
                <a:gd name="connsiteY1068" fmla="*/ 1230105 h 6101463"/>
                <a:gd name="connsiteX1069" fmla="*/ 7375064 w 10297664"/>
                <a:gd name="connsiteY1069" fmla="*/ 1234628 h 6101463"/>
                <a:gd name="connsiteX1070" fmla="*/ 7308500 w 10297664"/>
                <a:gd name="connsiteY1070" fmla="*/ 1250133 h 6101463"/>
                <a:gd name="connsiteX1071" fmla="*/ 7298886 w 10297664"/>
                <a:gd name="connsiteY1071" fmla="*/ 1238268 h 6101463"/>
                <a:gd name="connsiteX1072" fmla="*/ 7302357 w 10297664"/>
                <a:gd name="connsiteY1072" fmla="*/ 1217587 h 6101463"/>
                <a:gd name="connsiteX1073" fmla="*/ 7305071 w 10297664"/>
                <a:gd name="connsiteY1073" fmla="*/ 1181823 h 6101463"/>
                <a:gd name="connsiteX1074" fmla="*/ 7282161 w 10297664"/>
                <a:gd name="connsiteY1074" fmla="*/ 1161858 h 6101463"/>
                <a:gd name="connsiteX1075" fmla="*/ 7250478 w 10297664"/>
                <a:gd name="connsiteY1075" fmla="*/ 1167938 h 6101463"/>
                <a:gd name="connsiteX1076" fmla="*/ 7236782 w 10297664"/>
                <a:gd name="connsiteY1076" fmla="*/ 1231199 h 6101463"/>
                <a:gd name="connsiteX1077" fmla="*/ 7239517 w 10297664"/>
                <a:gd name="connsiteY1077" fmla="*/ 1257980 h 6101463"/>
                <a:gd name="connsiteX1078" fmla="*/ 7215387 w 10297664"/>
                <a:gd name="connsiteY1078" fmla="*/ 1283394 h 6101463"/>
                <a:gd name="connsiteX1079" fmla="*/ 7193087 w 10297664"/>
                <a:gd name="connsiteY1079" fmla="*/ 1296816 h 6101463"/>
                <a:gd name="connsiteX1080" fmla="*/ 7158395 w 10297664"/>
                <a:gd name="connsiteY1080" fmla="*/ 1345687 h 6101463"/>
                <a:gd name="connsiteX1081" fmla="*/ 7137105 w 10297664"/>
                <a:gd name="connsiteY1081" fmla="*/ 1379642 h 6101463"/>
                <a:gd name="connsiteX1082" fmla="*/ 7099973 w 10297664"/>
                <a:gd name="connsiteY1082" fmla="*/ 1400470 h 6101463"/>
                <a:gd name="connsiteX1083" fmla="*/ 7028549 w 10297664"/>
                <a:gd name="connsiteY1083" fmla="*/ 1474228 h 6101463"/>
                <a:gd name="connsiteX1084" fmla="*/ 7048472 w 10297664"/>
                <a:gd name="connsiteY1084" fmla="*/ 1496570 h 6101463"/>
                <a:gd name="connsiteX1085" fmla="*/ 7053731 w 10297664"/>
                <a:gd name="connsiteY1085" fmla="*/ 1500715 h 6101463"/>
                <a:gd name="connsiteX1086" fmla="*/ 7076179 w 10297664"/>
                <a:gd name="connsiteY1086" fmla="*/ 1582994 h 6101463"/>
                <a:gd name="connsiteX1087" fmla="*/ 7049819 w 10297664"/>
                <a:gd name="connsiteY1087" fmla="*/ 1601823 h 6101463"/>
                <a:gd name="connsiteX1088" fmla="*/ 7023837 w 10297664"/>
                <a:gd name="connsiteY1088" fmla="*/ 1598204 h 6101463"/>
                <a:gd name="connsiteX1089" fmla="*/ 6943830 w 10297664"/>
                <a:gd name="connsiteY1089" fmla="*/ 1620967 h 6101463"/>
                <a:gd name="connsiteX1090" fmla="*/ 6943599 w 10297664"/>
                <a:gd name="connsiteY1090" fmla="*/ 1621472 h 6101463"/>
                <a:gd name="connsiteX1091" fmla="*/ 6939959 w 10297664"/>
                <a:gd name="connsiteY1091" fmla="*/ 1679074 h 6101463"/>
                <a:gd name="connsiteX1092" fmla="*/ 6942105 w 10297664"/>
                <a:gd name="connsiteY1092" fmla="*/ 1700133 h 6101463"/>
                <a:gd name="connsiteX1093" fmla="*/ 6937287 w 10297664"/>
                <a:gd name="connsiteY1093" fmla="*/ 1722454 h 6101463"/>
                <a:gd name="connsiteX1094" fmla="*/ 6951109 w 10297664"/>
                <a:gd name="connsiteY1094" fmla="*/ 1806732 h 6101463"/>
                <a:gd name="connsiteX1095" fmla="*/ 6953991 w 10297664"/>
                <a:gd name="connsiteY1095" fmla="*/ 1808352 h 6101463"/>
                <a:gd name="connsiteX1096" fmla="*/ 6977638 w 10297664"/>
                <a:gd name="connsiteY1096" fmla="*/ 1817924 h 6101463"/>
                <a:gd name="connsiteX1097" fmla="*/ 7097196 w 10297664"/>
                <a:gd name="connsiteY1097" fmla="*/ 1801767 h 6101463"/>
                <a:gd name="connsiteX1098" fmla="*/ 7127932 w 10297664"/>
                <a:gd name="connsiteY1098" fmla="*/ 1732216 h 6101463"/>
                <a:gd name="connsiteX1099" fmla="*/ 7132140 w 10297664"/>
                <a:gd name="connsiteY1099" fmla="*/ 1708611 h 6101463"/>
                <a:gd name="connsiteX1100" fmla="*/ 7155681 w 10297664"/>
                <a:gd name="connsiteY1100" fmla="*/ 1691360 h 6101463"/>
                <a:gd name="connsiteX1101" fmla="*/ 7187049 w 10297664"/>
                <a:gd name="connsiteY1101" fmla="*/ 1630603 h 6101463"/>
                <a:gd name="connsiteX1102" fmla="*/ 7202574 w 10297664"/>
                <a:gd name="connsiteY1102" fmla="*/ 1632433 h 6101463"/>
                <a:gd name="connsiteX1103" fmla="*/ 7233206 w 10297664"/>
                <a:gd name="connsiteY1103" fmla="*/ 1633632 h 6101463"/>
                <a:gd name="connsiteX1104" fmla="*/ 7252413 w 10297664"/>
                <a:gd name="connsiteY1104" fmla="*/ 1611016 h 6101463"/>
                <a:gd name="connsiteX1105" fmla="*/ 7261207 w 10297664"/>
                <a:gd name="connsiteY1105" fmla="*/ 1598352 h 6101463"/>
                <a:gd name="connsiteX1106" fmla="*/ 7264994 w 10297664"/>
                <a:gd name="connsiteY1106" fmla="*/ 1607461 h 6101463"/>
                <a:gd name="connsiteX1107" fmla="*/ 7265457 w 10297664"/>
                <a:gd name="connsiteY1107" fmla="*/ 1608786 h 6101463"/>
                <a:gd name="connsiteX1108" fmla="*/ 7332463 w 10297664"/>
                <a:gd name="connsiteY1108" fmla="*/ 1685806 h 6101463"/>
                <a:gd name="connsiteX1109" fmla="*/ 7360548 w 10297664"/>
                <a:gd name="connsiteY1109" fmla="*/ 1707180 h 6101463"/>
                <a:gd name="connsiteX1110" fmla="*/ 7360843 w 10297664"/>
                <a:gd name="connsiteY1110" fmla="*/ 1707433 h 6101463"/>
                <a:gd name="connsiteX1111" fmla="*/ 7366417 w 10297664"/>
                <a:gd name="connsiteY1111" fmla="*/ 1739957 h 6101463"/>
                <a:gd name="connsiteX1112" fmla="*/ 7366039 w 10297664"/>
                <a:gd name="connsiteY1112" fmla="*/ 1750014 h 6101463"/>
                <a:gd name="connsiteX1113" fmla="*/ 7376389 w 10297664"/>
                <a:gd name="connsiteY1113" fmla="*/ 1772671 h 6101463"/>
                <a:gd name="connsiteX1114" fmla="*/ 7392273 w 10297664"/>
                <a:gd name="connsiteY1114" fmla="*/ 1775512 h 6101463"/>
                <a:gd name="connsiteX1115" fmla="*/ 7411060 w 10297664"/>
                <a:gd name="connsiteY1115" fmla="*/ 1734572 h 6101463"/>
                <a:gd name="connsiteX1116" fmla="*/ 7416509 w 10297664"/>
                <a:gd name="connsiteY1116" fmla="*/ 1712356 h 6101463"/>
                <a:gd name="connsiteX1117" fmla="*/ 7432455 w 10297664"/>
                <a:gd name="connsiteY1117" fmla="*/ 1698387 h 6101463"/>
                <a:gd name="connsiteX1118" fmla="*/ 7384510 w 10297664"/>
                <a:gd name="connsiteY1118" fmla="*/ 1636851 h 6101463"/>
                <a:gd name="connsiteX1119" fmla="*/ 7362273 w 10297664"/>
                <a:gd name="connsiteY1119" fmla="*/ 1616928 h 6101463"/>
                <a:gd name="connsiteX1120" fmla="*/ 7359265 w 10297664"/>
                <a:gd name="connsiteY1120" fmla="*/ 1613667 h 6101463"/>
                <a:gd name="connsiteX1121" fmla="*/ 7330296 w 10297664"/>
                <a:gd name="connsiteY1121" fmla="*/ 1570203 h 6101463"/>
                <a:gd name="connsiteX1122" fmla="*/ 7346642 w 10297664"/>
                <a:gd name="connsiteY1122" fmla="*/ 1586739 h 6101463"/>
                <a:gd name="connsiteX1123" fmla="*/ 7384468 w 10297664"/>
                <a:gd name="connsiteY1123" fmla="*/ 1618990 h 6101463"/>
                <a:gd name="connsiteX1124" fmla="*/ 7418991 w 10297664"/>
                <a:gd name="connsiteY1124" fmla="*/ 1648590 h 6101463"/>
                <a:gd name="connsiteX1125" fmla="*/ 7432834 w 10297664"/>
                <a:gd name="connsiteY1125" fmla="*/ 1686332 h 6101463"/>
                <a:gd name="connsiteX1126" fmla="*/ 7450569 w 10297664"/>
                <a:gd name="connsiteY1126" fmla="*/ 1733562 h 6101463"/>
                <a:gd name="connsiteX1127" fmla="*/ 7488710 w 10297664"/>
                <a:gd name="connsiteY1127" fmla="*/ 1764467 h 6101463"/>
                <a:gd name="connsiteX1128" fmla="*/ 7520499 w 10297664"/>
                <a:gd name="connsiteY1128" fmla="*/ 1763120 h 6101463"/>
                <a:gd name="connsiteX1129" fmla="*/ 7524580 w 10297664"/>
                <a:gd name="connsiteY1129" fmla="*/ 1724579 h 6101463"/>
                <a:gd name="connsiteX1130" fmla="*/ 7522182 w 10297664"/>
                <a:gd name="connsiteY1130" fmla="*/ 1710568 h 6101463"/>
                <a:gd name="connsiteX1131" fmla="*/ 7536004 w 10297664"/>
                <a:gd name="connsiteY1131" fmla="*/ 1683871 h 6101463"/>
                <a:gd name="connsiteX1132" fmla="*/ 7547869 w 10297664"/>
                <a:gd name="connsiteY1132" fmla="*/ 1685511 h 6101463"/>
                <a:gd name="connsiteX1133" fmla="*/ 7562490 w 10297664"/>
                <a:gd name="connsiteY1133" fmla="*/ 1689151 h 6101463"/>
                <a:gd name="connsiteX1134" fmla="*/ 7607217 w 10297664"/>
                <a:gd name="connsiteY1134" fmla="*/ 1669670 h 6101463"/>
                <a:gd name="connsiteX1135" fmla="*/ 7609089 w 10297664"/>
                <a:gd name="connsiteY1135" fmla="*/ 1647159 h 6101463"/>
                <a:gd name="connsiteX1136" fmla="*/ 7601621 w 10297664"/>
                <a:gd name="connsiteY1136" fmla="*/ 1636704 h 6101463"/>
                <a:gd name="connsiteX1137" fmla="*/ 7598507 w 10297664"/>
                <a:gd name="connsiteY1137" fmla="*/ 1633001 h 6101463"/>
                <a:gd name="connsiteX1138" fmla="*/ 7609510 w 10297664"/>
                <a:gd name="connsiteY1138" fmla="*/ 1552279 h 6101463"/>
                <a:gd name="connsiteX1139" fmla="*/ 7627266 w 10297664"/>
                <a:gd name="connsiteY1139" fmla="*/ 1519670 h 6101463"/>
                <a:gd name="connsiteX1140" fmla="*/ 7640940 w 10297664"/>
                <a:gd name="connsiteY1140" fmla="*/ 1543653 h 6101463"/>
                <a:gd name="connsiteX1141" fmla="*/ 7674369 w 10297664"/>
                <a:gd name="connsiteY1141" fmla="*/ 1580491 h 6101463"/>
                <a:gd name="connsiteX1142" fmla="*/ 7675190 w 10297664"/>
                <a:gd name="connsiteY1142" fmla="*/ 1580491 h 6101463"/>
                <a:gd name="connsiteX1143" fmla="*/ 7693998 w 10297664"/>
                <a:gd name="connsiteY1143" fmla="*/ 1572307 h 6101463"/>
                <a:gd name="connsiteX1144" fmla="*/ 7701593 w 10297664"/>
                <a:gd name="connsiteY1144" fmla="*/ 1530694 h 6101463"/>
                <a:gd name="connsiteX1145" fmla="*/ 7701298 w 10297664"/>
                <a:gd name="connsiteY1145" fmla="*/ 1516451 h 6101463"/>
                <a:gd name="connsiteX1146" fmla="*/ 7719580 w 10297664"/>
                <a:gd name="connsiteY1146" fmla="*/ 1493394 h 6101463"/>
                <a:gd name="connsiteX1147" fmla="*/ 7735695 w 10297664"/>
                <a:gd name="connsiteY1147" fmla="*/ 1484979 h 6101463"/>
                <a:gd name="connsiteX1148" fmla="*/ 7735338 w 10297664"/>
                <a:gd name="connsiteY1148" fmla="*/ 1488345 h 6101463"/>
                <a:gd name="connsiteX1149" fmla="*/ 7730625 w 10297664"/>
                <a:gd name="connsiteY1149" fmla="*/ 1500420 h 6101463"/>
                <a:gd name="connsiteX1150" fmla="*/ 7726417 w 10297664"/>
                <a:gd name="connsiteY1150" fmla="*/ 1509719 h 6101463"/>
                <a:gd name="connsiteX1151" fmla="*/ 7858514 w 10297664"/>
                <a:gd name="connsiteY1151" fmla="*/ 1694474 h 6101463"/>
                <a:gd name="connsiteX1152" fmla="*/ 7901684 w 10297664"/>
                <a:gd name="connsiteY1152" fmla="*/ 1728997 h 6101463"/>
                <a:gd name="connsiteX1153" fmla="*/ 7957182 w 10297664"/>
                <a:gd name="connsiteY1153" fmla="*/ 1829579 h 6101463"/>
                <a:gd name="connsiteX1154" fmla="*/ 7918072 w 10297664"/>
                <a:gd name="connsiteY1154" fmla="*/ 1855119 h 6101463"/>
                <a:gd name="connsiteX1155" fmla="*/ 7871410 w 10297664"/>
                <a:gd name="connsiteY1155" fmla="*/ 1837931 h 6101463"/>
                <a:gd name="connsiteX1156" fmla="*/ 7866508 w 10297664"/>
                <a:gd name="connsiteY1156" fmla="*/ 1800862 h 6101463"/>
                <a:gd name="connsiteX1157" fmla="*/ 7866656 w 10297664"/>
                <a:gd name="connsiteY1157" fmla="*/ 1785799 h 6101463"/>
                <a:gd name="connsiteX1158" fmla="*/ 7843872 w 10297664"/>
                <a:gd name="connsiteY1158" fmla="*/ 1737875 h 6101463"/>
                <a:gd name="connsiteX1159" fmla="*/ 7683815 w 10297664"/>
                <a:gd name="connsiteY1159" fmla="*/ 1757461 h 6101463"/>
                <a:gd name="connsiteX1160" fmla="*/ 7658444 w 10297664"/>
                <a:gd name="connsiteY1160" fmla="*/ 1766423 h 6101463"/>
                <a:gd name="connsiteX1161" fmla="*/ 7567182 w 10297664"/>
                <a:gd name="connsiteY1161" fmla="*/ 1827685 h 6101463"/>
                <a:gd name="connsiteX1162" fmla="*/ 7549278 w 10297664"/>
                <a:gd name="connsiteY1162" fmla="*/ 1885035 h 6101463"/>
                <a:gd name="connsiteX1163" fmla="*/ 7528682 w 10297664"/>
                <a:gd name="connsiteY1163" fmla="*/ 1944614 h 6101463"/>
                <a:gd name="connsiteX1164" fmla="*/ 7505899 w 10297664"/>
                <a:gd name="connsiteY1164" fmla="*/ 1971332 h 6101463"/>
                <a:gd name="connsiteX1165" fmla="*/ 7461109 w 10297664"/>
                <a:gd name="connsiteY1165" fmla="*/ 2046016 h 6101463"/>
                <a:gd name="connsiteX1166" fmla="*/ 7461151 w 10297664"/>
                <a:gd name="connsiteY1166" fmla="*/ 2097517 h 6101463"/>
                <a:gd name="connsiteX1167" fmla="*/ 7462939 w 10297664"/>
                <a:gd name="connsiteY1167" fmla="*/ 2125497 h 6101463"/>
                <a:gd name="connsiteX1168" fmla="*/ 7458521 w 10297664"/>
                <a:gd name="connsiteY1168" fmla="*/ 2168898 h 6101463"/>
                <a:gd name="connsiteX1169" fmla="*/ 7454251 w 10297664"/>
                <a:gd name="connsiteY1169" fmla="*/ 2203905 h 6101463"/>
                <a:gd name="connsiteX1170" fmla="*/ 7576543 w 10297664"/>
                <a:gd name="connsiteY1170" fmla="*/ 2409887 h 6101463"/>
                <a:gd name="connsiteX1171" fmla="*/ 7700499 w 10297664"/>
                <a:gd name="connsiteY1171" fmla="*/ 2402861 h 6101463"/>
                <a:gd name="connsiteX1172" fmla="*/ 7719391 w 10297664"/>
                <a:gd name="connsiteY1172" fmla="*/ 2396318 h 6101463"/>
                <a:gd name="connsiteX1173" fmla="*/ 7813409 w 10297664"/>
                <a:gd name="connsiteY1173" fmla="*/ 2403723 h 6101463"/>
                <a:gd name="connsiteX1174" fmla="*/ 7827441 w 10297664"/>
                <a:gd name="connsiteY1174" fmla="*/ 2476199 h 6101463"/>
                <a:gd name="connsiteX1175" fmla="*/ 7828682 w 10297664"/>
                <a:gd name="connsiteY1175" fmla="*/ 2527805 h 6101463"/>
                <a:gd name="connsiteX1176" fmla="*/ 7857062 w 10297664"/>
                <a:gd name="connsiteY1176" fmla="*/ 2589866 h 6101463"/>
                <a:gd name="connsiteX1177" fmla="*/ 7883696 w 10297664"/>
                <a:gd name="connsiteY1177" fmla="*/ 2658323 h 6101463"/>
                <a:gd name="connsiteX1178" fmla="*/ 7870674 w 10297664"/>
                <a:gd name="connsiteY1178" fmla="*/ 2716682 h 6101463"/>
                <a:gd name="connsiteX1179" fmla="*/ 7858640 w 10297664"/>
                <a:gd name="connsiteY1179" fmla="*/ 2757748 h 6101463"/>
                <a:gd name="connsiteX1180" fmla="*/ 7873745 w 10297664"/>
                <a:gd name="connsiteY1180" fmla="*/ 2893442 h 6101463"/>
                <a:gd name="connsiteX1181" fmla="*/ 7921291 w 10297664"/>
                <a:gd name="connsiteY1181" fmla="*/ 3075609 h 6101463"/>
                <a:gd name="connsiteX1182" fmla="*/ 7936291 w 10297664"/>
                <a:gd name="connsiteY1182" fmla="*/ 3112531 h 6101463"/>
                <a:gd name="connsiteX1183" fmla="*/ 8010807 w 10297664"/>
                <a:gd name="connsiteY1183" fmla="*/ 3110532 h 6101463"/>
                <a:gd name="connsiteX1184" fmla="*/ 8204882 w 10297664"/>
                <a:gd name="connsiteY1184" fmla="*/ 2843204 h 6101463"/>
                <a:gd name="connsiteX1185" fmla="*/ 8208647 w 10297664"/>
                <a:gd name="connsiteY1185" fmla="*/ 2830918 h 6101463"/>
                <a:gd name="connsiteX1186" fmla="*/ 8227034 w 10297664"/>
                <a:gd name="connsiteY1186" fmla="*/ 2782868 h 6101463"/>
                <a:gd name="connsiteX1187" fmla="*/ 8251186 w 10297664"/>
                <a:gd name="connsiteY1187" fmla="*/ 2750680 h 6101463"/>
                <a:gd name="connsiteX1188" fmla="*/ 8283668 w 10297664"/>
                <a:gd name="connsiteY1188" fmla="*/ 2702524 h 6101463"/>
                <a:gd name="connsiteX1189" fmla="*/ 8287981 w 10297664"/>
                <a:gd name="connsiteY1189" fmla="*/ 2612271 h 6101463"/>
                <a:gd name="connsiteX1190" fmla="*/ 8284278 w 10297664"/>
                <a:gd name="connsiteY1190" fmla="*/ 2563253 h 6101463"/>
                <a:gd name="connsiteX1191" fmla="*/ 8347076 w 10297664"/>
                <a:gd name="connsiteY1191" fmla="*/ 2438435 h 6101463"/>
                <a:gd name="connsiteX1192" fmla="*/ 8426789 w 10297664"/>
                <a:gd name="connsiteY1192" fmla="*/ 2229277 h 6101463"/>
                <a:gd name="connsiteX1193" fmla="*/ 8385954 w 10297664"/>
                <a:gd name="connsiteY1193" fmla="*/ 2195112 h 6101463"/>
                <a:gd name="connsiteX1194" fmla="*/ 8356585 w 10297664"/>
                <a:gd name="connsiteY1194" fmla="*/ 2189284 h 6101463"/>
                <a:gd name="connsiteX1195" fmla="*/ 8338724 w 10297664"/>
                <a:gd name="connsiteY1195" fmla="*/ 2186339 h 6101463"/>
                <a:gd name="connsiteX1196" fmla="*/ 8210078 w 10297664"/>
                <a:gd name="connsiteY1196" fmla="*/ 2033814 h 6101463"/>
                <a:gd name="connsiteX1197" fmla="*/ 8191291 w 10297664"/>
                <a:gd name="connsiteY1197" fmla="*/ 1970070 h 6101463"/>
                <a:gd name="connsiteX1198" fmla="*/ 8184685 w 10297664"/>
                <a:gd name="connsiteY1198" fmla="*/ 1943457 h 6101463"/>
                <a:gd name="connsiteX1199" fmla="*/ 8209047 w 10297664"/>
                <a:gd name="connsiteY1199" fmla="*/ 1930666 h 6101463"/>
                <a:gd name="connsiteX1200" fmla="*/ 8233198 w 10297664"/>
                <a:gd name="connsiteY1200" fmla="*/ 1951472 h 6101463"/>
                <a:gd name="connsiteX1201" fmla="*/ 8282848 w 10297664"/>
                <a:gd name="connsiteY1201" fmla="*/ 1985133 h 6101463"/>
                <a:gd name="connsiteX1202" fmla="*/ 8311628 w 10297664"/>
                <a:gd name="connsiteY1202" fmla="*/ 1970659 h 6101463"/>
                <a:gd name="connsiteX1203" fmla="*/ 8299657 w 10297664"/>
                <a:gd name="connsiteY1203" fmla="*/ 1872875 h 6101463"/>
                <a:gd name="connsiteX1204" fmla="*/ 8277209 w 10297664"/>
                <a:gd name="connsiteY1204" fmla="*/ 1846009 h 6101463"/>
                <a:gd name="connsiteX1205" fmla="*/ 8260737 w 10297664"/>
                <a:gd name="connsiteY1205" fmla="*/ 1796549 h 6101463"/>
                <a:gd name="connsiteX1206" fmla="*/ 8285919 w 10297664"/>
                <a:gd name="connsiteY1206" fmla="*/ 1734866 h 6101463"/>
                <a:gd name="connsiteX1207" fmla="*/ 8362034 w 10297664"/>
                <a:gd name="connsiteY1207" fmla="*/ 1826234 h 6101463"/>
                <a:gd name="connsiteX1208" fmla="*/ 8404278 w 10297664"/>
                <a:gd name="connsiteY1208" fmla="*/ 1875273 h 6101463"/>
                <a:gd name="connsiteX1209" fmla="*/ 8522763 w 10297664"/>
                <a:gd name="connsiteY1209" fmla="*/ 1816914 h 6101463"/>
                <a:gd name="connsiteX1210" fmla="*/ 8546452 w 10297664"/>
                <a:gd name="connsiteY1210" fmla="*/ 1796844 h 6101463"/>
                <a:gd name="connsiteX1211" fmla="*/ 8610828 w 10297664"/>
                <a:gd name="connsiteY1211" fmla="*/ 1673878 h 6101463"/>
                <a:gd name="connsiteX1212" fmla="*/ 8608303 w 10297664"/>
                <a:gd name="connsiteY1212" fmla="*/ 1663716 h 6101463"/>
                <a:gd name="connsiteX1213" fmla="*/ 8604958 w 10297664"/>
                <a:gd name="connsiteY1213" fmla="*/ 1644277 h 6101463"/>
                <a:gd name="connsiteX1214" fmla="*/ 8630266 w 10297664"/>
                <a:gd name="connsiteY1214" fmla="*/ 1617475 h 6101463"/>
                <a:gd name="connsiteX1215" fmla="*/ 8730681 w 10297664"/>
                <a:gd name="connsiteY1215" fmla="*/ 1674930 h 6101463"/>
                <a:gd name="connsiteX1216" fmla="*/ 8739789 w 10297664"/>
                <a:gd name="connsiteY1216" fmla="*/ 1687594 h 6101463"/>
                <a:gd name="connsiteX1217" fmla="*/ 8782539 w 10297664"/>
                <a:gd name="connsiteY1217" fmla="*/ 1703288 h 6101463"/>
                <a:gd name="connsiteX1218" fmla="*/ 8797980 w 10297664"/>
                <a:gd name="connsiteY1218" fmla="*/ 1705939 h 6101463"/>
                <a:gd name="connsiteX1219" fmla="*/ 8804986 w 10297664"/>
                <a:gd name="connsiteY1219" fmla="*/ 1741451 h 6101463"/>
                <a:gd name="connsiteX1220" fmla="*/ 8807616 w 10297664"/>
                <a:gd name="connsiteY1220" fmla="*/ 1767664 h 6101463"/>
                <a:gd name="connsiteX1221" fmla="*/ 8853857 w 10297664"/>
                <a:gd name="connsiteY1221" fmla="*/ 1880238 h 6101463"/>
                <a:gd name="connsiteX1222" fmla="*/ 8864187 w 10297664"/>
                <a:gd name="connsiteY1222" fmla="*/ 1914993 h 6101463"/>
                <a:gd name="connsiteX1223" fmla="*/ 8868878 w 10297664"/>
                <a:gd name="connsiteY1223" fmla="*/ 2106963 h 6101463"/>
                <a:gd name="connsiteX1224" fmla="*/ 8851900 w 10297664"/>
                <a:gd name="connsiteY1224" fmla="*/ 2291633 h 6101463"/>
                <a:gd name="connsiteX1225" fmla="*/ 8834018 w 10297664"/>
                <a:gd name="connsiteY1225" fmla="*/ 2443653 h 6101463"/>
                <a:gd name="connsiteX1226" fmla="*/ 8783422 w 10297664"/>
                <a:gd name="connsiteY1226" fmla="*/ 2640946 h 6101463"/>
                <a:gd name="connsiteX1227" fmla="*/ 8783380 w 10297664"/>
                <a:gd name="connsiteY1227" fmla="*/ 2640946 h 6101463"/>
                <a:gd name="connsiteX1228" fmla="*/ 8447616 w 10297664"/>
                <a:gd name="connsiteY1228" fmla="*/ 3309403 h 6101463"/>
                <a:gd name="connsiteX1229" fmla="*/ 7876417 w 10297664"/>
                <a:gd name="connsiteY1229" fmla="*/ 3799564 h 6101463"/>
                <a:gd name="connsiteX1230" fmla="*/ 7870927 w 10297664"/>
                <a:gd name="connsiteY1230" fmla="*/ 3802825 h 6101463"/>
                <a:gd name="connsiteX1231" fmla="*/ 7752336 w 10297664"/>
                <a:gd name="connsiteY1231" fmla="*/ 3789150 h 6101463"/>
                <a:gd name="connsiteX1232" fmla="*/ 7451494 w 10297664"/>
                <a:gd name="connsiteY1232" fmla="*/ 3874438 h 6101463"/>
                <a:gd name="connsiteX1233" fmla="*/ 7407778 w 10297664"/>
                <a:gd name="connsiteY1233" fmla="*/ 3927474 h 6101463"/>
                <a:gd name="connsiteX1234" fmla="*/ 7414510 w 10297664"/>
                <a:gd name="connsiteY1234" fmla="*/ 3984298 h 6101463"/>
                <a:gd name="connsiteX1235" fmla="*/ 7468304 w 10297664"/>
                <a:gd name="connsiteY1235" fmla="*/ 4001633 h 6101463"/>
                <a:gd name="connsiteX1236" fmla="*/ 7521635 w 10297664"/>
                <a:gd name="connsiteY1236" fmla="*/ 3992965 h 6101463"/>
                <a:gd name="connsiteX1237" fmla="*/ 7874818 w 10297664"/>
                <a:gd name="connsiteY1237" fmla="*/ 3824957 h 6101463"/>
                <a:gd name="connsiteX1238" fmla="*/ 7947294 w 10297664"/>
                <a:gd name="connsiteY1238" fmla="*/ 3840041 h 6101463"/>
                <a:gd name="connsiteX1239" fmla="*/ 8126053 w 10297664"/>
                <a:gd name="connsiteY1239" fmla="*/ 3869410 h 6101463"/>
                <a:gd name="connsiteX1240" fmla="*/ 8637188 w 10297664"/>
                <a:gd name="connsiteY1240" fmla="*/ 3835581 h 6101463"/>
                <a:gd name="connsiteX1241" fmla="*/ 9091122 w 10297664"/>
                <a:gd name="connsiteY1241" fmla="*/ 3605364 h 6101463"/>
                <a:gd name="connsiteX1242" fmla="*/ 9091732 w 10297664"/>
                <a:gd name="connsiteY1242" fmla="*/ 3590511 h 6101463"/>
                <a:gd name="connsiteX1243" fmla="*/ 9076879 w 10297664"/>
                <a:gd name="connsiteY1243" fmla="*/ 3589901 h 6101463"/>
                <a:gd name="connsiteX1244" fmla="*/ 8632454 w 10297664"/>
                <a:gd name="connsiteY1244" fmla="*/ 3815090 h 6101463"/>
                <a:gd name="connsiteX1245" fmla="*/ 8127336 w 10297664"/>
                <a:gd name="connsiteY1245" fmla="*/ 3848414 h 6101463"/>
                <a:gd name="connsiteX1246" fmla="*/ 7951754 w 10297664"/>
                <a:gd name="connsiteY1246" fmla="*/ 3819487 h 6101463"/>
                <a:gd name="connsiteX1247" fmla="*/ 7901747 w 10297664"/>
                <a:gd name="connsiteY1247" fmla="*/ 3808821 h 6101463"/>
                <a:gd name="connsiteX1248" fmla="*/ 8463941 w 10297664"/>
                <a:gd name="connsiteY1248" fmla="*/ 3322615 h 6101463"/>
                <a:gd name="connsiteX1249" fmla="*/ 8803829 w 10297664"/>
                <a:gd name="connsiteY1249" fmla="*/ 2645722 h 6101463"/>
                <a:gd name="connsiteX1250" fmla="*/ 8803829 w 10297664"/>
                <a:gd name="connsiteY1250" fmla="*/ 2645679 h 6101463"/>
                <a:gd name="connsiteX1251" fmla="*/ 8832840 w 10297664"/>
                <a:gd name="connsiteY1251" fmla="*/ 2529572 h 6101463"/>
                <a:gd name="connsiteX1252" fmla="*/ 8848030 w 10297664"/>
                <a:gd name="connsiteY1252" fmla="*/ 2561128 h 6101463"/>
                <a:gd name="connsiteX1253" fmla="*/ 8893261 w 10297664"/>
                <a:gd name="connsiteY1253" fmla="*/ 2477608 h 6101463"/>
                <a:gd name="connsiteX1254" fmla="*/ 8923051 w 10297664"/>
                <a:gd name="connsiteY1254" fmla="*/ 2321234 h 6101463"/>
                <a:gd name="connsiteX1255" fmla="*/ 8923051 w 10297664"/>
                <a:gd name="connsiteY1255" fmla="*/ 2321149 h 6101463"/>
                <a:gd name="connsiteX1256" fmla="*/ 8923072 w 10297664"/>
                <a:gd name="connsiteY1256" fmla="*/ 2321065 h 6101463"/>
                <a:gd name="connsiteX1257" fmla="*/ 8965673 w 10297664"/>
                <a:gd name="connsiteY1257" fmla="*/ 2141928 h 6101463"/>
                <a:gd name="connsiteX1258" fmla="*/ 8973542 w 10297664"/>
                <a:gd name="connsiteY1258" fmla="*/ 2126760 h 6101463"/>
                <a:gd name="connsiteX1259" fmla="*/ 9117419 w 10297664"/>
                <a:gd name="connsiteY1259" fmla="*/ 1936619 h 6101463"/>
                <a:gd name="connsiteX1260" fmla="*/ 9365204 w 10297664"/>
                <a:gd name="connsiteY1260" fmla="*/ 1741746 h 6101463"/>
                <a:gd name="connsiteX1261" fmla="*/ 9487938 w 10297664"/>
                <a:gd name="connsiteY1261" fmla="*/ 1672552 h 6101463"/>
                <a:gd name="connsiteX1262" fmla="*/ 9130084 w 10297664"/>
                <a:gd name="connsiteY1262" fmla="*/ 1950631 h 6101463"/>
                <a:gd name="connsiteX1263" fmla="*/ 9110372 w 10297664"/>
                <a:gd name="connsiteY1263" fmla="*/ 2025988 h 6101463"/>
                <a:gd name="connsiteX1264" fmla="*/ 9139846 w 10297664"/>
                <a:gd name="connsiteY1264" fmla="*/ 2051549 h 6101463"/>
                <a:gd name="connsiteX1265" fmla="*/ 9415042 w 10297664"/>
                <a:gd name="connsiteY1265" fmla="*/ 2097033 h 6101463"/>
                <a:gd name="connsiteX1266" fmla="*/ 9690554 w 10297664"/>
                <a:gd name="connsiteY1266" fmla="*/ 2051507 h 6101463"/>
                <a:gd name="connsiteX1267" fmla="*/ 10075462 w 10297664"/>
                <a:gd name="connsiteY1267" fmla="*/ 1690392 h 6101463"/>
                <a:gd name="connsiteX1268" fmla="*/ 10126858 w 10297664"/>
                <a:gd name="connsiteY1268" fmla="*/ 1605273 h 6101463"/>
                <a:gd name="connsiteX1269" fmla="*/ 10293142 w 10297664"/>
                <a:gd name="connsiteY1269" fmla="*/ 1409747 h 6101463"/>
                <a:gd name="connsiteX1270" fmla="*/ 10297370 w 10297664"/>
                <a:gd name="connsiteY1270" fmla="*/ 1398765 h 6101463"/>
                <a:gd name="connsiteX1271" fmla="*/ 9001206 w 10297664"/>
                <a:gd name="connsiteY1271" fmla="*/ 1451613 h 6101463"/>
                <a:gd name="connsiteX1272" fmla="*/ 8985091 w 10297664"/>
                <a:gd name="connsiteY1272" fmla="*/ 1453443 h 6101463"/>
                <a:gd name="connsiteX1273" fmla="*/ 8705267 w 10297664"/>
                <a:gd name="connsiteY1273" fmla="*/ 1309965 h 6101463"/>
                <a:gd name="connsiteX1274" fmla="*/ 8546704 w 10297664"/>
                <a:gd name="connsiteY1274" fmla="*/ 1032959 h 6101463"/>
                <a:gd name="connsiteX1275" fmla="*/ 8515190 w 10297664"/>
                <a:gd name="connsiteY1275" fmla="*/ 682637 h 6101463"/>
                <a:gd name="connsiteX1276" fmla="*/ 8570687 w 10297664"/>
                <a:gd name="connsiteY1276" fmla="*/ 206318 h 6101463"/>
                <a:gd name="connsiteX1277" fmla="*/ 8569194 w 10297664"/>
                <a:gd name="connsiteY1277" fmla="*/ 37763 h 6101463"/>
                <a:gd name="connsiteX1278" fmla="*/ 8673626 w 10297664"/>
                <a:gd name="connsiteY1278" fmla="*/ 103191 h 6101463"/>
                <a:gd name="connsiteX1279" fmla="*/ 9210995 w 10297664"/>
                <a:gd name="connsiteY1279" fmla="*/ 567055 h 6101463"/>
                <a:gd name="connsiteX1280" fmla="*/ 9330385 w 10297664"/>
                <a:gd name="connsiteY1280" fmla="*/ 951879 h 6101463"/>
                <a:gd name="connsiteX1281" fmla="*/ 9225322 w 10297664"/>
                <a:gd name="connsiteY1281" fmla="*/ 1340133 h 6101463"/>
                <a:gd name="connsiteX1282" fmla="*/ 9120028 w 10297664"/>
                <a:gd name="connsiteY1282" fmla="*/ 1459060 h 6101463"/>
                <a:gd name="connsiteX1283" fmla="*/ 9107974 w 10297664"/>
                <a:gd name="connsiteY1283" fmla="*/ 1441977 h 6101463"/>
                <a:gd name="connsiteX1284" fmla="*/ 9017952 w 10297664"/>
                <a:gd name="connsiteY1284" fmla="*/ 1043751 h 6101463"/>
                <a:gd name="connsiteX1285" fmla="*/ 8803408 w 10297664"/>
                <a:gd name="connsiteY1285" fmla="*/ 530722 h 6101463"/>
                <a:gd name="connsiteX1286" fmla="*/ 8795035 w 10297664"/>
                <a:gd name="connsiteY1286" fmla="*/ 526557 h 6101463"/>
                <a:gd name="connsiteX1287" fmla="*/ 8789587 w 10297664"/>
                <a:gd name="connsiteY1287" fmla="*/ 528071 h 6101463"/>
                <a:gd name="connsiteX1288" fmla="*/ 8785505 w 10297664"/>
                <a:gd name="connsiteY1288" fmla="*/ 541536 h 6101463"/>
                <a:gd name="connsiteX1289" fmla="*/ 8944404 w 10297664"/>
                <a:gd name="connsiteY1289" fmla="*/ 975442 h 6101463"/>
                <a:gd name="connsiteX1290" fmla="*/ 9007223 w 10297664"/>
                <a:gd name="connsiteY1290" fmla="*/ 1253920 h 6101463"/>
                <a:gd name="connsiteX1291" fmla="*/ 9050182 w 10297664"/>
                <a:gd name="connsiteY1291" fmla="*/ 1453990 h 6101463"/>
                <a:gd name="connsiteX1292" fmla="*/ 9001206 w 10297664"/>
                <a:gd name="connsiteY1292" fmla="*/ 1451613 h 6101463"/>
                <a:gd name="connsiteX1293" fmla="*/ 3587723 w 10297664"/>
                <a:gd name="connsiteY1293" fmla="*/ 4058477 h 6101463"/>
                <a:gd name="connsiteX1294" fmla="*/ 3545163 w 10297664"/>
                <a:gd name="connsiteY1294" fmla="*/ 4085700 h 6101463"/>
                <a:gd name="connsiteX1295" fmla="*/ 3243880 w 10297664"/>
                <a:gd name="connsiteY1295" fmla="*/ 4215588 h 6101463"/>
                <a:gd name="connsiteX1296" fmla="*/ 3235675 w 10297664"/>
                <a:gd name="connsiteY1296" fmla="*/ 4197369 h 6101463"/>
                <a:gd name="connsiteX1297" fmla="*/ 3326264 w 10297664"/>
                <a:gd name="connsiteY1297" fmla="*/ 4109326 h 6101463"/>
                <a:gd name="connsiteX1298" fmla="*/ 4043908 w 10297664"/>
                <a:gd name="connsiteY1298" fmla="*/ 3789319 h 6101463"/>
                <a:gd name="connsiteX1299" fmla="*/ 4048894 w 10297664"/>
                <a:gd name="connsiteY1299" fmla="*/ 3787867 h 6101463"/>
                <a:gd name="connsiteX1300" fmla="*/ 3587723 w 10297664"/>
                <a:gd name="connsiteY1300" fmla="*/ 4058477 h 6101463"/>
                <a:gd name="connsiteX1301" fmla="*/ 6150261 w 10297664"/>
                <a:gd name="connsiteY1301" fmla="*/ 5054073 h 6101463"/>
                <a:gd name="connsiteX1302" fmla="*/ 5499455 w 10297664"/>
                <a:gd name="connsiteY1302" fmla="*/ 5072250 h 6101463"/>
                <a:gd name="connsiteX1303" fmla="*/ 5498466 w 10297664"/>
                <a:gd name="connsiteY1303" fmla="*/ 5069242 h 6101463"/>
                <a:gd name="connsiteX1304" fmla="*/ 5651516 w 10297664"/>
                <a:gd name="connsiteY1304" fmla="*/ 5021380 h 6101463"/>
                <a:gd name="connsiteX1305" fmla="*/ 6230415 w 10297664"/>
                <a:gd name="connsiteY1305" fmla="*/ 4993210 h 6101463"/>
                <a:gd name="connsiteX1306" fmla="*/ 6510934 w 10297664"/>
                <a:gd name="connsiteY1306" fmla="*/ 4997692 h 6101463"/>
                <a:gd name="connsiteX1307" fmla="*/ 6564265 w 10297664"/>
                <a:gd name="connsiteY1307" fmla="*/ 4999564 h 6101463"/>
                <a:gd name="connsiteX1308" fmla="*/ 6150261 w 10297664"/>
                <a:gd name="connsiteY1308" fmla="*/ 5054052 h 6101463"/>
                <a:gd name="connsiteX1309" fmla="*/ 6821789 w 10297664"/>
                <a:gd name="connsiteY1309" fmla="*/ 5286668 h 6101463"/>
                <a:gd name="connsiteX1310" fmla="*/ 6816530 w 10297664"/>
                <a:gd name="connsiteY1310" fmla="*/ 5285805 h 6101463"/>
                <a:gd name="connsiteX1311" fmla="*/ 6808114 w 10297664"/>
                <a:gd name="connsiteY1311" fmla="*/ 5263800 h 6101463"/>
                <a:gd name="connsiteX1312" fmla="*/ 7052911 w 10297664"/>
                <a:gd name="connsiteY1312" fmla="*/ 5101598 h 6101463"/>
                <a:gd name="connsiteX1313" fmla="*/ 6821789 w 10297664"/>
                <a:gd name="connsiteY1313" fmla="*/ 5286647 h 6101463"/>
                <a:gd name="connsiteX1314" fmla="*/ 9160968 w 10297664"/>
                <a:gd name="connsiteY1314" fmla="*/ 4468736 h 6101463"/>
                <a:gd name="connsiteX1315" fmla="*/ 9097938 w 10297664"/>
                <a:gd name="connsiteY1315" fmla="*/ 4459459 h 6101463"/>
                <a:gd name="connsiteX1316" fmla="*/ 9017553 w 10297664"/>
                <a:gd name="connsiteY1316" fmla="*/ 4378358 h 6101463"/>
                <a:gd name="connsiteX1317" fmla="*/ 9248486 w 10297664"/>
                <a:gd name="connsiteY1317" fmla="*/ 4096156 h 6101463"/>
                <a:gd name="connsiteX1318" fmla="*/ 9385505 w 10297664"/>
                <a:gd name="connsiteY1318" fmla="*/ 4054080 h 6101463"/>
                <a:gd name="connsiteX1319" fmla="*/ 9401263 w 10297664"/>
                <a:gd name="connsiteY1319" fmla="*/ 4054732 h 6101463"/>
                <a:gd name="connsiteX1320" fmla="*/ 9483626 w 10297664"/>
                <a:gd name="connsiteY1320" fmla="*/ 4094978 h 6101463"/>
                <a:gd name="connsiteX1321" fmla="*/ 9390849 w 10297664"/>
                <a:gd name="connsiteY1321" fmla="*/ 4278702 h 6101463"/>
                <a:gd name="connsiteX1322" fmla="*/ 9169594 w 10297664"/>
                <a:gd name="connsiteY1322" fmla="*/ 4463519 h 6101463"/>
                <a:gd name="connsiteX1323" fmla="*/ 9160968 w 10297664"/>
                <a:gd name="connsiteY1323" fmla="*/ 4468779 h 6101463"/>
                <a:gd name="connsiteX1324" fmla="*/ 7026551 w 10297664"/>
                <a:gd name="connsiteY1324" fmla="*/ 4920735 h 6101463"/>
                <a:gd name="connsiteX1325" fmla="*/ 7015401 w 10297664"/>
                <a:gd name="connsiteY1325" fmla="*/ 4918568 h 6101463"/>
                <a:gd name="connsiteX1326" fmla="*/ 6944440 w 10297664"/>
                <a:gd name="connsiteY1326" fmla="*/ 4832334 h 6101463"/>
                <a:gd name="connsiteX1327" fmla="*/ 7015990 w 10297664"/>
                <a:gd name="connsiteY1327" fmla="*/ 4731268 h 6101463"/>
                <a:gd name="connsiteX1328" fmla="*/ 7235920 w 10297664"/>
                <a:gd name="connsiteY1328" fmla="*/ 4618126 h 6101463"/>
                <a:gd name="connsiteX1329" fmla="*/ 7396123 w 10297664"/>
                <a:gd name="connsiteY1329" fmla="*/ 4588189 h 6101463"/>
                <a:gd name="connsiteX1330" fmla="*/ 7452357 w 10297664"/>
                <a:gd name="connsiteY1330" fmla="*/ 4594922 h 6101463"/>
                <a:gd name="connsiteX1331" fmla="*/ 7528198 w 10297664"/>
                <a:gd name="connsiteY1331" fmla="*/ 4647390 h 6101463"/>
                <a:gd name="connsiteX1332" fmla="*/ 7318115 w 10297664"/>
                <a:gd name="connsiteY1332" fmla="*/ 4811822 h 6101463"/>
                <a:gd name="connsiteX1333" fmla="*/ 7100267 w 10297664"/>
                <a:gd name="connsiteY1333" fmla="*/ 4905441 h 6101463"/>
                <a:gd name="connsiteX1334" fmla="*/ 7026551 w 10297664"/>
                <a:gd name="connsiteY1334" fmla="*/ 4920777 h 6101463"/>
                <a:gd name="connsiteX1335" fmla="*/ 5889560 w 10297664"/>
                <a:gd name="connsiteY1335" fmla="*/ 3664291 h 6101463"/>
                <a:gd name="connsiteX1336" fmla="*/ 6224714 w 10297664"/>
                <a:gd name="connsiteY1336" fmla="*/ 3918491 h 6101463"/>
                <a:gd name="connsiteX1337" fmla="*/ 6244195 w 10297664"/>
                <a:gd name="connsiteY1337" fmla="*/ 3954971 h 6101463"/>
                <a:gd name="connsiteX1338" fmla="*/ 6238220 w 10297664"/>
                <a:gd name="connsiteY1338" fmla="*/ 3987580 h 6101463"/>
                <a:gd name="connsiteX1339" fmla="*/ 6157309 w 10297664"/>
                <a:gd name="connsiteY1339" fmla="*/ 3983751 h 6101463"/>
                <a:gd name="connsiteX1340" fmla="*/ 5996243 w 10297664"/>
                <a:gd name="connsiteY1340" fmla="*/ 3913232 h 6101463"/>
                <a:gd name="connsiteX1341" fmla="*/ 5510078 w 10297664"/>
                <a:gd name="connsiteY1341" fmla="*/ 3590574 h 6101463"/>
                <a:gd name="connsiteX1342" fmla="*/ 5490661 w 10297664"/>
                <a:gd name="connsiteY1342" fmla="*/ 3573239 h 6101463"/>
                <a:gd name="connsiteX1343" fmla="*/ 5889560 w 10297664"/>
                <a:gd name="connsiteY1343" fmla="*/ 3664291 h 6101463"/>
                <a:gd name="connsiteX1344" fmla="*/ 7515176 w 10297664"/>
                <a:gd name="connsiteY1344" fmla="*/ 3972853 h 6101463"/>
                <a:gd name="connsiteX1345" fmla="*/ 7429742 w 10297664"/>
                <a:gd name="connsiteY1345" fmla="*/ 3969424 h 6101463"/>
                <a:gd name="connsiteX1346" fmla="*/ 7427785 w 10297664"/>
                <a:gd name="connsiteY1346" fmla="*/ 3934417 h 6101463"/>
                <a:gd name="connsiteX1347" fmla="*/ 7464496 w 10297664"/>
                <a:gd name="connsiteY1347" fmla="*/ 3890995 h 6101463"/>
                <a:gd name="connsiteX1348" fmla="*/ 7735317 w 10297664"/>
                <a:gd name="connsiteY1348" fmla="*/ 3809810 h 6101463"/>
                <a:gd name="connsiteX1349" fmla="*/ 7751978 w 10297664"/>
                <a:gd name="connsiteY1349" fmla="*/ 3810041 h 6101463"/>
                <a:gd name="connsiteX1350" fmla="*/ 7843051 w 10297664"/>
                <a:gd name="connsiteY1350" fmla="*/ 3819172 h 6101463"/>
                <a:gd name="connsiteX1351" fmla="*/ 7515176 w 10297664"/>
                <a:gd name="connsiteY1351" fmla="*/ 3972874 h 6101463"/>
                <a:gd name="connsiteX1352" fmla="*/ 8873253 w 10297664"/>
                <a:gd name="connsiteY1352" fmla="*/ 2471739 h 6101463"/>
                <a:gd name="connsiteX1353" fmla="*/ 8854026 w 10297664"/>
                <a:gd name="connsiteY1353" fmla="*/ 2529614 h 6101463"/>
                <a:gd name="connsiteX1354" fmla="*/ 8855035 w 10297664"/>
                <a:gd name="connsiteY1354" fmla="*/ 2447208 h 6101463"/>
                <a:gd name="connsiteX1355" fmla="*/ 8897153 w 10297664"/>
                <a:gd name="connsiteY1355" fmla="*/ 2303436 h 6101463"/>
                <a:gd name="connsiteX1356" fmla="*/ 8897153 w 10297664"/>
                <a:gd name="connsiteY1356" fmla="*/ 2303373 h 6101463"/>
                <a:gd name="connsiteX1357" fmla="*/ 8897174 w 10297664"/>
                <a:gd name="connsiteY1357" fmla="*/ 2303309 h 6101463"/>
                <a:gd name="connsiteX1358" fmla="*/ 8914130 w 10297664"/>
                <a:gd name="connsiteY1358" fmla="*/ 2255764 h 6101463"/>
                <a:gd name="connsiteX1359" fmla="*/ 8902517 w 10297664"/>
                <a:gd name="connsiteY1359" fmla="*/ 2317741 h 6101463"/>
                <a:gd name="connsiteX1360" fmla="*/ 8873253 w 10297664"/>
                <a:gd name="connsiteY1360" fmla="*/ 2471718 h 6101463"/>
                <a:gd name="connsiteX1361" fmla="*/ 10108870 w 10297664"/>
                <a:gd name="connsiteY1361" fmla="*/ 1594691 h 6101463"/>
                <a:gd name="connsiteX1362" fmla="*/ 10058211 w 10297664"/>
                <a:gd name="connsiteY1362" fmla="*/ 1678611 h 6101463"/>
                <a:gd name="connsiteX1363" fmla="*/ 9682349 w 10297664"/>
                <a:gd name="connsiteY1363" fmla="*/ 2032089 h 6101463"/>
                <a:gd name="connsiteX1364" fmla="*/ 9144958 w 10297664"/>
                <a:gd name="connsiteY1364" fmla="*/ 2030890 h 6101463"/>
                <a:gd name="connsiteX1365" fmla="*/ 9130168 w 10297664"/>
                <a:gd name="connsiteY1365" fmla="*/ 2017952 h 6101463"/>
                <a:gd name="connsiteX1366" fmla="*/ 9147798 w 10297664"/>
                <a:gd name="connsiteY1366" fmla="*/ 1962223 h 6101463"/>
                <a:gd name="connsiteX1367" fmla="*/ 9805547 w 10297664"/>
                <a:gd name="connsiteY1367" fmla="*/ 1533471 h 6101463"/>
                <a:gd name="connsiteX1368" fmla="*/ 9810996 w 10297664"/>
                <a:gd name="connsiteY1368" fmla="*/ 1519880 h 6101463"/>
                <a:gd name="connsiteX1369" fmla="*/ 9801255 w 10297664"/>
                <a:gd name="connsiteY1369" fmla="*/ 1513338 h 6101463"/>
                <a:gd name="connsiteX1370" fmla="*/ 9797574 w 10297664"/>
                <a:gd name="connsiteY1370" fmla="*/ 1514011 h 6101463"/>
                <a:gd name="connsiteX1371" fmla="*/ 9354474 w 10297664"/>
                <a:gd name="connsiteY1371" fmla="*/ 1723632 h 6101463"/>
                <a:gd name="connsiteX1372" fmla="*/ 9102209 w 10297664"/>
                <a:gd name="connsiteY1372" fmla="*/ 1922187 h 6101463"/>
                <a:gd name="connsiteX1373" fmla="*/ 8993338 w 10297664"/>
                <a:gd name="connsiteY1373" fmla="*/ 2055063 h 6101463"/>
                <a:gd name="connsiteX1374" fmla="*/ 9038969 w 10297664"/>
                <a:gd name="connsiteY1374" fmla="*/ 1930392 h 6101463"/>
                <a:gd name="connsiteX1375" fmla="*/ 9066066 w 10297664"/>
                <a:gd name="connsiteY1375" fmla="*/ 1849207 h 6101463"/>
                <a:gd name="connsiteX1376" fmla="*/ 9063668 w 10297664"/>
                <a:gd name="connsiteY1376" fmla="*/ 1928352 h 6101463"/>
                <a:gd name="connsiteX1377" fmla="*/ 9072293 w 10297664"/>
                <a:gd name="connsiteY1377" fmla="*/ 1938849 h 6101463"/>
                <a:gd name="connsiteX1378" fmla="*/ 9084075 w 10297664"/>
                <a:gd name="connsiteY1378" fmla="*/ 1932075 h 6101463"/>
                <a:gd name="connsiteX1379" fmla="*/ 9187980 w 10297664"/>
                <a:gd name="connsiteY1379" fmla="*/ 1713744 h 6101463"/>
                <a:gd name="connsiteX1380" fmla="*/ 9207440 w 10297664"/>
                <a:gd name="connsiteY1380" fmla="*/ 1682987 h 6101463"/>
                <a:gd name="connsiteX1381" fmla="*/ 9339011 w 10297664"/>
                <a:gd name="connsiteY1381" fmla="*/ 1539382 h 6101463"/>
                <a:gd name="connsiteX1382" fmla="*/ 9841669 w 10297664"/>
                <a:gd name="connsiteY1382" fmla="*/ 1364221 h 6101463"/>
                <a:gd name="connsiteX1383" fmla="*/ 9875330 w 10297664"/>
                <a:gd name="connsiteY1383" fmla="*/ 1363106 h 6101463"/>
                <a:gd name="connsiteX1384" fmla="*/ 10260764 w 10297664"/>
                <a:gd name="connsiteY1384" fmla="*/ 1407391 h 6101463"/>
                <a:gd name="connsiteX1385" fmla="*/ 10108912 w 10297664"/>
                <a:gd name="connsiteY1385" fmla="*/ 1594649 h 610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Lst>
              <a:rect l="l" t="t" r="r" b="b"/>
              <a:pathLst>
                <a:path w="10297664" h="6101463">
                  <a:moveTo>
                    <a:pt x="10297665" y="1398618"/>
                  </a:moveTo>
                  <a:cubicBezTo>
                    <a:pt x="10296697" y="1394432"/>
                    <a:pt x="10293289" y="1391255"/>
                    <a:pt x="10289039" y="1390603"/>
                  </a:cubicBezTo>
                  <a:lnTo>
                    <a:pt x="10280413" y="1389235"/>
                  </a:lnTo>
                  <a:cubicBezTo>
                    <a:pt x="10068647" y="1355827"/>
                    <a:pt x="9932090" y="1339986"/>
                    <a:pt x="9874509" y="1342132"/>
                  </a:cubicBezTo>
                  <a:cubicBezTo>
                    <a:pt x="9863359" y="1342552"/>
                    <a:pt x="9852188" y="1342889"/>
                    <a:pt x="9840975" y="1343246"/>
                  </a:cubicBezTo>
                  <a:cubicBezTo>
                    <a:pt x="9766879" y="1345540"/>
                    <a:pt x="9690259" y="1347917"/>
                    <a:pt x="9606045" y="1371038"/>
                  </a:cubicBezTo>
                  <a:cubicBezTo>
                    <a:pt x="9510911" y="1397167"/>
                    <a:pt x="9419208" y="1446900"/>
                    <a:pt x="9325694" y="1523120"/>
                  </a:cubicBezTo>
                  <a:cubicBezTo>
                    <a:pt x="9272742" y="1566269"/>
                    <a:pt x="9227069" y="1616129"/>
                    <a:pt x="9189979" y="1671290"/>
                  </a:cubicBezTo>
                  <a:cubicBezTo>
                    <a:pt x="9182995" y="1681662"/>
                    <a:pt x="9176241" y="1692349"/>
                    <a:pt x="9169887" y="1703057"/>
                  </a:cubicBezTo>
                  <a:cubicBezTo>
                    <a:pt x="9141655" y="1750603"/>
                    <a:pt x="9108205" y="1821900"/>
                    <a:pt x="9086262" y="1872012"/>
                  </a:cubicBezTo>
                  <a:cubicBezTo>
                    <a:pt x="9087588" y="1834312"/>
                    <a:pt x="9089965" y="1781697"/>
                    <a:pt x="9094088" y="1726451"/>
                  </a:cubicBezTo>
                  <a:cubicBezTo>
                    <a:pt x="9095014" y="1714165"/>
                    <a:pt x="9095666" y="1701921"/>
                    <a:pt x="9096066" y="1689677"/>
                  </a:cubicBezTo>
                  <a:cubicBezTo>
                    <a:pt x="9096991" y="1680694"/>
                    <a:pt x="9098507" y="1669775"/>
                    <a:pt x="9100084" y="1658225"/>
                  </a:cubicBezTo>
                  <a:cubicBezTo>
                    <a:pt x="9106248" y="1613646"/>
                    <a:pt x="9113906" y="1558169"/>
                    <a:pt x="9101957" y="1524530"/>
                  </a:cubicBezTo>
                  <a:cubicBezTo>
                    <a:pt x="9094614" y="1503913"/>
                    <a:pt x="9086326" y="1487903"/>
                    <a:pt x="9076585" y="1475785"/>
                  </a:cubicBezTo>
                  <a:cubicBezTo>
                    <a:pt x="9076501" y="1475385"/>
                    <a:pt x="9076417" y="1474986"/>
                    <a:pt x="9076311" y="1474586"/>
                  </a:cubicBezTo>
                  <a:cubicBezTo>
                    <a:pt x="9059313" y="1398387"/>
                    <a:pt x="9043303" y="1322756"/>
                    <a:pt x="9027819" y="1249607"/>
                  </a:cubicBezTo>
                  <a:cubicBezTo>
                    <a:pt x="9002658" y="1130785"/>
                    <a:pt x="8980926" y="1028162"/>
                    <a:pt x="8964685" y="969845"/>
                  </a:cubicBezTo>
                  <a:cubicBezTo>
                    <a:pt x="8946950" y="906164"/>
                    <a:pt x="8912258" y="803226"/>
                    <a:pt x="8876094" y="706872"/>
                  </a:cubicBezTo>
                  <a:cubicBezTo>
                    <a:pt x="8930456" y="825252"/>
                    <a:pt x="8983744" y="969614"/>
                    <a:pt x="8997252" y="1047370"/>
                  </a:cubicBezTo>
                  <a:cubicBezTo>
                    <a:pt x="9015849" y="1154390"/>
                    <a:pt x="9051066" y="1319705"/>
                    <a:pt x="9087777" y="1447805"/>
                  </a:cubicBezTo>
                  <a:cubicBezTo>
                    <a:pt x="9094803" y="1472335"/>
                    <a:pt x="9107868" y="1478836"/>
                    <a:pt x="9117609" y="1479972"/>
                  </a:cubicBezTo>
                  <a:cubicBezTo>
                    <a:pt x="9137805" y="1482328"/>
                    <a:pt x="9162967" y="1463878"/>
                    <a:pt x="9194607" y="1423527"/>
                  </a:cubicBezTo>
                  <a:cubicBezTo>
                    <a:pt x="9216865" y="1395168"/>
                    <a:pt x="9236431" y="1363338"/>
                    <a:pt x="9243688" y="1350462"/>
                  </a:cubicBezTo>
                  <a:cubicBezTo>
                    <a:pt x="9319846" y="1215210"/>
                    <a:pt x="9355084" y="1084649"/>
                    <a:pt x="9351445" y="951311"/>
                  </a:cubicBezTo>
                  <a:cubicBezTo>
                    <a:pt x="9347932" y="822307"/>
                    <a:pt x="9307960" y="693198"/>
                    <a:pt x="9229257" y="556557"/>
                  </a:cubicBezTo>
                  <a:cubicBezTo>
                    <a:pt x="9109572" y="348745"/>
                    <a:pt x="8893598" y="214818"/>
                    <a:pt x="8684755" y="85330"/>
                  </a:cubicBezTo>
                  <a:cubicBezTo>
                    <a:pt x="8638619" y="56718"/>
                    <a:pt x="8595028" y="29684"/>
                    <a:pt x="8552195" y="1725"/>
                  </a:cubicBezTo>
                  <a:cubicBezTo>
                    <a:pt x="8547315" y="-1452"/>
                    <a:pt x="8540814" y="-84"/>
                    <a:pt x="8537637" y="4776"/>
                  </a:cubicBezTo>
                  <a:cubicBezTo>
                    <a:pt x="8534460" y="9635"/>
                    <a:pt x="8535828" y="16157"/>
                    <a:pt x="8540708" y="19334"/>
                  </a:cubicBezTo>
                  <a:cubicBezTo>
                    <a:pt x="8542644" y="20596"/>
                    <a:pt x="8587055" y="57433"/>
                    <a:pt x="8494425" y="679565"/>
                  </a:cubicBezTo>
                  <a:cubicBezTo>
                    <a:pt x="8476922" y="797062"/>
                    <a:pt x="8488114" y="921522"/>
                    <a:pt x="8526739" y="1039523"/>
                  </a:cubicBezTo>
                  <a:cubicBezTo>
                    <a:pt x="8562167" y="1147700"/>
                    <a:pt x="8618528" y="1246136"/>
                    <a:pt x="8689762" y="1324165"/>
                  </a:cubicBezTo>
                  <a:cubicBezTo>
                    <a:pt x="8781929" y="1425147"/>
                    <a:pt x="8890021" y="1479908"/>
                    <a:pt x="8986332" y="1474460"/>
                  </a:cubicBezTo>
                  <a:cubicBezTo>
                    <a:pt x="8992223" y="1474123"/>
                    <a:pt x="8998282" y="1473282"/>
                    <a:pt x="9004152" y="1472461"/>
                  </a:cubicBezTo>
                  <a:cubicBezTo>
                    <a:pt x="9019719" y="1470294"/>
                    <a:pt x="9034404" y="1468253"/>
                    <a:pt x="9045007" y="1475028"/>
                  </a:cubicBezTo>
                  <a:cubicBezTo>
                    <a:pt x="9049320" y="1477784"/>
                    <a:pt x="9053359" y="1481234"/>
                    <a:pt x="9057167" y="1485399"/>
                  </a:cubicBezTo>
                  <a:cubicBezTo>
                    <a:pt x="9071326" y="1551311"/>
                    <a:pt x="9077321" y="1619368"/>
                    <a:pt x="9075092" y="1688246"/>
                  </a:cubicBezTo>
                  <a:cubicBezTo>
                    <a:pt x="9064762" y="1789796"/>
                    <a:pt x="9036318" y="1883688"/>
                    <a:pt x="9019699" y="1922040"/>
                  </a:cubicBezTo>
                  <a:cubicBezTo>
                    <a:pt x="9006803" y="1951809"/>
                    <a:pt x="8974510" y="2039684"/>
                    <a:pt x="8946466" y="2133702"/>
                  </a:cubicBezTo>
                  <a:cubicBezTo>
                    <a:pt x="8926059" y="2174137"/>
                    <a:pt x="8892504" y="2246297"/>
                    <a:pt x="8877104" y="2297208"/>
                  </a:cubicBezTo>
                  <a:lnTo>
                    <a:pt x="8877104" y="2297208"/>
                  </a:lnTo>
                  <a:cubicBezTo>
                    <a:pt x="8873843" y="2307538"/>
                    <a:pt x="8870624" y="2317952"/>
                    <a:pt x="8867448" y="2328429"/>
                  </a:cubicBezTo>
                  <a:cubicBezTo>
                    <a:pt x="8869110" y="2317089"/>
                    <a:pt x="8870919" y="2305939"/>
                    <a:pt x="8872854" y="2295168"/>
                  </a:cubicBezTo>
                  <a:cubicBezTo>
                    <a:pt x="8883772" y="2234284"/>
                    <a:pt x="8889600" y="2170960"/>
                    <a:pt x="8890168" y="2106963"/>
                  </a:cubicBezTo>
                  <a:cubicBezTo>
                    <a:pt x="8890820" y="2032889"/>
                    <a:pt x="8889306" y="1971395"/>
                    <a:pt x="8885435" y="1913394"/>
                  </a:cubicBezTo>
                  <a:cubicBezTo>
                    <a:pt x="8884446" y="1898730"/>
                    <a:pt x="8880154" y="1884193"/>
                    <a:pt x="8872665" y="1870140"/>
                  </a:cubicBezTo>
                  <a:cubicBezTo>
                    <a:pt x="8851964" y="1831304"/>
                    <a:pt x="8836186" y="1792952"/>
                    <a:pt x="8828233" y="1762237"/>
                  </a:cubicBezTo>
                  <a:cubicBezTo>
                    <a:pt x="8826823" y="1756683"/>
                    <a:pt x="8826550" y="1748814"/>
                    <a:pt x="8826255" y="1740504"/>
                  </a:cubicBezTo>
                  <a:cubicBezTo>
                    <a:pt x="8825645" y="1723548"/>
                    <a:pt x="8824972" y="1704340"/>
                    <a:pt x="8814054" y="1691886"/>
                  </a:cubicBezTo>
                  <a:cubicBezTo>
                    <a:pt x="8802125" y="1678232"/>
                    <a:pt x="8788240" y="1680736"/>
                    <a:pt x="8779046" y="1682398"/>
                  </a:cubicBezTo>
                  <a:cubicBezTo>
                    <a:pt x="8769242" y="1684165"/>
                    <a:pt x="8764320" y="1685049"/>
                    <a:pt x="8757019" y="1675014"/>
                  </a:cubicBezTo>
                  <a:cubicBezTo>
                    <a:pt x="8753927" y="1670785"/>
                    <a:pt x="8750961" y="1666598"/>
                    <a:pt x="8748037" y="1662517"/>
                  </a:cubicBezTo>
                  <a:cubicBezTo>
                    <a:pt x="8718141" y="1620631"/>
                    <a:pt x="8692328" y="1584446"/>
                    <a:pt x="8626669" y="1596605"/>
                  </a:cubicBezTo>
                  <a:cubicBezTo>
                    <a:pt x="8606389" y="1600371"/>
                    <a:pt x="8585288" y="1617559"/>
                    <a:pt x="8584173" y="1643162"/>
                  </a:cubicBezTo>
                  <a:cubicBezTo>
                    <a:pt x="8583773" y="1652440"/>
                    <a:pt x="8586024" y="1660855"/>
                    <a:pt x="8588233" y="1668997"/>
                  </a:cubicBezTo>
                  <a:cubicBezTo>
                    <a:pt x="8589074" y="1672131"/>
                    <a:pt x="8589874" y="1675098"/>
                    <a:pt x="8590505" y="1678022"/>
                  </a:cubicBezTo>
                  <a:cubicBezTo>
                    <a:pt x="8600645" y="1725925"/>
                    <a:pt x="8568016" y="1752328"/>
                    <a:pt x="8533471" y="1780266"/>
                  </a:cubicBezTo>
                  <a:cubicBezTo>
                    <a:pt x="8525056" y="1787082"/>
                    <a:pt x="8516326" y="1794130"/>
                    <a:pt x="8508668" y="1801304"/>
                  </a:cubicBezTo>
                  <a:cubicBezTo>
                    <a:pt x="8464446" y="1842412"/>
                    <a:pt x="8431227" y="1860378"/>
                    <a:pt x="8409937" y="1854719"/>
                  </a:cubicBezTo>
                  <a:cubicBezTo>
                    <a:pt x="8397883" y="1851521"/>
                    <a:pt x="8388605" y="1839740"/>
                    <a:pt x="8382357" y="1819691"/>
                  </a:cubicBezTo>
                  <a:cubicBezTo>
                    <a:pt x="8365295" y="1766065"/>
                    <a:pt x="8320611" y="1709390"/>
                    <a:pt x="8283689" y="1713744"/>
                  </a:cubicBezTo>
                  <a:cubicBezTo>
                    <a:pt x="8258360" y="1716753"/>
                    <a:pt x="8243654" y="1744018"/>
                    <a:pt x="8239994" y="1794740"/>
                  </a:cubicBezTo>
                  <a:cubicBezTo>
                    <a:pt x="8236943" y="1834207"/>
                    <a:pt x="8247230" y="1846725"/>
                    <a:pt x="8263304" y="1861325"/>
                  </a:cubicBezTo>
                  <a:cubicBezTo>
                    <a:pt x="8269510" y="1866963"/>
                    <a:pt x="8275905" y="1872791"/>
                    <a:pt x="8281522" y="1882889"/>
                  </a:cubicBezTo>
                  <a:cubicBezTo>
                    <a:pt x="8289685" y="1897468"/>
                    <a:pt x="8303465" y="1943814"/>
                    <a:pt x="8293893" y="1959488"/>
                  </a:cubicBezTo>
                  <a:cubicBezTo>
                    <a:pt x="8292483" y="1961781"/>
                    <a:pt x="8290190" y="1964095"/>
                    <a:pt x="8283795" y="1963884"/>
                  </a:cubicBezTo>
                  <a:cubicBezTo>
                    <a:pt x="8269783" y="1963422"/>
                    <a:pt x="8260148" y="1951178"/>
                    <a:pt x="8249966" y="1938239"/>
                  </a:cubicBezTo>
                  <a:cubicBezTo>
                    <a:pt x="8239320" y="1924712"/>
                    <a:pt x="8228317" y="1910743"/>
                    <a:pt x="8210814" y="1909460"/>
                  </a:cubicBezTo>
                  <a:cubicBezTo>
                    <a:pt x="8197770" y="1908513"/>
                    <a:pt x="8183802" y="1915266"/>
                    <a:pt x="8168275" y="1929993"/>
                  </a:cubicBezTo>
                  <a:cubicBezTo>
                    <a:pt x="8167455" y="1930750"/>
                    <a:pt x="8166655" y="1931507"/>
                    <a:pt x="8165835" y="1932286"/>
                  </a:cubicBezTo>
                  <a:cubicBezTo>
                    <a:pt x="8163016" y="1934978"/>
                    <a:pt x="8161922" y="1939018"/>
                    <a:pt x="8162995" y="1942763"/>
                  </a:cubicBezTo>
                  <a:cubicBezTo>
                    <a:pt x="8165919" y="1953050"/>
                    <a:pt x="8168423" y="1963569"/>
                    <a:pt x="8171074" y="1974719"/>
                  </a:cubicBezTo>
                  <a:cubicBezTo>
                    <a:pt x="8176375" y="1996914"/>
                    <a:pt x="8181845" y="2019845"/>
                    <a:pt x="8190891" y="2041661"/>
                  </a:cubicBezTo>
                  <a:cubicBezTo>
                    <a:pt x="8223226" y="2119333"/>
                    <a:pt x="8258549" y="2190399"/>
                    <a:pt x="8334538" y="2206683"/>
                  </a:cubicBezTo>
                  <a:cubicBezTo>
                    <a:pt x="8341038" y="2208092"/>
                    <a:pt x="8347560" y="2208997"/>
                    <a:pt x="8353871" y="2209901"/>
                  </a:cubicBezTo>
                  <a:cubicBezTo>
                    <a:pt x="8363044" y="2211206"/>
                    <a:pt x="8371712" y="2212426"/>
                    <a:pt x="8379916" y="2214992"/>
                  </a:cubicBezTo>
                  <a:cubicBezTo>
                    <a:pt x="8394285" y="2219474"/>
                    <a:pt x="8403331" y="2226690"/>
                    <a:pt x="8407560" y="2237040"/>
                  </a:cubicBezTo>
                  <a:cubicBezTo>
                    <a:pt x="8423570" y="2276234"/>
                    <a:pt x="8371396" y="2359880"/>
                    <a:pt x="8329468" y="2427117"/>
                  </a:cubicBezTo>
                  <a:cubicBezTo>
                    <a:pt x="8294629" y="2482973"/>
                    <a:pt x="8264566" y="2531213"/>
                    <a:pt x="8263493" y="2562285"/>
                  </a:cubicBezTo>
                  <a:cubicBezTo>
                    <a:pt x="8262778" y="2580210"/>
                    <a:pt x="8265113" y="2597818"/>
                    <a:pt x="8267364" y="2614859"/>
                  </a:cubicBezTo>
                  <a:cubicBezTo>
                    <a:pt x="8271088" y="2642903"/>
                    <a:pt x="8274580" y="2669389"/>
                    <a:pt x="8264419" y="2694445"/>
                  </a:cubicBezTo>
                  <a:cubicBezTo>
                    <a:pt x="8257981" y="2710371"/>
                    <a:pt x="8247020" y="2723246"/>
                    <a:pt x="8235407" y="2736858"/>
                  </a:cubicBezTo>
                  <a:cubicBezTo>
                    <a:pt x="8226129" y="2747755"/>
                    <a:pt x="8216537" y="2759010"/>
                    <a:pt x="8208984" y="2772285"/>
                  </a:cubicBezTo>
                  <a:cubicBezTo>
                    <a:pt x="8199601" y="2788737"/>
                    <a:pt x="8194089" y="2806998"/>
                    <a:pt x="8188745" y="2824649"/>
                  </a:cubicBezTo>
                  <a:cubicBezTo>
                    <a:pt x="8187525" y="2828667"/>
                    <a:pt x="8186305" y="2832685"/>
                    <a:pt x="8185064" y="2836661"/>
                  </a:cubicBezTo>
                  <a:cubicBezTo>
                    <a:pt x="8151151" y="2943428"/>
                    <a:pt x="8080148" y="3041486"/>
                    <a:pt x="7999783" y="3092566"/>
                  </a:cubicBezTo>
                  <a:cubicBezTo>
                    <a:pt x="7984110" y="3102475"/>
                    <a:pt x="7963240" y="3111626"/>
                    <a:pt x="7952743" y="3098919"/>
                  </a:cubicBezTo>
                  <a:cubicBezTo>
                    <a:pt x="7947294" y="3092334"/>
                    <a:pt x="7944454" y="3080700"/>
                    <a:pt x="7941950" y="3070413"/>
                  </a:cubicBezTo>
                  <a:cubicBezTo>
                    <a:pt x="7927792" y="3012622"/>
                    <a:pt x="7912181" y="2952832"/>
                    <a:pt x="7894236" y="2887657"/>
                  </a:cubicBezTo>
                  <a:cubicBezTo>
                    <a:pt x="7883465" y="2848400"/>
                    <a:pt x="7871263" y="2803905"/>
                    <a:pt x="7879489" y="2761556"/>
                  </a:cubicBezTo>
                  <a:cubicBezTo>
                    <a:pt x="7881971" y="2748786"/>
                    <a:pt x="7886242" y="2736437"/>
                    <a:pt x="7890765" y="2723351"/>
                  </a:cubicBezTo>
                  <a:cubicBezTo>
                    <a:pt x="7897981" y="2702503"/>
                    <a:pt x="7905428" y="2680939"/>
                    <a:pt x="7904945" y="2657671"/>
                  </a:cubicBezTo>
                  <a:cubicBezTo>
                    <a:pt x="7904271" y="2625252"/>
                    <a:pt x="7889460" y="2601500"/>
                    <a:pt x="7875134" y="2578527"/>
                  </a:cubicBezTo>
                  <a:cubicBezTo>
                    <a:pt x="7864047" y="2560771"/>
                    <a:pt x="7853591" y="2543983"/>
                    <a:pt x="7849531" y="2523492"/>
                  </a:cubicBezTo>
                  <a:cubicBezTo>
                    <a:pt x="7846754" y="2509544"/>
                    <a:pt x="7847680" y="2493849"/>
                    <a:pt x="7848647" y="2477208"/>
                  </a:cubicBezTo>
                  <a:cubicBezTo>
                    <a:pt x="7850499" y="2445694"/>
                    <a:pt x="7852413" y="2413106"/>
                    <a:pt x="7828661" y="2388807"/>
                  </a:cubicBezTo>
                  <a:cubicBezTo>
                    <a:pt x="7793801" y="2353169"/>
                    <a:pt x="7731340" y="2370083"/>
                    <a:pt x="7713016" y="2376121"/>
                  </a:cubicBezTo>
                  <a:cubicBezTo>
                    <a:pt x="7706600" y="2378246"/>
                    <a:pt x="7700036" y="2380561"/>
                    <a:pt x="7693704" y="2382812"/>
                  </a:cubicBezTo>
                  <a:cubicBezTo>
                    <a:pt x="7655183" y="2396444"/>
                    <a:pt x="7618788" y="2409319"/>
                    <a:pt x="7587168" y="2391374"/>
                  </a:cubicBezTo>
                  <a:cubicBezTo>
                    <a:pt x="7564678" y="2378583"/>
                    <a:pt x="7535436" y="2347215"/>
                    <a:pt x="7512673" y="2311430"/>
                  </a:cubicBezTo>
                  <a:cubicBezTo>
                    <a:pt x="7487280" y="2271542"/>
                    <a:pt x="7473732" y="2232749"/>
                    <a:pt x="7475478" y="2205021"/>
                  </a:cubicBezTo>
                  <a:cubicBezTo>
                    <a:pt x="7476172" y="2194018"/>
                    <a:pt x="7477813" y="2183246"/>
                    <a:pt x="7479559" y="2171844"/>
                  </a:cubicBezTo>
                  <a:cubicBezTo>
                    <a:pt x="7481852" y="2156802"/>
                    <a:pt x="7484208" y="2141234"/>
                    <a:pt x="7484208" y="2125266"/>
                  </a:cubicBezTo>
                  <a:cubicBezTo>
                    <a:pt x="7484208" y="2115126"/>
                    <a:pt x="7483262" y="2105049"/>
                    <a:pt x="7482336" y="2095308"/>
                  </a:cubicBezTo>
                  <a:cubicBezTo>
                    <a:pt x="7480821" y="2079256"/>
                    <a:pt x="7479391" y="2064088"/>
                    <a:pt x="7482041" y="2049593"/>
                  </a:cubicBezTo>
                  <a:cubicBezTo>
                    <a:pt x="7486986" y="2022812"/>
                    <a:pt x="7503795" y="2004635"/>
                    <a:pt x="7521593" y="1985385"/>
                  </a:cubicBezTo>
                  <a:cubicBezTo>
                    <a:pt x="7529924" y="1976360"/>
                    <a:pt x="7538549" y="1967040"/>
                    <a:pt x="7546017" y="1956669"/>
                  </a:cubicBezTo>
                  <a:cubicBezTo>
                    <a:pt x="7560828" y="1936051"/>
                    <a:pt x="7565583" y="1912089"/>
                    <a:pt x="7570169" y="1888906"/>
                  </a:cubicBezTo>
                  <a:cubicBezTo>
                    <a:pt x="7573872" y="1870266"/>
                    <a:pt x="7577343" y="1852678"/>
                    <a:pt x="7585737" y="1837826"/>
                  </a:cubicBezTo>
                  <a:cubicBezTo>
                    <a:pt x="7598802" y="1814768"/>
                    <a:pt x="7624594" y="1797959"/>
                    <a:pt x="7664545" y="1786409"/>
                  </a:cubicBezTo>
                  <a:cubicBezTo>
                    <a:pt x="7671235" y="1784474"/>
                    <a:pt x="7680597" y="1780981"/>
                    <a:pt x="7691410" y="1776942"/>
                  </a:cubicBezTo>
                  <a:cubicBezTo>
                    <a:pt x="7730457" y="1762405"/>
                    <a:pt x="7803122" y="1735329"/>
                    <a:pt x="7832343" y="1755084"/>
                  </a:cubicBezTo>
                  <a:cubicBezTo>
                    <a:pt x="7841053" y="1760974"/>
                    <a:pt x="7845492" y="1771115"/>
                    <a:pt x="7845870" y="1786093"/>
                  </a:cubicBezTo>
                  <a:cubicBezTo>
                    <a:pt x="7845975" y="1790575"/>
                    <a:pt x="7845870" y="1795161"/>
                    <a:pt x="7845723" y="1800042"/>
                  </a:cubicBezTo>
                  <a:cubicBezTo>
                    <a:pt x="7845260" y="1816535"/>
                    <a:pt x="7844797" y="1833576"/>
                    <a:pt x="7853528" y="1848387"/>
                  </a:cubicBezTo>
                  <a:cubicBezTo>
                    <a:pt x="7865309" y="1868309"/>
                    <a:pt x="7891670" y="1879081"/>
                    <a:pt x="7920681" y="1875799"/>
                  </a:cubicBezTo>
                  <a:cubicBezTo>
                    <a:pt x="7948872" y="1872601"/>
                    <a:pt x="7970625" y="1857265"/>
                    <a:pt x="7977483" y="1835743"/>
                  </a:cubicBezTo>
                  <a:cubicBezTo>
                    <a:pt x="7992378" y="1788807"/>
                    <a:pt x="7939363" y="1736276"/>
                    <a:pt x="7916705" y="1713807"/>
                  </a:cubicBezTo>
                  <a:cubicBezTo>
                    <a:pt x="7906838" y="1704088"/>
                    <a:pt x="7890408" y="1691739"/>
                    <a:pt x="7871410" y="1677454"/>
                  </a:cubicBezTo>
                  <a:cubicBezTo>
                    <a:pt x="7813724" y="1634074"/>
                    <a:pt x="7726543" y="1568499"/>
                    <a:pt x="7746319" y="1517040"/>
                  </a:cubicBezTo>
                  <a:cubicBezTo>
                    <a:pt x="7747245" y="1514600"/>
                    <a:pt x="7748465" y="1512139"/>
                    <a:pt x="7749748" y="1509530"/>
                  </a:cubicBezTo>
                  <a:cubicBezTo>
                    <a:pt x="7752273" y="1504418"/>
                    <a:pt x="7755113" y="1498611"/>
                    <a:pt x="7756312" y="1491774"/>
                  </a:cubicBezTo>
                  <a:cubicBezTo>
                    <a:pt x="7758689" y="1478057"/>
                    <a:pt x="7754082" y="1471094"/>
                    <a:pt x="7749790" y="1467664"/>
                  </a:cubicBezTo>
                  <a:cubicBezTo>
                    <a:pt x="7745331" y="1464109"/>
                    <a:pt x="7737168" y="1461059"/>
                    <a:pt x="7723514" y="1466760"/>
                  </a:cubicBezTo>
                  <a:cubicBezTo>
                    <a:pt x="7707336" y="1473513"/>
                    <a:pt x="7682743" y="1494235"/>
                    <a:pt x="7680639" y="1514053"/>
                  </a:cubicBezTo>
                  <a:cubicBezTo>
                    <a:pt x="7680092" y="1519333"/>
                    <a:pt x="7680471" y="1525371"/>
                    <a:pt x="7680849" y="1531746"/>
                  </a:cubicBezTo>
                  <a:cubicBezTo>
                    <a:pt x="7681396" y="1540624"/>
                    <a:pt x="7682196" y="1554067"/>
                    <a:pt x="7678661" y="1557959"/>
                  </a:cubicBezTo>
                  <a:cubicBezTo>
                    <a:pt x="7678367" y="1558275"/>
                    <a:pt x="7677588" y="1559137"/>
                    <a:pt x="7674812" y="1559263"/>
                  </a:cubicBezTo>
                  <a:cubicBezTo>
                    <a:pt x="7670835" y="1558085"/>
                    <a:pt x="7663788" y="1542391"/>
                    <a:pt x="7660401" y="1534838"/>
                  </a:cubicBezTo>
                  <a:cubicBezTo>
                    <a:pt x="7653563" y="1519586"/>
                    <a:pt x="7647083" y="1505196"/>
                    <a:pt x="7635639" y="1499979"/>
                  </a:cubicBezTo>
                  <a:cubicBezTo>
                    <a:pt x="7631263" y="1497980"/>
                    <a:pt x="7619839" y="1494909"/>
                    <a:pt x="7607953" y="1509319"/>
                  </a:cubicBezTo>
                  <a:cubicBezTo>
                    <a:pt x="7592133" y="1528506"/>
                    <a:pt x="7583128" y="1567131"/>
                    <a:pt x="7580751" y="1578513"/>
                  </a:cubicBezTo>
                  <a:cubicBezTo>
                    <a:pt x="7576796" y="1597342"/>
                    <a:pt x="7571663" y="1631023"/>
                    <a:pt x="7581635" y="1644971"/>
                  </a:cubicBezTo>
                  <a:cubicBezTo>
                    <a:pt x="7583150" y="1647117"/>
                    <a:pt x="7584791" y="1648948"/>
                    <a:pt x="7586263" y="1650568"/>
                  </a:cubicBezTo>
                  <a:cubicBezTo>
                    <a:pt x="7588009" y="1652524"/>
                    <a:pt x="7589545" y="1654207"/>
                    <a:pt x="7590260" y="1655764"/>
                  </a:cubicBezTo>
                  <a:cubicBezTo>
                    <a:pt x="7590702" y="1656732"/>
                    <a:pt x="7590618" y="1656879"/>
                    <a:pt x="7590155" y="1657531"/>
                  </a:cubicBezTo>
                  <a:cubicBezTo>
                    <a:pt x="7586074" y="1663464"/>
                    <a:pt x="7569096" y="1668218"/>
                    <a:pt x="7564131" y="1667924"/>
                  </a:cubicBezTo>
                  <a:cubicBezTo>
                    <a:pt x="7561523" y="1667756"/>
                    <a:pt x="7558535" y="1666662"/>
                    <a:pt x="7555359" y="1665504"/>
                  </a:cubicBezTo>
                  <a:cubicBezTo>
                    <a:pt x="7548437" y="1662980"/>
                    <a:pt x="7538928" y="1659530"/>
                    <a:pt x="7527883" y="1664347"/>
                  </a:cubicBezTo>
                  <a:cubicBezTo>
                    <a:pt x="7502890" y="1675266"/>
                    <a:pt x="7499313" y="1690245"/>
                    <a:pt x="7501544" y="1712440"/>
                  </a:cubicBezTo>
                  <a:cubicBezTo>
                    <a:pt x="7502091" y="1717720"/>
                    <a:pt x="7503185" y="1723190"/>
                    <a:pt x="7504237" y="1728471"/>
                  </a:cubicBezTo>
                  <a:cubicBezTo>
                    <a:pt x="7505352" y="1734046"/>
                    <a:pt x="7507161" y="1742987"/>
                    <a:pt x="7506635" y="1746711"/>
                  </a:cubicBezTo>
                  <a:cubicBezTo>
                    <a:pt x="7505225" y="1746732"/>
                    <a:pt x="7501964" y="1746437"/>
                    <a:pt x="7495863" y="1744333"/>
                  </a:cubicBezTo>
                  <a:cubicBezTo>
                    <a:pt x="7487007" y="1741283"/>
                    <a:pt x="7476235" y="1732258"/>
                    <a:pt x="7467799" y="1720834"/>
                  </a:cubicBezTo>
                  <a:cubicBezTo>
                    <a:pt x="7459952" y="1710147"/>
                    <a:pt x="7456901" y="1696262"/>
                    <a:pt x="7453661" y="1681556"/>
                  </a:cubicBezTo>
                  <a:cubicBezTo>
                    <a:pt x="7450085" y="1665336"/>
                    <a:pt x="7446403" y="1648548"/>
                    <a:pt x="7435674" y="1635168"/>
                  </a:cubicBezTo>
                  <a:cubicBezTo>
                    <a:pt x="7424734" y="1621535"/>
                    <a:pt x="7410639" y="1611416"/>
                    <a:pt x="7396986" y="1601634"/>
                  </a:cubicBezTo>
                  <a:cubicBezTo>
                    <a:pt x="7384300" y="1592524"/>
                    <a:pt x="7372308" y="1583920"/>
                    <a:pt x="7362820" y="1572706"/>
                  </a:cubicBezTo>
                  <a:cubicBezTo>
                    <a:pt x="7342266" y="1549396"/>
                    <a:pt x="7329580" y="1541129"/>
                    <a:pt x="7318956" y="1544158"/>
                  </a:cubicBezTo>
                  <a:cubicBezTo>
                    <a:pt x="7313234" y="1545799"/>
                    <a:pt x="7309321" y="1550469"/>
                    <a:pt x="7308227" y="1557012"/>
                  </a:cubicBezTo>
                  <a:cubicBezTo>
                    <a:pt x="7305323" y="1574242"/>
                    <a:pt x="7323248" y="1612426"/>
                    <a:pt x="7345821" y="1629446"/>
                  </a:cubicBezTo>
                  <a:cubicBezTo>
                    <a:pt x="7349966" y="1635000"/>
                    <a:pt x="7358213" y="1641921"/>
                    <a:pt x="7371383" y="1652798"/>
                  </a:cubicBezTo>
                  <a:cubicBezTo>
                    <a:pt x="7382448" y="1661928"/>
                    <a:pt x="7407294" y="1682440"/>
                    <a:pt x="7411649" y="1691676"/>
                  </a:cubicBezTo>
                  <a:cubicBezTo>
                    <a:pt x="7411039" y="1691844"/>
                    <a:pt x="7410239" y="1692033"/>
                    <a:pt x="7409230" y="1692223"/>
                  </a:cubicBezTo>
                  <a:cubicBezTo>
                    <a:pt x="7408030" y="1692433"/>
                    <a:pt x="7406873" y="1692833"/>
                    <a:pt x="7405821" y="1693443"/>
                  </a:cubicBezTo>
                  <a:cubicBezTo>
                    <a:pt x="7397343" y="1698260"/>
                    <a:pt x="7394650" y="1709957"/>
                    <a:pt x="7390653" y="1730238"/>
                  </a:cubicBezTo>
                  <a:cubicBezTo>
                    <a:pt x="7389811" y="1734488"/>
                    <a:pt x="7388697" y="1740147"/>
                    <a:pt x="7387455" y="1745175"/>
                  </a:cubicBezTo>
                  <a:cubicBezTo>
                    <a:pt x="7387518" y="1743744"/>
                    <a:pt x="7387582" y="1742272"/>
                    <a:pt x="7387666" y="1740757"/>
                  </a:cubicBezTo>
                  <a:cubicBezTo>
                    <a:pt x="7388507" y="1724095"/>
                    <a:pt x="7389538" y="1703394"/>
                    <a:pt x="7374538" y="1691023"/>
                  </a:cubicBezTo>
                  <a:cubicBezTo>
                    <a:pt x="7365260" y="1682882"/>
                    <a:pt x="7354889" y="1675518"/>
                    <a:pt x="7344875" y="1668408"/>
                  </a:cubicBezTo>
                  <a:cubicBezTo>
                    <a:pt x="7319082" y="1650105"/>
                    <a:pt x="7294720" y="1632812"/>
                    <a:pt x="7285800" y="1602349"/>
                  </a:cubicBezTo>
                  <a:cubicBezTo>
                    <a:pt x="7285737" y="1602159"/>
                    <a:pt x="7285674" y="1601949"/>
                    <a:pt x="7285611" y="1601760"/>
                  </a:cubicBezTo>
                  <a:lnTo>
                    <a:pt x="7285064" y="1600224"/>
                  </a:lnTo>
                  <a:cubicBezTo>
                    <a:pt x="7282287" y="1592314"/>
                    <a:pt x="7274903" y="1571318"/>
                    <a:pt x="7256200" y="1577461"/>
                  </a:cubicBezTo>
                  <a:cubicBezTo>
                    <a:pt x="7244335" y="1581374"/>
                    <a:pt x="7238612" y="1592230"/>
                    <a:pt x="7234026" y="1600960"/>
                  </a:cubicBezTo>
                  <a:cubicBezTo>
                    <a:pt x="7230871" y="1606977"/>
                    <a:pt x="7227862" y="1612657"/>
                    <a:pt x="7224118" y="1614509"/>
                  </a:cubicBezTo>
                  <a:cubicBezTo>
                    <a:pt x="7221446" y="1615813"/>
                    <a:pt x="7214166" y="1613625"/>
                    <a:pt x="7208865" y="1612047"/>
                  </a:cubicBezTo>
                  <a:cubicBezTo>
                    <a:pt x="7197610" y="1608660"/>
                    <a:pt x="7178760" y="1602980"/>
                    <a:pt x="7168430" y="1620715"/>
                  </a:cubicBezTo>
                  <a:cubicBezTo>
                    <a:pt x="7167925" y="1621598"/>
                    <a:pt x="7167547" y="1622524"/>
                    <a:pt x="7167294" y="1623513"/>
                  </a:cubicBezTo>
                  <a:cubicBezTo>
                    <a:pt x="7157028" y="1665483"/>
                    <a:pt x="7156565" y="1665778"/>
                    <a:pt x="7144615" y="1673394"/>
                  </a:cubicBezTo>
                  <a:cubicBezTo>
                    <a:pt x="7138157" y="1677517"/>
                    <a:pt x="7129300" y="1683155"/>
                    <a:pt x="7116109" y="1694642"/>
                  </a:cubicBezTo>
                  <a:cubicBezTo>
                    <a:pt x="7114531" y="1696009"/>
                    <a:pt x="7113416" y="1697798"/>
                    <a:pt x="7112869" y="1699817"/>
                  </a:cubicBezTo>
                  <a:cubicBezTo>
                    <a:pt x="7110260" y="1709432"/>
                    <a:pt x="7108788" y="1719340"/>
                    <a:pt x="7107357" y="1728913"/>
                  </a:cubicBezTo>
                  <a:cubicBezTo>
                    <a:pt x="7103907" y="1752138"/>
                    <a:pt x="7100941" y="1772209"/>
                    <a:pt x="7083795" y="1785525"/>
                  </a:cubicBezTo>
                  <a:cubicBezTo>
                    <a:pt x="7083311" y="1785904"/>
                    <a:pt x="7082869" y="1786325"/>
                    <a:pt x="7082448" y="1786767"/>
                  </a:cubicBezTo>
                  <a:cubicBezTo>
                    <a:pt x="7048093" y="1824656"/>
                    <a:pt x="7024763" y="1814747"/>
                    <a:pt x="6986074" y="1798338"/>
                  </a:cubicBezTo>
                  <a:cubicBezTo>
                    <a:pt x="6978774" y="1795245"/>
                    <a:pt x="6971242" y="1792047"/>
                    <a:pt x="6963185" y="1789018"/>
                  </a:cubicBezTo>
                  <a:cubicBezTo>
                    <a:pt x="6947407" y="1775490"/>
                    <a:pt x="6950688" y="1756535"/>
                    <a:pt x="6957947" y="1727293"/>
                  </a:cubicBezTo>
                  <a:cubicBezTo>
                    <a:pt x="6960029" y="1718899"/>
                    <a:pt x="6962175" y="1710210"/>
                    <a:pt x="6963311" y="1701879"/>
                  </a:cubicBezTo>
                  <a:cubicBezTo>
                    <a:pt x="6963395" y="1701290"/>
                    <a:pt x="6963416" y="1700701"/>
                    <a:pt x="6963395" y="1700091"/>
                  </a:cubicBezTo>
                  <a:cubicBezTo>
                    <a:pt x="6963101" y="1691655"/>
                    <a:pt x="6962049" y="1683723"/>
                    <a:pt x="6961039" y="1676087"/>
                  </a:cubicBezTo>
                  <a:cubicBezTo>
                    <a:pt x="6958830" y="1659446"/>
                    <a:pt x="6956916" y="1645035"/>
                    <a:pt x="6963185" y="1629446"/>
                  </a:cubicBezTo>
                  <a:cubicBezTo>
                    <a:pt x="6972315" y="1610406"/>
                    <a:pt x="6990702" y="1612636"/>
                    <a:pt x="7019840" y="1618569"/>
                  </a:cubicBezTo>
                  <a:cubicBezTo>
                    <a:pt x="7030948" y="1620841"/>
                    <a:pt x="7041425" y="1622966"/>
                    <a:pt x="7050892" y="1622587"/>
                  </a:cubicBezTo>
                  <a:cubicBezTo>
                    <a:pt x="7073191" y="1621662"/>
                    <a:pt x="7089307" y="1609922"/>
                    <a:pt x="7096292" y="1589558"/>
                  </a:cubicBezTo>
                  <a:cubicBezTo>
                    <a:pt x="7108199" y="1554824"/>
                    <a:pt x="7090274" y="1503618"/>
                    <a:pt x="7067490" y="1484369"/>
                  </a:cubicBezTo>
                  <a:cubicBezTo>
                    <a:pt x="7065492" y="1482686"/>
                    <a:pt x="7063451" y="1481129"/>
                    <a:pt x="7061474" y="1479614"/>
                  </a:cubicBezTo>
                  <a:cubicBezTo>
                    <a:pt x="7055562" y="1475070"/>
                    <a:pt x="7050429" y="1471157"/>
                    <a:pt x="7048115" y="1465729"/>
                  </a:cubicBezTo>
                  <a:cubicBezTo>
                    <a:pt x="7041930" y="1451171"/>
                    <a:pt x="7084047" y="1431164"/>
                    <a:pt x="7109209" y="1419235"/>
                  </a:cubicBezTo>
                  <a:cubicBezTo>
                    <a:pt x="7129952" y="1409390"/>
                    <a:pt x="7146340" y="1401606"/>
                    <a:pt x="7153599" y="1392749"/>
                  </a:cubicBezTo>
                  <a:cubicBezTo>
                    <a:pt x="7163003" y="1381283"/>
                    <a:pt x="7170155" y="1368197"/>
                    <a:pt x="7177077" y="1355533"/>
                  </a:cubicBezTo>
                  <a:cubicBezTo>
                    <a:pt x="7186060" y="1339081"/>
                    <a:pt x="7194538" y="1323555"/>
                    <a:pt x="7207245" y="1312321"/>
                  </a:cubicBezTo>
                  <a:cubicBezTo>
                    <a:pt x="7211937" y="1308155"/>
                    <a:pt x="7218101" y="1305252"/>
                    <a:pt x="7224601" y="1302160"/>
                  </a:cubicBezTo>
                  <a:cubicBezTo>
                    <a:pt x="7239223" y="1295238"/>
                    <a:pt x="7257441" y="1286613"/>
                    <a:pt x="7260618" y="1260231"/>
                  </a:cubicBezTo>
                  <a:cubicBezTo>
                    <a:pt x="7261923" y="1249228"/>
                    <a:pt x="7259756" y="1237931"/>
                    <a:pt x="7257652" y="1227012"/>
                  </a:cubicBezTo>
                  <a:cubicBezTo>
                    <a:pt x="7253739" y="1206521"/>
                    <a:pt x="7251930" y="1193499"/>
                    <a:pt x="7263710" y="1184242"/>
                  </a:cubicBezTo>
                  <a:cubicBezTo>
                    <a:pt x="7267119" y="1181550"/>
                    <a:pt x="7272168" y="1180687"/>
                    <a:pt x="7276922" y="1181949"/>
                  </a:cubicBezTo>
                  <a:cubicBezTo>
                    <a:pt x="7279384" y="1182601"/>
                    <a:pt x="7283802" y="1184453"/>
                    <a:pt x="7285737" y="1189355"/>
                  </a:cubicBezTo>
                  <a:cubicBezTo>
                    <a:pt x="7288136" y="1195371"/>
                    <a:pt x="7286305" y="1200820"/>
                    <a:pt x="7282876" y="1209972"/>
                  </a:cubicBezTo>
                  <a:cubicBezTo>
                    <a:pt x="7279468" y="1219081"/>
                    <a:pt x="7275218" y="1230420"/>
                    <a:pt x="7278816" y="1243611"/>
                  </a:cubicBezTo>
                  <a:cubicBezTo>
                    <a:pt x="7282203" y="1255834"/>
                    <a:pt x="7289692" y="1264712"/>
                    <a:pt x="7300527" y="1269277"/>
                  </a:cubicBezTo>
                  <a:cubicBezTo>
                    <a:pt x="7329286" y="1281437"/>
                    <a:pt x="7372750" y="1259768"/>
                    <a:pt x="7385415" y="1252826"/>
                  </a:cubicBezTo>
                  <a:cubicBezTo>
                    <a:pt x="7389707" y="1250449"/>
                    <a:pt x="7396081" y="1250680"/>
                    <a:pt x="7402834" y="1250911"/>
                  </a:cubicBezTo>
                  <a:cubicBezTo>
                    <a:pt x="7415415" y="1251332"/>
                    <a:pt x="7432687" y="1251942"/>
                    <a:pt x="7443458" y="1233702"/>
                  </a:cubicBezTo>
                  <a:cubicBezTo>
                    <a:pt x="7450001" y="1222552"/>
                    <a:pt x="7449412" y="1209887"/>
                    <a:pt x="7448886" y="1198716"/>
                  </a:cubicBezTo>
                  <a:cubicBezTo>
                    <a:pt x="7448507" y="1190806"/>
                    <a:pt x="7448171" y="1183317"/>
                    <a:pt x="7450211" y="1177342"/>
                  </a:cubicBezTo>
                  <a:cubicBezTo>
                    <a:pt x="7454882" y="1163688"/>
                    <a:pt x="7470744" y="1160701"/>
                    <a:pt x="7477350" y="1160049"/>
                  </a:cubicBezTo>
                  <a:lnTo>
                    <a:pt x="7477603" y="1160049"/>
                  </a:lnTo>
                  <a:cubicBezTo>
                    <a:pt x="7482715" y="1159523"/>
                    <a:pt x="7496284" y="1158218"/>
                    <a:pt x="7498451" y="1140715"/>
                  </a:cubicBezTo>
                  <a:cubicBezTo>
                    <a:pt x="7499566" y="1131858"/>
                    <a:pt x="7495990" y="1123064"/>
                    <a:pt x="7489131" y="1117784"/>
                  </a:cubicBezTo>
                  <a:cubicBezTo>
                    <a:pt x="7487575" y="1116585"/>
                    <a:pt x="7485639" y="1112924"/>
                    <a:pt x="7484882" y="1110210"/>
                  </a:cubicBezTo>
                  <a:cubicBezTo>
                    <a:pt x="7485050" y="1110210"/>
                    <a:pt x="7485197" y="1110210"/>
                    <a:pt x="7485366" y="1110210"/>
                  </a:cubicBezTo>
                  <a:cubicBezTo>
                    <a:pt x="7513956" y="1110210"/>
                    <a:pt x="7542715" y="1096178"/>
                    <a:pt x="7562911" y="1072258"/>
                  </a:cubicBezTo>
                  <a:cubicBezTo>
                    <a:pt x="7570422" y="1063401"/>
                    <a:pt x="7571473" y="1053492"/>
                    <a:pt x="7565667" y="1046360"/>
                  </a:cubicBezTo>
                  <a:cubicBezTo>
                    <a:pt x="7563900" y="1044109"/>
                    <a:pt x="7561523" y="1042384"/>
                    <a:pt x="7558872" y="1041374"/>
                  </a:cubicBezTo>
                  <a:cubicBezTo>
                    <a:pt x="7541326" y="1034453"/>
                    <a:pt x="7523507" y="1040638"/>
                    <a:pt x="7507792" y="1046108"/>
                  </a:cubicBezTo>
                  <a:cubicBezTo>
                    <a:pt x="7490562" y="1052104"/>
                    <a:pt x="7479454" y="1055322"/>
                    <a:pt x="7470281" y="1049495"/>
                  </a:cubicBezTo>
                  <a:cubicBezTo>
                    <a:pt x="7457343" y="1041248"/>
                    <a:pt x="7454713" y="1016865"/>
                    <a:pt x="7459657" y="998015"/>
                  </a:cubicBezTo>
                  <a:cubicBezTo>
                    <a:pt x="7463928" y="981627"/>
                    <a:pt x="7472217" y="967195"/>
                    <a:pt x="7481011" y="951900"/>
                  </a:cubicBezTo>
                  <a:cubicBezTo>
                    <a:pt x="7483704" y="947230"/>
                    <a:pt x="7486460" y="942391"/>
                    <a:pt x="7489089" y="937531"/>
                  </a:cubicBezTo>
                  <a:cubicBezTo>
                    <a:pt x="7504384" y="909320"/>
                    <a:pt x="7510253" y="885021"/>
                    <a:pt x="7507035" y="863226"/>
                  </a:cubicBezTo>
                  <a:cubicBezTo>
                    <a:pt x="7504342" y="845028"/>
                    <a:pt x="7492392" y="844207"/>
                    <a:pt x="7488773" y="844397"/>
                  </a:cubicBezTo>
                  <a:cubicBezTo>
                    <a:pt x="7482778" y="844670"/>
                    <a:pt x="7477203" y="848015"/>
                    <a:pt x="7473521" y="853506"/>
                  </a:cubicBezTo>
                  <a:cubicBezTo>
                    <a:pt x="7451915" y="885421"/>
                    <a:pt x="7428984" y="918850"/>
                    <a:pt x="7403402" y="955708"/>
                  </a:cubicBezTo>
                  <a:cubicBezTo>
                    <a:pt x="7392441" y="971528"/>
                    <a:pt x="7378851" y="995070"/>
                    <a:pt x="7387455" y="1016781"/>
                  </a:cubicBezTo>
                  <a:cubicBezTo>
                    <a:pt x="7389980" y="1023197"/>
                    <a:pt x="7393914" y="1027847"/>
                    <a:pt x="7397385" y="1031949"/>
                  </a:cubicBezTo>
                  <a:cubicBezTo>
                    <a:pt x="7399363" y="1034284"/>
                    <a:pt x="7401235" y="1036514"/>
                    <a:pt x="7402581" y="1038744"/>
                  </a:cubicBezTo>
                  <a:cubicBezTo>
                    <a:pt x="7407673" y="1047286"/>
                    <a:pt x="7408157" y="1061444"/>
                    <a:pt x="7403907" y="1076634"/>
                  </a:cubicBezTo>
                  <a:cubicBezTo>
                    <a:pt x="7401719" y="1084397"/>
                    <a:pt x="7398711" y="1091844"/>
                    <a:pt x="7395513" y="1099733"/>
                  </a:cubicBezTo>
                  <a:cubicBezTo>
                    <a:pt x="7392736" y="1106613"/>
                    <a:pt x="7389853" y="1113723"/>
                    <a:pt x="7387518" y="1121150"/>
                  </a:cubicBezTo>
                  <a:cubicBezTo>
                    <a:pt x="7384384" y="1131101"/>
                    <a:pt x="7382364" y="1141283"/>
                    <a:pt x="7380386" y="1151150"/>
                  </a:cubicBezTo>
                  <a:cubicBezTo>
                    <a:pt x="7378199" y="1162089"/>
                    <a:pt x="7376158" y="1172398"/>
                    <a:pt x="7372750" y="1182202"/>
                  </a:cubicBezTo>
                  <a:cubicBezTo>
                    <a:pt x="7365113" y="1204270"/>
                    <a:pt x="7354826" y="1214074"/>
                    <a:pt x="7347946" y="1214074"/>
                  </a:cubicBezTo>
                  <a:cubicBezTo>
                    <a:pt x="7347883" y="1214074"/>
                    <a:pt x="7347820" y="1214074"/>
                    <a:pt x="7347757" y="1214074"/>
                  </a:cubicBezTo>
                  <a:cubicBezTo>
                    <a:pt x="7340815" y="1213885"/>
                    <a:pt x="7333514" y="1203997"/>
                    <a:pt x="7329181" y="1188892"/>
                  </a:cubicBezTo>
                  <a:cubicBezTo>
                    <a:pt x="7328023" y="1184852"/>
                    <a:pt x="7326887" y="1179782"/>
                    <a:pt x="7325688" y="1174397"/>
                  </a:cubicBezTo>
                  <a:cubicBezTo>
                    <a:pt x="7319860" y="1148268"/>
                    <a:pt x="7311004" y="1108779"/>
                    <a:pt x="7277743" y="1112651"/>
                  </a:cubicBezTo>
                  <a:cubicBezTo>
                    <a:pt x="7266488" y="1113955"/>
                    <a:pt x="7258577" y="1122160"/>
                    <a:pt x="7251614" y="1129376"/>
                  </a:cubicBezTo>
                  <a:cubicBezTo>
                    <a:pt x="7244903" y="1136318"/>
                    <a:pt x="7240275" y="1140883"/>
                    <a:pt x="7235604" y="1140505"/>
                  </a:cubicBezTo>
                  <a:cubicBezTo>
                    <a:pt x="7228830" y="1139979"/>
                    <a:pt x="7221383" y="1133268"/>
                    <a:pt x="7221151" y="1123275"/>
                  </a:cubicBezTo>
                  <a:cubicBezTo>
                    <a:pt x="7220836" y="1111115"/>
                    <a:pt x="7219615" y="1099186"/>
                    <a:pt x="7218437" y="1087658"/>
                  </a:cubicBezTo>
                  <a:cubicBezTo>
                    <a:pt x="7215050" y="1054691"/>
                    <a:pt x="7211852" y="1023576"/>
                    <a:pt x="7230492" y="992019"/>
                  </a:cubicBezTo>
                  <a:cubicBezTo>
                    <a:pt x="7243031" y="970687"/>
                    <a:pt x="7259482" y="954761"/>
                    <a:pt x="7276880" y="937889"/>
                  </a:cubicBezTo>
                  <a:cubicBezTo>
                    <a:pt x="7295415" y="919923"/>
                    <a:pt x="7314580" y="901346"/>
                    <a:pt x="7328697" y="875743"/>
                  </a:cubicBezTo>
                  <a:cubicBezTo>
                    <a:pt x="7338794" y="857335"/>
                    <a:pt x="7344601" y="836886"/>
                    <a:pt x="7350197" y="817111"/>
                  </a:cubicBezTo>
                  <a:cubicBezTo>
                    <a:pt x="7356446" y="795021"/>
                    <a:pt x="7362357" y="774130"/>
                    <a:pt x="7373696" y="756648"/>
                  </a:cubicBezTo>
                  <a:cubicBezTo>
                    <a:pt x="7385225" y="738787"/>
                    <a:pt x="7403023" y="727132"/>
                    <a:pt x="7420232" y="715876"/>
                  </a:cubicBezTo>
                  <a:cubicBezTo>
                    <a:pt x="7426165" y="711984"/>
                    <a:pt x="7431782" y="708324"/>
                    <a:pt x="7437168" y="704390"/>
                  </a:cubicBezTo>
                  <a:cubicBezTo>
                    <a:pt x="7462792" y="685666"/>
                    <a:pt x="7484251" y="670729"/>
                    <a:pt x="7507708" y="662966"/>
                  </a:cubicBezTo>
                  <a:cubicBezTo>
                    <a:pt x="7522119" y="658191"/>
                    <a:pt x="7537287" y="656318"/>
                    <a:pt x="7550436" y="657707"/>
                  </a:cubicBezTo>
                  <a:cubicBezTo>
                    <a:pt x="7553781" y="658043"/>
                    <a:pt x="7563984" y="659095"/>
                    <a:pt x="7568696" y="663955"/>
                  </a:cubicBezTo>
                  <a:cubicBezTo>
                    <a:pt x="7569054" y="664818"/>
                    <a:pt x="7568781" y="667973"/>
                    <a:pt x="7568613" y="669867"/>
                  </a:cubicBezTo>
                  <a:cubicBezTo>
                    <a:pt x="7568066" y="676094"/>
                    <a:pt x="7567224" y="685498"/>
                    <a:pt x="7575218" y="692482"/>
                  </a:cubicBezTo>
                  <a:cubicBezTo>
                    <a:pt x="7606207" y="719726"/>
                    <a:pt x="7678493" y="752398"/>
                    <a:pt x="7733192" y="752377"/>
                  </a:cubicBezTo>
                  <a:cubicBezTo>
                    <a:pt x="7749496" y="752377"/>
                    <a:pt x="7764223" y="749474"/>
                    <a:pt x="7775856" y="742679"/>
                  </a:cubicBezTo>
                  <a:cubicBezTo>
                    <a:pt x="7780737" y="739839"/>
                    <a:pt x="7790415" y="738955"/>
                    <a:pt x="7798977" y="738177"/>
                  </a:cubicBezTo>
                  <a:cubicBezTo>
                    <a:pt x="7804341" y="737693"/>
                    <a:pt x="7809433" y="737230"/>
                    <a:pt x="7813935" y="736304"/>
                  </a:cubicBezTo>
                  <a:cubicBezTo>
                    <a:pt x="7824348" y="734158"/>
                    <a:pt x="7834678" y="730982"/>
                    <a:pt x="7844671" y="727910"/>
                  </a:cubicBezTo>
                  <a:cubicBezTo>
                    <a:pt x="7860197" y="723134"/>
                    <a:pt x="7874860" y="718611"/>
                    <a:pt x="7889482" y="717791"/>
                  </a:cubicBezTo>
                  <a:cubicBezTo>
                    <a:pt x="7932525" y="715519"/>
                    <a:pt x="7993009" y="708092"/>
                    <a:pt x="8021263" y="669825"/>
                  </a:cubicBezTo>
                  <a:cubicBezTo>
                    <a:pt x="8039587" y="644832"/>
                    <a:pt x="8034727" y="611508"/>
                    <a:pt x="8030435" y="582097"/>
                  </a:cubicBezTo>
                  <a:cubicBezTo>
                    <a:pt x="8026102" y="552349"/>
                    <a:pt x="8024250" y="533689"/>
                    <a:pt x="8035337" y="525084"/>
                  </a:cubicBezTo>
                  <a:cubicBezTo>
                    <a:pt x="8045520" y="517132"/>
                    <a:pt x="8061592" y="519025"/>
                    <a:pt x="8083114" y="530722"/>
                  </a:cubicBezTo>
                  <a:cubicBezTo>
                    <a:pt x="8088395" y="533604"/>
                    <a:pt x="8093633" y="536739"/>
                    <a:pt x="8099166" y="540063"/>
                  </a:cubicBezTo>
                  <a:cubicBezTo>
                    <a:pt x="8114313" y="549172"/>
                    <a:pt x="8129965" y="558576"/>
                    <a:pt x="8146859" y="562048"/>
                  </a:cubicBezTo>
                  <a:cubicBezTo>
                    <a:pt x="8160449" y="564867"/>
                    <a:pt x="8173514" y="563478"/>
                    <a:pt x="8185001" y="562237"/>
                  </a:cubicBezTo>
                  <a:cubicBezTo>
                    <a:pt x="8196087" y="561080"/>
                    <a:pt x="8207174" y="559923"/>
                    <a:pt x="8218261" y="558850"/>
                  </a:cubicBezTo>
                  <a:cubicBezTo>
                    <a:pt x="8222385" y="558450"/>
                    <a:pt x="8225898" y="555652"/>
                    <a:pt x="8227202" y="551718"/>
                  </a:cubicBezTo>
                  <a:cubicBezTo>
                    <a:pt x="8228507" y="547784"/>
                    <a:pt x="8227392" y="543450"/>
                    <a:pt x="8224342" y="540631"/>
                  </a:cubicBezTo>
                  <a:cubicBezTo>
                    <a:pt x="7844461" y="192013"/>
                    <a:pt x="7351102" y="0"/>
                    <a:pt x="6835148" y="0"/>
                  </a:cubicBezTo>
                  <a:cubicBezTo>
                    <a:pt x="6670338" y="0"/>
                    <a:pt x="6506326" y="19565"/>
                    <a:pt x="6347680" y="58170"/>
                  </a:cubicBezTo>
                  <a:cubicBezTo>
                    <a:pt x="6193536" y="95680"/>
                    <a:pt x="6043620" y="151304"/>
                    <a:pt x="5902140" y="223527"/>
                  </a:cubicBezTo>
                  <a:cubicBezTo>
                    <a:pt x="5763164" y="294467"/>
                    <a:pt x="5631993" y="381543"/>
                    <a:pt x="5512287" y="482356"/>
                  </a:cubicBezTo>
                  <a:cubicBezTo>
                    <a:pt x="5393192" y="582644"/>
                    <a:pt x="5285352" y="696564"/>
                    <a:pt x="5191818" y="820939"/>
                  </a:cubicBezTo>
                  <a:cubicBezTo>
                    <a:pt x="5188830" y="824895"/>
                    <a:pt x="5189020" y="830407"/>
                    <a:pt x="5192281" y="834151"/>
                  </a:cubicBezTo>
                  <a:cubicBezTo>
                    <a:pt x="5195521" y="837896"/>
                    <a:pt x="5200948" y="838864"/>
                    <a:pt x="5205282" y="836486"/>
                  </a:cubicBezTo>
                  <a:cubicBezTo>
                    <a:pt x="5310093" y="778969"/>
                    <a:pt x="5403438" y="748906"/>
                    <a:pt x="5499055" y="741879"/>
                  </a:cubicBezTo>
                  <a:cubicBezTo>
                    <a:pt x="5528908" y="739586"/>
                    <a:pt x="5556804" y="740365"/>
                    <a:pt x="5582049" y="744172"/>
                  </a:cubicBezTo>
                  <a:cubicBezTo>
                    <a:pt x="5587035" y="744909"/>
                    <a:pt x="5592084" y="746360"/>
                    <a:pt x="5597407" y="747896"/>
                  </a:cubicBezTo>
                  <a:cubicBezTo>
                    <a:pt x="5613248" y="752440"/>
                    <a:pt x="5632982" y="758078"/>
                    <a:pt x="5661341" y="747033"/>
                  </a:cubicBezTo>
                  <a:cubicBezTo>
                    <a:pt x="5673985" y="742111"/>
                    <a:pt x="5687533" y="733233"/>
                    <a:pt x="5700661" y="724649"/>
                  </a:cubicBezTo>
                  <a:cubicBezTo>
                    <a:pt x="5717449" y="713646"/>
                    <a:pt x="5736446" y="701150"/>
                    <a:pt x="5747744" y="701865"/>
                  </a:cubicBezTo>
                  <a:cubicBezTo>
                    <a:pt x="5753823" y="702265"/>
                    <a:pt x="5756201" y="705778"/>
                    <a:pt x="5761439" y="715729"/>
                  </a:cubicBezTo>
                  <a:cubicBezTo>
                    <a:pt x="5766888" y="726080"/>
                    <a:pt x="5774356" y="740259"/>
                    <a:pt x="5793585" y="743205"/>
                  </a:cubicBezTo>
                  <a:cubicBezTo>
                    <a:pt x="5835955" y="749621"/>
                    <a:pt x="5872288" y="737314"/>
                    <a:pt x="5904623" y="705547"/>
                  </a:cubicBezTo>
                  <a:cubicBezTo>
                    <a:pt x="5916089" y="694313"/>
                    <a:pt x="5957049" y="647251"/>
                    <a:pt x="5947961" y="622363"/>
                  </a:cubicBezTo>
                  <a:cubicBezTo>
                    <a:pt x="5946278" y="617672"/>
                    <a:pt x="5942912" y="614158"/>
                    <a:pt x="5938473" y="612475"/>
                  </a:cubicBezTo>
                  <a:cubicBezTo>
                    <a:pt x="5928353" y="608625"/>
                    <a:pt x="5916341" y="615147"/>
                    <a:pt x="5902435" y="622700"/>
                  </a:cubicBezTo>
                  <a:cubicBezTo>
                    <a:pt x="5897322" y="625477"/>
                    <a:pt x="5888697" y="630168"/>
                    <a:pt x="5883480" y="631788"/>
                  </a:cubicBezTo>
                  <a:cubicBezTo>
                    <a:pt x="5886257" y="623436"/>
                    <a:pt x="5898585" y="603050"/>
                    <a:pt x="5928985" y="571977"/>
                  </a:cubicBezTo>
                  <a:cubicBezTo>
                    <a:pt x="5958774" y="541536"/>
                    <a:pt x="5985829" y="521991"/>
                    <a:pt x="5994665" y="520729"/>
                  </a:cubicBezTo>
                  <a:cubicBezTo>
                    <a:pt x="6000135" y="519993"/>
                    <a:pt x="6004363" y="525168"/>
                    <a:pt x="6010107" y="533142"/>
                  </a:cubicBezTo>
                  <a:cubicBezTo>
                    <a:pt x="6011453" y="535014"/>
                    <a:pt x="6012736" y="536781"/>
                    <a:pt x="6014062" y="538422"/>
                  </a:cubicBezTo>
                  <a:cubicBezTo>
                    <a:pt x="6028872" y="556662"/>
                    <a:pt x="6051277" y="567265"/>
                    <a:pt x="6072968" y="577531"/>
                  </a:cubicBezTo>
                  <a:cubicBezTo>
                    <a:pt x="6074945" y="578457"/>
                    <a:pt x="6076902" y="579404"/>
                    <a:pt x="6078900" y="580350"/>
                  </a:cubicBezTo>
                  <a:cubicBezTo>
                    <a:pt x="6081341" y="581508"/>
                    <a:pt x="6083844" y="582581"/>
                    <a:pt x="6086264" y="583611"/>
                  </a:cubicBezTo>
                  <a:cubicBezTo>
                    <a:pt x="6102274" y="590449"/>
                    <a:pt x="6109574" y="593562"/>
                    <a:pt x="6102126" y="613170"/>
                  </a:cubicBezTo>
                  <a:cubicBezTo>
                    <a:pt x="6097161" y="626381"/>
                    <a:pt x="6088788" y="640540"/>
                    <a:pt x="6080689" y="654214"/>
                  </a:cubicBezTo>
                  <a:cubicBezTo>
                    <a:pt x="6074040" y="665470"/>
                    <a:pt x="6067161" y="677083"/>
                    <a:pt x="6061859" y="688632"/>
                  </a:cubicBezTo>
                  <a:cubicBezTo>
                    <a:pt x="6056642" y="700119"/>
                    <a:pt x="6060408" y="707503"/>
                    <a:pt x="6063101" y="710869"/>
                  </a:cubicBezTo>
                  <a:cubicBezTo>
                    <a:pt x="6074019" y="724502"/>
                    <a:pt x="6102000" y="719937"/>
                    <a:pt x="6134735" y="713078"/>
                  </a:cubicBezTo>
                  <a:cubicBezTo>
                    <a:pt x="6138627" y="712258"/>
                    <a:pt x="6141972" y="711564"/>
                    <a:pt x="6143865" y="711269"/>
                  </a:cubicBezTo>
                  <a:cubicBezTo>
                    <a:pt x="6154658" y="709607"/>
                    <a:pt x="6168774" y="706430"/>
                    <a:pt x="6182070" y="696501"/>
                  </a:cubicBezTo>
                  <a:cubicBezTo>
                    <a:pt x="6208031" y="677104"/>
                    <a:pt x="6204034" y="659116"/>
                    <a:pt x="6201131" y="645989"/>
                  </a:cubicBezTo>
                  <a:cubicBezTo>
                    <a:pt x="6200037" y="641045"/>
                    <a:pt x="6199089" y="636795"/>
                    <a:pt x="6199784" y="632903"/>
                  </a:cubicBezTo>
                  <a:cubicBezTo>
                    <a:pt x="6206158" y="595519"/>
                    <a:pt x="6240723" y="533983"/>
                    <a:pt x="6271691" y="492370"/>
                  </a:cubicBezTo>
                  <a:cubicBezTo>
                    <a:pt x="6282694" y="477559"/>
                    <a:pt x="6301123" y="452756"/>
                    <a:pt x="6315387" y="449411"/>
                  </a:cubicBezTo>
                  <a:cubicBezTo>
                    <a:pt x="6318500" y="448675"/>
                    <a:pt x="6319510" y="449137"/>
                    <a:pt x="6319531" y="449137"/>
                  </a:cubicBezTo>
                  <a:cubicBezTo>
                    <a:pt x="6321299" y="450294"/>
                    <a:pt x="6322855" y="458899"/>
                    <a:pt x="6323592" y="463022"/>
                  </a:cubicBezTo>
                  <a:cubicBezTo>
                    <a:pt x="6325506" y="473646"/>
                    <a:pt x="6327884" y="486858"/>
                    <a:pt x="6338991" y="493380"/>
                  </a:cubicBezTo>
                  <a:cubicBezTo>
                    <a:pt x="6346628" y="497861"/>
                    <a:pt x="6356285" y="497987"/>
                    <a:pt x="6368549" y="493780"/>
                  </a:cubicBezTo>
                  <a:cubicBezTo>
                    <a:pt x="6390303" y="486269"/>
                    <a:pt x="6407849" y="467630"/>
                    <a:pt x="6424805" y="449579"/>
                  </a:cubicBezTo>
                  <a:cubicBezTo>
                    <a:pt x="6434335" y="439439"/>
                    <a:pt x="6443339" y="429867"/>
                    <a:pt x="6452806" y="422356"/>
                  </a:cubicBezTo>
                  <a:cubicBezTo>
                    <a:pt x="6457119" y="418948"/>
                    <a:pt x="6464020" y="414698"/>
                    <a:pt x="6471341" y="410196"/>
                  </a:cubicBezTo>
                  <a:cubicBezTo>
                    <a:pt x="6493515" y="396543"/>
                    <a:pt x="6521116" y="379523"/>
                    <a:pt x="6527848" y="357181"/>
                  </a:cubicBezTo>
                  <a:cubicBezTo>
                    <a:pt x="6531993" y="343780"/>
                    <a:pt x="6527911" y="335954"/>
                    <a:pt x="6523746" y="331767"/>
                  </a:cubicBezTo>
                  <a:cubicBezTo>
                    <a:pt x="6511102" y="318997"/>
                    <a:pt x="6485331" y="325351"/>
                    <a:pt x="6455436" y="334271"/>
                  </a:cubicBezTo>
                  <a:cubicBezTo>
                    <a:pt x="6451691" y="335386"/>
                    <a:pt x="6448430" y="336353"/>
                    <a:pt x="6446180" y="336942"/>
                  </a:cubicBezTo>
                  <a:cubicBezTo>
                    <a:pt x="6430948" y="340729"/>
                    <a:pt x="6412372" y="337952"/>
                    <a:pt x="6407953" y="331199"/>
                  </a:cubicBezTo>
                  <a:cubicBezTo>
                    <a:pt x="6404840" y="326423"/>
                    <a:pt x="6408564" y="316346"/>
                    <a:pt x="6417946" y="304165"/>
                  </a:cubicBezTo>
                  <a:cubicBezTo>
                    <a:pt x="6432294" y="285358"/>
                    <a:pt x="6452449" y="279488"/>
                    <a:pt x="6466333" y="276711"/>
                  </a:cubicBezTo>
                  <a:cubicBezTo>
                    <a:pt x="6480660" y="273850"/>
                    <a:pt x="6496228" y="269116"/>
                    <a:pt x="6511292" y="264551"/>
                  </a:cubicBezTo>
                  <a:cubicBezTo>
                    <a:pt x="6542133" y="255168"/>
                    <a:pt x="6574027" y="245491"/>
                    <a:pt x="6594560" y="251781"/>
                  </a:cubicBezTo>
                  <a:cubicBezTo>
                    <a:pt x="6603690" y="254579"/>
                    <a:pt x="6611327" y="258829"/>
                    <a:pt x="6619405" y="263352"/>
                  </a:cubicBezTo>
                  <a:cubicBezTo>
                    <a:pt x="6634068" y="271536"/>
                    <a:pt x="6650710" y="280792"/>
                    <a:pt x="6676965" y="280140"/>
                  </a:cubicBezTo>
                  <a:cubicBezTo>
                    <a:pt x="6697140" y="279614"/>
                    <a:pt x="6720092" y="270210"/>
                    <a:pt x="6742266" y="261101"/>
                  </a:cubicBezTo>
                  <a:cubicBezTo>
                    <a:pt x="6752301" y="256977"/>
                    <a:pt x="6761768" y="253107"/>
                    <a:pt x="6770689" y="250140"/>
                  </a:cubicBezTo>
                  <a:cubicBezTo>
                    <a:pt x="6786341" y="244944"/>
                    <a:pt x="6800057" y="245554"/>
                    <a:pt x="6814552" y="246227"/>
                  </a:cubicBezTo>
                  <a:cubicBezTo>
                    <a:pt x="6826249" y="246774"/>
                    <a:pt x="6838325" y="247321"/>
                    <a:pt x="6851831" y="244902"/>
                  </a:cubicBezTo>
                  <a:cubicBezTo>
                    <a:pt x="6863423" y="242840"/>
                    <a:pt x="6875162" y="237328"/>
                    <a:pt x="6886523" y="232006"/>
                  </a:cubicBezTo>
                  <a:cubicBezTo>
                    <a:pt x="6899461" y="225947"/>
                    <a:pt x="6912862" y="219677"/>
                    <a:pt x="6922624" y="220477"/>
                  </a:cubicBezTo>
                  <a:cubicBezTo>
                    <a:pt x="6924707" y="220645"/>
                    <a:pt x="6927020" y="221255"/>
                    <a:pt x="6929482" y="221886"/>
                  </a:cubicBezTo>
                  <a:cubicBezTo>
                    <a:pt x="6935457" y="223443"/>
                    <a:pt x="6942904" y="225379"/>
                    <a:pt x="6951993" y="222665"/>
                  </a:cubicBezTo>
                  <a:cubicBezTo>
                    <a:pt x="6962070" y="219656"/>
                    <a:pt x="6970695" y="211872"/>
                    <a:pt x="6979027" y="204320"/>
                  </a:cubicBezTo>
                  <a:cubicBezTo>
                    <a:pt x="6983465" y="200301"/>
                    <a:pt x="6987652" y="196515"/>
                    <a:pt x="6991754" y="193696"/>
                  </a:cubicBezTo>
                  <a:cubicBezTo>
                    <a:pt x="7029706" y="167630"/>
                    <a:pt x="7055877" y="192665"/>
                    <a:pt x="7062967" y="200933"/>
                  </a:cubicBezTo>
                  <a:cubicBezTo>
                    <a:pt x="7068122" y="206992"/>
                    <a:pt x="7072266" y="214691"/>
                    <a:pt x="7076285" y="222139"/>
                  </a:cubicBezTo>
                  <a:cubicBezTo>
                    <a:pt x="7086782" y="241641"/>
                    <a:pt x="7099868" y="265877"/>
                    <a:pt x="7135358" y="260491"/>
                  </a:cubicBezTo>
                  <a:cubicBezTo>
                    <a:pt x="7141102" y="259628"/>
                    <a:pt x="7147624" y="256977"/>
                    <a:pt x="7154545" y="254179"/>
                  </a:cubicBezTo>
                  <a:cubicBezTo>
                    <a:pt x="7160436" y="251802"/>
                    <a:pt x="7171060" y="247489"/>
                    <a:pt x="7175162" y="247847"/>
                  </a:cubicBezTo>
                  <a:cubicBezTo>
                    <a:pt x="7175267" y="248289"/>
                    <a:pt x="7175394" y="248983"/>
                    <a:pt x="7175457" y="250035"/>
                  </a:cubicBezTo>
                  <a:cubicBezTo>
                    <a:pt x="7175625" y="252896"/>
                    <a:pt x="7175162" y="256935"/>
                    <a:pt x="7174068" y="262006"/>
                  </a:cubicBezTo>
                  <a:cubicBezTo>
                    <a:pt x="7171838" y="272335"/>
                    <a:pt x="7166579" y="282707"/>
                    <a:pt x="7161004" y="293689"/>
                  </a:cubicBezTo>
                  <a:cubicBezTo>
                    <a:pt x="7158079" y="299432"/>
                    <a:pt x="7155071" y="305365"/>
                    <a:pt x="7152505" y="311339"/>
                  </a:cubicBezTo>
                  <a:cubicBezTo>
                    <a:pt x="7151200" y="314369"/>
                    <a:pt x="7149938" y="317440"/>
                    <a:pt x="7148676" y="320491"/>
                  </a:cubicBezTo>
                  <a:cubicBezTo>
                    <a:pt x="7142616" y="335091"/>
                    <a:pt x="7136894" y="348892"/>
                    <a:pt x="7128122" y="360694"/>
                  </a:cubicBezTo>
                  <a:cubicBezTo>
                    <a:pt x="7121810" y="369109"/>
                    <a:pt x="7113963" y="375273"/>
                    <a:pt x="7105632" y="381774"/>
                  </a:cubicBezTo>
                  <a:cubicBezTo>
                    <a:pt x="7092610" y="391956"/>
                    <a:pt x="7077841" y="403506"/>
                    <a:pt x="7069363" y="424965"/>
                  </a:cubicBezTo>
                  <a:cubicBezTo>
                    <a:pt x="7064608" y="436977"/>
                    <a:pt x="7063388" y="448822"/>
                    <a:pt x="7062231" y="460266"/>
                  </a:cubicBezTo>
                  <a:cubicBezTo>
                    <a:pt x="7061726" y="465105"/>
                    <a:pt x="7061263" y="469691"/>
                    <a:pt x="7060548" y="474257"/>
                  </a:cubicBezTo>
                  <a:cubicBezTo>
                    <a:pt x="7058402" y="487847"/>
                    <a:pt x="7049987" y="496704"/>
                    <a:pt x="7040225" y="506949"/>
                  </a:cubicBezTo>
                  <a:cubicBezTo>
                    <a:pt x="7030632" y="517027"/>
                    <a:pt x="7019777" y="528450"/>
                    <a:pt x="7015358" y="545491"/>
                  </a:cubicBezTo>
                  <a:cubicBezTo>
                    <a:pt x="7012603" y="556346"/>
                    <a:pt x="7013697" y="566423"/>
                    <a:pt x="7014665" y="575301"/>
                  </a:cubicBezTo>
                  <a:cubicBezTo>
                    <a:pt x="7014917" y="577531"/>
                    <a:pt x="7015148" y="579761"/>
                    <a:pt x="7015337" y="582012"/>
                  </a:cubicBezTo>
                  <a:cubicBezTo>
                    <a:pt x="7017315" y="606437"/>
                    <a:pt x="7007133" y="610498"/>
                    <a:pt x="6983928" y="617356"/>
                  </a:cubicBezTo>
                  <a:cubicBezTo>
                    <a:pt x="6978185" y="619060"/>
                    <a:pt x="6972231" y="620806"/>
                    <a:pt x="6966404" y="623205"/>
                  </a:cubicBezTo>
                  <a:cubicBezTo>
                    <a:pt x="6949468" y="630126"/>
                    <a:pt x="6934910" y="643317"/>
                    <a:pt x="6920814" y="656045"/>
                  </a:cubicBezTo>
                  <a:lnTo>
                    <a:pt x="6916691" y="659768"/>
                  </a:lnTo>
                  <a:cubicBezTo>
                    <a:pt x="6889636" y="684067"/>
                    <a:pt x="6859973" y="706830"/>
                    <a:pt x="6828522" y="727468"/>
                  </a:cubicBezTo>
                  <a:cubicBezTo>
                    <a:pt x="6824335" y="730224"/>
                    <a:pt x="6819980" y="732959"/>
                    <a:pt x="6815373" y="735862"/>
                  </a:cubicBezTo>
                  <a:cubicBezTo>
                    <a:pt x="6794714" y="748885"/>
                    <a:pt x="6771298" y="763653"/>
                    <a:pt x="6755078" y="784775"/>
                  </a:cubicBezTo>
                  <a:cubicBezTo>
                    <a:pt x="6741719" y="802195"/>
                    <a:pt x="6731705" y="821655"/>
                    <a:pt x="6722028" y="840463"/>
                  </a:cubicBezTo>
                  <a:cubicBezTo>
                    <a:pt x="6719987" y="844439"/>
                    <a:pt x="6717946" y="848394"/>
                    <a:pt x="6715885" y="852307"/>
                  </a:cubicBezTo>
                  <a:lnTo>
                    <a:pt x="6714117" y="855694"/>
                  </a:lnTo>
                  <a:cubicBezTo>
                    <a:pt x="6702568" y="877763"/>
                    <a:pt x="6683255" y="914684"/>
                    <a:pt x="6663627" y="919881"/>
                  </a:cubicBezTo>
                  <a:cubicBezTo>
                    <a:pt x="6658493" y="921248"/>
                    <a:pt x="6653591" y="920259"/>
                    <a:pt x="6648185" y="916767"/>
                  </a:cubicBezTo>
                  <a:cubicBezTo>
                    <a:pt x="6623339" y="900799"/>
                    <a:pt x="6622708" y="850897"/>
                    <a:pt x="6622203" y="810778"/>
                  </a:cubicBezTo>
                  <a:cubicBezTo>
                    <a:pt x="6622035" y="797882"/>
                    <a:pt x="6621888" y="785722"/>
                    <a:pt x="6620983" y="775140"/>
                  </a:cubicBezTo>
                  <a:cubicBezTo>
                    <a:pt x="6620773" y="772742"/>
                    <a:pt x="6620541" y="770407"/>
                    <a:pt x="6620310" y="768155"/>
                  </a:cubicBezTo>
                  <a:cubicBezTo>
                    <a:pt x="6618143" y="746066"/>
                    <a:pt x="6616817" y="732749"/>
                    <a:pt x="6634342" y="709628"/>
                  </a:cubicBezTo>
                  <a:lnTo>
                    <a:pt x="6637308" y="705736"/>
                  </a:lnTo>
                  <a:cubicBezTo>
                    <a:pt x="6650141" y="688969"/>
                    <a:pt x="6664700" y="669972"/>
                    <a:pt x="6665310" y="649860"/>
                  </a:cubicBezTo>
                  <a:cubicBezTo>
                    <a:pt x="6665667" y="638352"/>
                    <a:pt x="6663753" y="629137"/>
                    <a:pt x="6662070" y="620996"/>
                  </a:cubicBezTo>
                  <a:cubicBezTo>
                    <a:pt x="6659924" y="610603"/>
                    <a:pt x="6658052" y="601620"/>
                    <a:pt x="6660513" y="588345"/>
                  </a:cubicBezTo>
                  <a:cubicBezTo>
                    <a:pt x="6662175" y="579404"/>
                    <a:pt x="6665099" y="570000"/>
                    <a:pt x="6667918" y="560890"/>
                  </a:cubicBezTo>
                  <a:cubicBezTo>
                    <a:pt x="6673556" y="542672"/>
                    <a:pt x="6679384" y="523843"/>
                    <a:pt x="6676691" y="505308"/>
                  </a:cubicBezTo>
                  <a:cubicBezTo>
                    <a:pt x="6676460" y="503731"/>
                    <a:pt x="6676228" y="502132"/>
                    <a:pt x="6675976" y="500470"/>
                  </a:cubicBezTo>
                  <a:cubicBezTo>
                    <a:pt x="6672547" y="476970"/>
                    <a:pt x="6668276" y="447707"/>
                    <a:pt x="6648143" y="436977"/>
                  </a:cubicBezTo>
                  <a:cubicBezTo>
                    <a:pt x="6637456" y="431276"/>
                    <a:pt x="6624391" y="432034"/>
                    <a:pt x="6609391" y="439207"/>
                  </a:cubicBezTo>
                  <a:cubicBezTo>
                    <a:pt x="6606151" y="440743"/>
                    <a:pt x="6602995" y="442616"/>
                    <a:pt x="6599924" y="444425"/>
                  </a:cubicBezTo>
                  <a:cubicBezTo>
                    <a:pt x="6596158" y="446634"/>
                    <a:pt x="6589132" y="450778"/>
                    <a:pt x="6587049" y="450463"/>
                  </a:cubicBezTo>
                  <a:cubicBezTo>
                    <a:pt x="6586902" y="450400"/>
                    <a:pt x="6586859" y="450379"/>
                    <a:pt x="6586838" y="450379"/>
                  </a:cubicBezTo>
                  <a:cubicBezTo>
                    <a:pt x="6585471" y="449116"/>
                    <a:pt x="6585261" y="441774"/>
                    <a:pt x="6585155" y="438240"/>
                  </a:cubicBezTo>
                  <a:cubicBezTo>
                    <a:pt x="6584903" y="429572"/>
                    <a:pt x="6584608" y="418759"/>
                    <a:pt x="6575751" y="413163"/>
                  </a:cubicBezTo>
                  <a:cubicBezTo>
                    <a:pt x="6567252" y="407777"/>
                    <a:pt x="6556712" y="411374"/>
                    <a:pt x="6549538" y="414530"/>
                  </a:cubicBezTo>
                  <a:cubicBezTo>
                    <a:pt x="6532287" y="422146"/>
                    <a:pt x="6518613" y="436304"/>
                    <a:pt x="6505401" y="450000"/>
                  </a:cubicBezTo>
                  <a:cubicBezTo>
                    <a:pt x="6497806" y="457868"/>
                    <a:pt x="6489938" y="466031"/>
                    <a:pt x="6481712" y="472489"/>
                  </a:cubicBezTo>
                  <a:cubicBezTo>
                    <a:pt x="6463956" y="486480"/>
                    <a:pt x="6444749" y="494264"/>
                    <a:pt x="6427771" y="501143"/>
                  </a:cubicBezTo>
                  <a:lnTo>
                    <a:pt x="6426551" y="501627"/>
                  </a:lnTo>
                  <a:cubicBezTo>
                    <a:pt x="6390660" y="516143"/>
                    <a:pt x="6373599" y="527524"/>
                    <a:pt x="6369454" y="539684"/>
                  </a:cubicBezTo>
                  <a:cubicBezTo>
                    <a:pt x="6367750" y="544839"/>
                    <a:pt x="6368339" y="549972"/>
                    <a:pt x="6371137" y="554158"/>
                  </a:cubicBezTo>
                  <a:cubicBezTo>
                    <a:pt x="6376944" y="562826"/>
                    <a:pt x="6389651" y="563752"/>
                    <a:pt x="6397266" y="564299"/>
                  </a:cubicBezTo>
                  <a:cubicBezTo>
                    <a:pt x="6398066" y="564362"/>
                    <a:pt x="6398781" y="564404"/>
                    <a:pt x="6399370" y="564467"/>
                  </a:cubicBezTo>
                  <a:cubicBezTo>
                    <a:pt x="6409636" y="565498"/>
                    <a:pt x="6421270" y="564341"/>
                    <a:pt x="6432526" y="563226"/>
                  </a:cubicBezTo>
                  <a:cubicBezTo>
                    <a:pt x="6447000" y="561795"/>
                    <a:pt x="6461958" y="560301"/>
                    <a:pt x="6471404" y="563794"/>
                  </a:cubicBezTo>
                  <a:cubicBezTo>
                    <a:pt x="6474181" y="564825"/>
                    <a:pt x="6477126" y="565813"/>
                    <a:pt x="6480134" y="566844"/>
                  </a:cubicBezTo>
                  <a:cubicBezTo>
                    <a:pt x="6496670" y="572482"/>
                    <a:pt x="6513774" y="578289"/>
                    <a:pt x="6518697" y="592679"/>
                  </a:cubicBezTo>
                  <a:cubicBezTo>
                    <a:pt x="6521074" y="599558"/>
                    <a:pt x="6516720" y="608499"/>
                    <a:pt x="6511670" y="618850"/>
                  </a:cubicBezTo>
                  <a:cubicBezTo>
                    <a:pt x="6508052" y="626297"/>
                    <a:pt x="6504286" y="633997"/>
                    <a:pt x="6502245" y="642559"/>
                  </a:cubicBezTo>
                  <a:cubicBezTo>
                    <a:pt x="6496187" y="668373"/>
                    <a:pt x="6515836" y="678071"/>
                    <a:pt x="6527575" y="683857"/>
                  </a:cubicBezTo>
                  <a:cubicBezTo>
                    <a:pt x="6531867" y="685982"/>
                    <a:pt x="6535927" y="687980"/>
                    <a:pt x="6538178" y="690084"/>
                  </a:cubicBezTo>
                  <a:cubicBezTo>
                    <a:pt x="6541691" y="693387"/>
                    <a:pt x="6544174" y="701592"/>
                    <a:pt x="6538746" y="709502"/>
                  </a:cubicBezTo>
                  <a:cubicBezTo>
                    <a:pt x="6530731" y="721115"/>
                    <a:pt x="6522757" y="726627"/>
                    <a:pt x="6513522" y="733022"/>
                  </a:cubicBezTo>
                  <a:cubicBezTo>
                    <a:pt x="6501278" y="741500"/>
                    <a:pt x="6487392" y="751094"/>
                    <a:pt x="6474833" y="775645"/>
                  </a:cubicBezTo>
                  <a:cubicBezTo>
                    <a:pt x="6472687" y="779831"/>
                    <a:pt x="6470752" y="783829"/>
                    <a:pt x="6468879" y="787700"/>
                  </a:cubicBezTo>
                  <a:cubicBezTo>
                    <a:pt x="6458045" y="810105"/>
                    <a:pt x="6451523" y="823632"/>
                    <a:pt x="6427835" y="829775"/>
                  </a:cubicBezTo>
                  <a:cubicBezTo>
                    <a:pt x="6417610" y="832426"/>
                    <a:pt x="6404903" y="823717"/>
                    <a:pt x="6392638" y="815301"/>
                  </a:cubicBezTo>
                  <a:cubicBezTo>
                    <a:pt x="6384560" y="809747"/>
                    <a:pt x="6376901" y="804509"/>
                    <a:pt x="6369054" y="801774"/>
                  </a:cubicBezTo>
                  <a:cubicBezTo>
                    <a:pt x="6367835" y="801353"/>
                    <a:pt x="6366446" y="800890"/>
                    <a:pt x="6364931" y="800386"/>
                  </a:cubicBezTo>
                  <a:cubicBezTo>
                    <a:pt x="6358472" y="798282"/>
                    <a:pt x="6343367" y="793338"/>
                    <a:pt x="6341179" y="787426"/>
                  </a:cubicBezTo>
                  <a:cubicBezTo>
                    <a:pt x="6340401" y="785322"/>
                    <a:pt x="6341810" y="782293"/>
                    <a:pt x="6343115" y="780105"/>
                  </a:cubicBezTo>
                  <a:cubicBezTo>
                    <a:pt x="6346986" y="773709"/>
                    <a:pt x="6353844" y="767482"/>
                    <a:pt x="6363480" y="761592"/>
                  </a:cubicBezTo>
                  <a:cubicBezTo>
                    <a:pt x="6370064" y="757573"/>
                    <a:pt x="6377028" y="753829"/>
                    <a:pt x="6383760" y="750210"/>
                  </a:cubicBezTo>
                  <a:cubicBezTo>
                    <a:pt x="6393227" y="745119"/>
                    <a:pt x="6403010" y="739839"/>
                    <a:pt x="6412456" y="733506"/>
                  </a:cubicBezTo>
                  <a:lnTo>
                    <a:pt x="6415359" y="731571"/>
                  </a:lnTo>
                  <a:cubicBezTo>
                    <a:pt x="6432883" y="719916"/>
                    <a:pt x="6459370" y="702328"/>
                    <a:pt x="6462021" y="678219"/>
                  </a:cubicBezTo>
                  <a:cubicBezTo>
                    <a:pt x="6464377" y="657412"/>
                    <a:pt x="6447084" y="650112"/>
                    <a:pt x="6436776" y="645757"/>
                  </a:cubicBezTo>
                  <a:cubicBezTo>
                    <a:pt x="6430969" y="643317"/>
                    <a:pt x="6424973" y="640771"/>
                    <a:pt x="6423900" y="637552"/>
                  </a:cubicBezTo>
                  <a:cubicBezTo>
                    <a:pt x="6423185" y="635407"/>
                    <a:pt x="6422954" y="632209"/>
                    <a:pt x="6422743" y="629116"/>
                  </a:cubicBezTo>
                  <a:cubicBezTo>
                    <a:pt x="6422196" y="621269"/>
                    <a:pt x="6420892" y="602924"/>
                    <a:pt x="6400254" y="603135"/>
                  </a:cubicBezTo>
                  <a:cubicBezTo>
                    <a:pt x="6388052" y="603303"/>
                    <a:pt x="6368970" y="608457"/>
                    <a:pt x="6355948" y="619418"/>
                  </a:cubicBezTo>
                  <a:cubicBezTo>
                    <a:pt x="6340885" y="632062"/>
                    <a:pt x="6333837" y="647777"/>
                    <a:pt x="6327042" y="662987"/>
                  </a:cubicBezTo>
                  <a:cubicBezTo>
                    <a:pt x="6320457" y="677735"/>
                    <a:pt x="6314230" y="691662"/>
                    <a:pt x="6300787" y="702559"/>
                  </a:cubicBezTo>
                  <a:cubicBezTo>
                    <a:pt x="6288185" y="712742"/>
                    <a:pt x="6274826" y="720463"/>
                    <a:pt x="6260667" y="728625"/>
                  </a:cubicBezTo>
                  <a:cubicBezTo>
                    <a:pt x="6254819" y="731991"/>
                    <a:pt x="6248781" y="735484"/>
                    <a:pt x="6242827" y="739144"/>
                  </a:cubicBezTo>
                  <a:cubicBezTo>
                    <a:pt x="6231803" y="745961"/>
                    <a:pt x="6223115" y="755933"/>
                    <a:pt x="6214721" y="765568"/>
                  </a:cubicBezTo>
                  <a:cubicBezTo>
                    <a:pt x="6211923" y="768766"/>
                    <a:pt x="6209293" y="771795"/>
                    <a:pt x="6206579" y="774719"/>
                  </a:cubicBezTo>
                  <a:cubicBezTo>
                    <a:pt x="6185836" y="797019"/>
                    <a:pt x="6162758" y="813871"/>
                    <a:pt x="6138332" y="831711"/>
                  </a:cubicBezTo>
                  <a:cubicBezTo>
                    <a:pt x="6111803" y="851087"/>
                    <a:pt x="6084349" y="871115"/>
                    <a:pt x="6060177" y="898695"/>
                  </a:cubicBezTo>
                  <a:cubicBezTo>
                    <a:pt x="6045050" y="915799"/>
                    <a:pt x="6038402" y="933639"/>
                    <a:pt x="6040422" y="951690"/>
                  </a:cubicBezTo>
                  <a:cubicBezTo>
                    <a:pt x="6043830" y="982068"/>
                    <a:pt x="6070044" y="1004684"/>
                    <a:pt x="6095226" y="1022798"/>
                  </a:cubicBezTo>
                  <a:cubicBezTo>
                    <a:pt x="6095667" y="1023113"/>
                    <a:pt x="6096151" y="1023408"/>
                    <a:pt x="6096656" y="1023660"/>
                  </a:cubicBezTo>
                  <a:cubicBezTo>
                    <a:pt x="6104293" y="1027489"/>
                    <a:pt x="6111678" y="1034390"/>
                    <a:pt x="6119504" y="1041690"/>
                  </a:cubicBezTo>
                  <a:cubicBezTo>
                    <a:pt x="6138059" y="1059004"/>
                    <a:pt x="6161138" y="1080547"/>
                    <a:pt x="6198438" y="1066851"/>
                  </a:cubicBezTo>
                  <a:cubicBezTo>
                    <a:pt x="6231277" y="1054775"/>
                    <a:pt x="6261383" y="1018695"/>
                    <a:pt x="6265548" y="986381"/>
                  </a:cubicBezTo>
                  <a:cubicBezTo>
                    <a:pt x="6266432" y="979523"/>
                    <a:pt x="6267000" y="973127"/>
                    <a:pt x="6267547" y="966942"/>
                  </a:cubicBezTo>
                  <a:cubicBezTo>
                    <a:pt x="6270639" y="932251"/>
                    <a:pt x="6272196" y="914831"/>
                    <a:pt x="6316208" y="903113"/>
                  </a:cubicBezTo>
                  <a:cubicBezTo>
                    <a:pt x="6333669" y="898464"/>
                    <a:pt x="6359104" y="898695"/>
                    <a:pt x="6367645" y="906458"/>
                  </a:cubicBezTo>
                  <a:cubicBezTo>
                    <a:pt x="6369412" y="908057"/>
                    <a:pt x="6371306" y="910687"/>
                    <a:pt x="6370296" y="916683"/>
                  </a:cubicBezTo>
                  <a:cubicBezTo>
                    <a:pt x="6367519" y="933176"/>
                    <a:pt x="6376797" y="940308"/>
                    <a:pt x="6380920" y="942601"/>
                  </a:cubicBezTo>
                  <a:cubicBezTo>
                    <a:pt x="6394132" y="949986"/>
                    <a:pt x="6413129" y="943569"/>
                    <a:pt x="6424342" y="933766"/>
                  </a:cubicBezTo>
                  <a:cubicBezTo>
                    <a:pt x="6429517" y="929221"/>
                    <a:pt x="6433746" y="922679"/>
                    <a:pt x="6438227" y="915757"/>
                  </a:cubicBezTo>
                  <a:cubicBezTo>
                    <a:pt x="6442203" y="909593"/>
                    <a:pt x="6447441" y="901514"/>
                    <a:pt x="6451839" y="898485"/>
                  </a:cubicBezTo>
                  <a:cubicBezTo>
                    <a:pt x="6456488" y="908036"/>
                    <a:pt x="6458213" y="941066"/>
                    <a:pt x="6459160" y="959474"/>
                  </a:cubicBezTo>
                  <a:cubicBezTo>
                    <a:pt x="6460906" y="992861"/>
                    <a:pt x="6462336" y="1013899"/>
                    <a:pt x="6469384" y="1023766"/>
                  </a:cubicBezTo>
                  <a:cubicBezTo>
                    <a:pt x="6472035" y="1027573"/>
                    <a:pt x="6474854" y="1031255"/>
                    <a:pt x="6477568" y="1034831"/>
                  </a:cubicBezTo>
                  <a:cubicBezTo>
                    <a:pt x="6485036" y="1044656"/>
                    <a:pt x="6492105" y="1053913"/>
                    <a:pt x="6495702" y="1065168"/>
                  </a:cubicBezTo>
                  <a:cubicBezTo>
                    <a:pt x="6499679" y="1077391"/>
                    <a:pt x="6493830" y="1091402"/>
                    <a:pt x="6487666" y="1106255"/>
                  </a:cubicBezTo>
                  <a:cubicBezTo>
                    <a:pt x="6479335" y="1126304"/>
                    <a:pt x="6468963" y="1151255"/>
                    <a:pt x="6489959" y="1171578"/>
                  </a:cubicBezTo>
                  <a:cubicBezTo>
                    <a:pt x="6498395" y="1179782"/>
                    <a:pt x="6505843" y="1197517"/>
                    <a:pt x="6502182" y="1205722"/>
                  </a:cubicBezTo>
                  <a:cubicBezTo>
                    <a:pt x="6500120" y="1210350"/>
                    <a:pt x="6492589" y="1210855"/>
                    <a:pt x="6486656" y="1210456"/>
                  </a:cubicBezTo>
                  <a:cubicBezTo>
                    <a:pt x="6478031" y="1209867"/>
                    <a:pt x="6468143" y="1207426"/>
                    <a:pt x="6457687" y="1204860"/>
                  </a:cubicBezTo>
                  <a:cubicBezTo>
                    <a:pt x="6434251" y="1199074"/>
                    <a:pt x="6407680" y="1192531"/>
                    <a:pt x="6383255" y="1204102"/>
                  </a:cubicBezTo>
                  <a:cubicBezTo>
                    <a:pt x="6367561" y="1211528"/>
                    <a:pt x="6355696" y="1224256"/>
                    <a:pt x="6351509" y="1238120"/>
                  </a:cubicBezTo>
                  <a:cubicBezTo>
                    <a:pt x="6350247" y="1242265"/>
                    <a:pt x="6349742" y="1246283"/>
                    <a:pt x="6349279" y="1249817"/>
                  </a:cubicBezTo>
                  <a:cubicBezTo>
                    <a:pt x="6348879" y="1252994"/>
                    <a:pt x="6348500" y="1255981"/>
                    <a:pt x="6347638" y="1258548"/>
                  </a:cubicBezTo>
                  <a:cubicBezTo>
                    <a:pt x="6342673" y="1273443"/>
                    <a:pt x="6321214" y="1280701"/>
                    <a:pt x="6303900" y="1286570"/>
                  </a:cubicBezTo>
                  <a:cubicBezTo>
                    <a:pt x="6259047" y="1301802"/>
                    <a:pt x="6214868" y="1330203"/>
                    <a:pt x="6179546" y="1366556"/>
                  </a:cubicBezTo>
                  <a:cubicBezTo>
                    <a:pt x="6157813" y="1388878"/>
                    <a:pt x="6145128" y="1412756"/>
                    <a:pt x="6132862" y="1435876"/>
                  </a:cubicBezTo>
                  <a:cubicBezTo>
                    <a:pt x="6124763" y="1451150"/>
                    <a:pt x="6117084" y="1465582"/>
                    <a:pt x="6106902" y="1479845"/>
                  </a:cubicBezTo>
                  <a:cubicBezTo>
                    <a:pt x="6095226" y="1496255"/>
                    <a:pt x="6080373" y="1508562"/>
                    <a:pt x="6064637" y="1521627"/>
                  </a:cubicBezTo>
                  <a:cubicBezTo>
                    <a:pt x="6044420" y="1538415"/>
                    <a:pt x="6023486" y="1555771"/>
                    <a:pt x="6009791" y="1582426"/>
                  </a:cubicBezTo>
                  <a:cubicBezTo>
                    <a:pt x="5996916" y="1607587"/>
                    <a:pt x="5999777" y="1629488"/>
                    <a:pt x="6002575" y="1650673"/>
                  </a:cubicBezTo>
                  <a:cubicBezTo>
                    <a:pt x="6003564" y="1658246"/>
                    <a:pt x="6004594" y="1666094"/>
                    <a:pt x="6004889" y="1674088"/>
                  </a:cubicBezTo>
                  <a:cubicBezTo>
                    <a:pt x="6005457" y="1687741"/>
                    <a:pt x="6002659" y="1697335"/>
                    <a:pt x="5997610" y="1699144"/>
                  </a:cubicBezTo>
                  <a:cubicBezTo>
                    <a:pt x="5991173" y="1701437"/>
                    <a:pt x="5977351" y="1694495"/>
                    <a:pt x="5964455" y="1677160"/>
                  </a:cubicBezTo>
                  <a:cubicBezTo>
                    <a:pt x="5942154" y="1647012"/>
                    <a:pt x="5919980" y="1627847"/>
                    <a:pt x="5878431" y="1625469"/>
                  </a:cubicBezTo>
                  <a:cubicBezTo>
                    <a:pt x="5850892" y="1623850"/>
                    <a:pt x="5800527" y="1624775"/>
                    <a:pt x="5772652" y="1649095"/>
                  </a:cubicBezTo>
                  <a:cubicBezTo>
                    <a:pt x="5740212" y="1677075"/>
                    <a:pt x="5721172" y="1730764"/>
                    <a:pt x="5729293" y="1771304"/>
                  </a:cubicBezTo>
                  <a:cubicBezTo>
                    <a:pt x="5734742" y="1798506"/>
                    <a:pt x="5751993" y="1818134"/>
                    <a:pt x="5777827" y="1826570"/>
                  </a:cubicBezTo>
                  <a:cubicBezTo>
                    <a:pt x="5788893" y="1830231"/>
                    <a:pt x="5800254" y="1831914"/>
                    <a:pt x="5811236" y="1833555"/>
                  </a:cubicBezTo>
                  <a:cubicBezTo>
                    <a:pt x="5818893" y="1834691"/>
                    <a:pt x="5826110" y="1835785"/>
                    <a:pt x="5833157" y="1837468"/>
                  </a:cubicBezTo>
                  <a:cubicBezTo>
                    <a:pt x="5879819" y="1848660"/>
                    <a:pt x="5903276" y="1884298"/>
                    <a:pt x="5928122" y="1922019"/>
                  </a:cubicBezTo>
                  <a:cubicBezTo>
                    <a:pt x="5944974" y="1947601"/>
                    <a:pt x="5962392" y="1974067"/>
                    <a:pt x="5987848" y="1994495"/>
                  </a:cubicBezTo>
                  <a:cubicBezTo>
                    <a:pt x="6017491" y="2018541"/>
                    <a:pt x="6041264" y="2020729"/>
                    <a:pt x="6066404" y="2023064"/>
                  </a:cubicBezTo>
                  <a:cubicBezTo>
                    <a:pt x="6080773" y="2024389"/>
                    <a:pt x="6095625" y="2025757"/>
                    <a:pt x="6112939" y="2031521"/>
                  </a:cubicBezTo>
                  <a:cubicBezTo>
                    <a:pt x="6136565" y="2039389"/>
                    <a:pt x="6152806" y="2056304"/>
                    <a:pt x="6171593" y="2077615"/>
                  </a:cubicBezTo>
                  <a:lnTo>
                    <a:pt x="6172140" y="2078246"/>
                  </a:lnTo>
                  <a:cubicBezTo>
                    <a:pt x="6186740" y="2094740"/>
                    <a:pt x="6204917" y="2115294"/>
                    <a:pt x="6227638" y="2122489"/>
                  </a:cubicBezTo>
                  <a:cubicBezTo>
                    <a:pt x="6240051" y="2126444"/>
                    <a:pt x="6251263" y="2125476"/>
                    <a:pt x="6261151" y="2124614"/>
                  </a:cubicBezTo>
                  <a:cubicBezTo>
                    <a:pt x="6273669" y="2123541"/>
                    <a:pt x="6283557" y="2122678"/>
                    <a:pt x="6295443" y="2130546"/>
                  </a:cubicBezTo>
                  <a:cubicBezTo>
                    <a:pt x="6308950" y="2139467"/>
                    <a:pt x="6323381" y="2162040"/>
                    <a:pt x="6330113" y="2178723"/>
                  </a:cubicBezTo>
                  <a:cubicBezTo>
                    <a:pt x="6332659" y="2185098"/>
                    <a:pt x="6333374" y="2192608"/>
                    <a:pt x="6334132" y="2200560"/>
                  </a:cubicBezTo>
                  <a:cubicBezTo>
                    <a:pt x="6335184" y="2211626"/>
                    <a:pt x="6336257" y="2223071"/>
                    <a:pt x="6342294" y="2233674"/>
                  </a:cubicBezTo>
                  <a:cubicBezTo>
                    <a:pt x="6353529" y="2253492"/>
                    <a:pt x="6371053" y="2254733"/>
                    <a:pt x="6385128" y="2255743"/>
                  </a:cubicBezTo>
                  <a:cubicBezTo>
                    <a:pt x="6388935" y="2256016"/>
                    <a:pt x="6392512" y="2256269"/>
                    <a:pt x="6395920" y="2256837"/>
                  </a:cubicBezTo>
                  <a:cubicBezTo>
                    <a:pt x="6406607" y="2258646"/>
                    <a:pt x="6416621" y="2263064"/>
                    <a:pt x="6427203" y="2267755"/>
                  </a:cubicBezTo>
                  <a:cubicBezTo>
                    <a:pt x="6436880" y="2272047"/>
                    <a:pt x="6446894" y="2276465"/>
                    <a:pt x="6458045" y="2279158"/>
                  </a:cubicBezTo>
                  <a:cubicBezTo>
                    <a:pt x="6469615" y="2281956"/>
                    <a:pt x="6481144" y="2283344"/>
                    <a:pt x="6492273" y="2284670"/>
                  </a:cubicBezTo>
                  <a:cubicBezTo>
                    <a:pt x="6508157" y="2286584"/>
                    <a:pt x="6523157" y="2288394"/>
                    <a:pt x="6537757" y="2293969"/>
                  </a:cubicBezTo>
                  <a:cubicBezTo>
                    <a:pt x="6544447" y="2296514"/>
                    <a:pt x="6549875" y="2303415"/>
                    <a:pt x="6555640" y="2310694"/>
                  </a:cubicBezTo>
                  <a:cubicBezTo>
                    <a:pt x="6561488" y="2318099"/>
                    <a:pt x="6567526" y="2325757"/>
                    <a:pt x="6576088" y="2330680"/>
                  </a:cubicBezTo>
                  <a:cubicBezTo>
                    <a:pt x="6586965" y="2336991"/>
                    <a:pt x="6596747" y="2336949"/>
                    <a:pt x="6605373" y="2336886"/>
                  </a:cubicBezTo>
                  <a:cubicBezTo>
                    <a:pt x="6610969" y="2336844"/>
                    <a:pt x="6615808" y="2336823"/>
                    <a:pt x="6620752" y="2338506"/>
                  </a:cubicBezTo>
                  <a:cubicBezTo>
                    <a:pt x="6628914" y="2341283"/>
                    <a:pt x="6633037" y="2351423"/>
                    <a:pt x="6634784" y="2357272"/>
                  </a:cubicBezTo>
                  <a:cubicBezTo>
                    <a:pt x="6635983" y="2361206"/>
                    <a:pt x="6636782" y="2365518"/>
                    <a:pt x="6637119" y="2369747"/>
                  </a:cubicBezTo>
                  <a:cubicBezTo>
                    <a:pt x="6639580" y="2399558"/>
                    <a:pt x="6624896" y="2416893"/>
                    <a:pt x="6607876" y="2436942"/>
                  </a:cubicBezTo>
                  <a:cubicBezTo>
                    <a:pt x="6591867" y="2455834"/>
                    <a:pt x="6573711" y="2477251"/>
                    <a:pt x="6573690" y="2510406"/>
                  </a:cubicBezTo>
                  <a:cubicBezTo>
                    <a:pt x="6573711" y="2522251"/>
                    <a:pt x="6575289" y="2533527"/>
                    <a:pt x="6576803" y="2544424"/>
                  </a:cubicBezTo>
                  <a:cubicBezTo>
                    <a:pt x="6578865" y="2559277"/>
                    <a:pt x="6580822" y="2573288"/>
                    <a:pt x="6578739" y="2587342"/>
                  </a:cubicBezTo>
                  <a:cubicBezTo>
                    <a:pt x="6576740" y="2600722"/>
                    <a:pt x="6572912" y="2613176"/>
                    <a:pt x="6568872" y="2626367"/>
                  </a:cubicBezTo>
                  <a:cubicBezTo>
                    <a:pt x="6564854" y="2639410"/>
                    <a:pt x="6560731" y="2652896"/>
                    <a:pt x="6558521" y="2667349"/>
                  </a:cubicBezTo>
                  <a:cubicBezTo>
                    <a:pt x="6554903" y="2691269"/>
                    <a:pt x="6538746" y="2703071"/>
                    <a:pt x="6513816" y="2714368"/>
                  </a:cubicBezTo>
                  <a:cubicBezTo>
                    <a:pt x="6508388" y="2716851"/>
                    <a:pt x="6503402" y="2718933"/>
                    <a:pt x="6498585" y="2720932"/>
                  </a:cubicBezTo>
                  <a:cubicBezTo>
                    <a:pt x="6464798" y="2735069"/>
                    <a:pt x="6447589" y="2745020"/>
                    <a:pt x="6456614" y="2800413"/>
                  </a:cubicBezTo>
                  <a:cubicBezTo>
                    <a:pt x="6460611" y="2824438"/>
                    <a:pt x="6456719" y="2847012"/>
                    <a:pt x="6445969" y="2862307"/>
                  </a:cubicBezTo>
                  <a:cubicBezTo>
                    <a:pt x="6437890" y="2873667"/>
                    <a:pt x="6432715" y="2889109"/>
                    <a:pt x="6427729" y="2904046"/>
                  </a:cubicBezTo>
                  <a:cubicBezTo>
                    <a:pt x="6421691" y="2922075"/>
                    <a:pt x="6415443" y="2940736"/>
                    <a:pt x="6405534" y="2947152"/>
                  </a:cubicBezTo>
                  <a:cubicBezTo>
                    <a:pt x="6402862" y="2948877"/>
                    <a:pt x="6399959" y="2950245"/>
                    <a:pt x="6396908" y="2951675"/>
                  </a:cubicBezTo>
                  <a:cubicBezTo>
                    <a:pt x="6385590" y="2956977"/>
                    <a:pt x="6370085" y="2964235"/>
                    <a:pt x="6374882" y="2991921"/>
                  </a:cubicBezTo>
                  <a:cubicBezTo>
                    <a:pt x="6375703" y="2996654"/>
                    <a:pt x="6376880" y="3001367"/>
                    <a:pt x="6378038" y="3005932"/>
                  </a:cubicBezTo>
                  <a:cubicBezTo>
                    <a:pt x="6379868" y="3013211"/>
                    <a:pt x="6381614" y="3020091"/>
                    <a:pt x="6381530" y="3025729"/>
                  </a:cubicBezTo>
                  <a:cubicBezTo>
                    <a:pt x="6381446" y="3033428"/>
                    <a:pt x="6377828" y="3039235"/>
                    <a:pt x="6373620" y="3045967"/>
                  </a:cubicBezTo>
                  <a:cubicBezTo>
                    <a:pt x="6372841" y="3047208"/>
                    <a:pt x="6372063" y="3048450"/>
                    <a:pt x="6371348" y="3049670"/>
                  </a:cubicBezTo>
                  <a:cubicBezTo>
                    <a:pt x="6351635" y="3082236"/>
                    <a:pt x="6346229" y="3126542"/>
                    <a:pt x="6354791" y="3185132"/>
                  </a:cubicBezTo>
                  <a:cubicBezTo>
                    <a:pt x="6360408" y="3223400"/>
                    <a:pt x="6373620" y="3263288"/>
                    <a:pt x="6386411" y="3301893"/>
                  </a:cubicBezTo>
                  <a:cubicBezTo>
                    <a:pt x="6391965" y="3318681"/>
                    <a:pt x="6397708" y="3336037"/>
                    <a:pt x="6402631" y="3352699"/>
                  </a:cubicBezTo>
                  <a:cubicBezTo>
                    <a:pt x="6412477" y="3386780"/>
                    <a:pt x="6409111" y="3395153"/>
                    <a:pt x="6408290" y="3396542"/>
                  </a:cubicBezTo>
                  <a:cubicBezTo>
                    <a:pt x="6407427" y="3396626"/>
                    <a:pt x="6404104" y="3396563"/>
                    <a:pt x="6396719" y="3392713"/>
                  </a:cubicBezTo>
                  <a:cubicBezTo>
                    <a:pt x="6363332" y="3375378"/>
                    <a:pt x="6318332" y="3329621"/>
                    <a:pt x="6285492" y="3296212"/>
                  </a:cubicBezTo>
                  <a:lnTo>
                    <a:pt x="6280885" y="3291521"/>
                  </a:lnTo>
                  <a:cubicBezTo>
                    <a:pt x="6228016" y="3238211"/>
                    <a:pt x="6212975" y="3194200"/>
                    <a:pt x="6195555" y="3143225"/>
                  </a:cubicBezTo>
                  <a:cubicBezTo>
                    <a:pt x="6190612" y="3128751"/>
                    <a:pt x="6185478" y="3113772"/>
                    <a:pt x="6179293" y="3098099"/>
                  </a:cubicBezTo>
                  <a:cubicBezTo>
                    <a:pt x="6174791" y="3086865"/>
                    <a:pt x="6169132" y="3075357"/>
                    <a:pt x="6163662" y="3064249"/>
                  </a:cubicBezTo>
                  <a:cubicBezTo>
                    <a:pt x="6154973" y="3046598"/>
                    <a:pt x="6145990" y="3028316"/>
                    <a:pt x="6142182" y="3011991"/>
                  </a:cubicBezTo>
                  <a:cubicBezTo>
                    <a:pt x="6139300" y="2999579"/>
                    <a:pt x="6138122" y="2987776"/>
                    <a:pt x="6136881" y="2975301"/>
                  </a:cubicBezTo>
                  <a:cubicBezTo>
                    <a:pt x="6135639" y="2962762"/>
                    <a:pt x="6134335" y="2949803"/>
                    <a:pt x="6131201" y="2935813"/>
                  </a:cubicBezTo>
                  <a:cubicBezTo>
                    <a:pt x="6126572" y="2915154"/>
                    <a:pt x="6120619" y="2893863"/>
                    <a:pt x="6114875" y="2873267"/>
                  </a:cubicBezTo>
                  <a:cubicBezTo>
                    <a:pt x="6104503" y="2836114"/>
                    <a:pt x="6093753" y="2797678"/>
                    <a:pt x="6090471" y="2761703"/>
                  </a:cubicBezTo>
                  <a:cubicBezTo>
                    <a:pt x="6089840" y="2755371"/>
                    <a:pt x="6089377" y="2748765"/>
                    <a:pt x="6088872" y="2741759"/>
                  </a:cubicBezTo>
                  <a:cubicBezTo>
                    <a:pt x="6085254" y="2691563"/>
                    <a:pt x="6080773" y="2629081"/>
                    <a:pt x="6014903" y="2592832"/>
                  </a:cubicBezTo>
                  <a:cubicBezTo>
                    <a:pt x="5968115" y="2567082"/>
                    <a:pt x="5930962" y="2533821"/>
                    <a:pt x="5904455" y="2493975"/>
                  </a:cubicBezTo>
                  <a:cubicBezTo>
                    <a:pt x="5894293" y="2478702"/>
                    <a:pt x="5881523" y="2462903"/>
                    <a:pt x="5869153" y="2447608"/>
                  </a:cubicBezTo>
                  <a:cubicBezTo>
                    <a:pt x="5841257" y="2413085"/>
                    <a:pt x="5812393" y="2377384"/>
                    <a:pt x="5808416" y="2343155"/>
                  </a:cubicBezTo>
                  <a:cubicBezTo>
                    <a:pt x="5807533" y="2335623"/>
                    <a:pt x="5805997" y="2327019"/>
                    <a:pt x="5804335" y="2317889"/>
                  </a:cubicBezTo>
                  <a:cubicBezTo>
                    <a:pt x="5800969" y="2299228"/>
                    <a:pt x="5797140" y="2278064"/>
                    <a:pt x="5799370" y="2265589"/>
                  </a:cubicBezTo>
                  <a:cubicBezTo>
                    <a:pt x="5800485" y="2259151"/>
                    <a:pt x="5805724" y="2253387"/>
                    <a:pt x="5810752" y="2247811"/>
                  </a:cubicBezTo>
                  <a:cubicBezTo>
                    <a:pt x="5814539" y="2243646"/>
                    <a:pt x="5818578" y="2239544"/>
                    <a:pt x="5822491" y="2235589"/>
                  </a:cubicBezTo>
                  <a:cubicBezTo>
                    <a:pt x="5840268" y="2217622"/>
                    <a:pt x="5858655" y="2199025"/>
                    <a:pt x="5859370" y="2167131"/>
                  </a:cubicBezTo>
                  <a:cubicBezTo>
                    <a:pt x="5859644" y="2155729"/>
                    <a:pt x="5858171" y="2144347"/>
                    <a:pt x="5856740" y="2133323"/>
                  </a:cubicBezTo>
                  <a:cubicBezTo>
                    <a:pt x="5854300" y="2114410"/>
                    <a:pt x="5851986" y="2096549"/>
                    <a:pt x="5858571" y="2080855"/>
                  </a:cubicBezTo>
                  <a:cubicBezTo>
                    <a:pt x="5862631" y="2071178"/>
                    <a:pt x="5868122" y="2061290"/>
                    <a:pt x="5873445" y="2051760"/>
                  </a:cubicBezTo>
                  <a:cubicBezTo>
                    <a:pt x="5886846" y="2027692"/>
                    <a:pt x="5900710" y="2002783"/>
                    <a:pt x="5893241" y="1977580"/>
                  </a:cubicBezTo>
                  <a:cubicBezTo>
                    <a:pt x="5888129" y="1960329"/>
                    <a:pt x="5873760" y="1945645"/>
                    <a:pt x="5849314" y="1932706"/>
                  </a:cubicBezTo>
                  <a:cubicBezTo>
                    <a:pt x="5814854" y="1914509"/>
                    <a:pt x="5774335" y="1904789"/>
                    <a:pt x="5739244" y="1897678"/>
                  </a:cubicBezTo>
                  <a:cubicBezTo>
                    <a:pt x="5736425" y="1897110"/>
                    <a:pt x="5733564" y="1896542"/>
                    <a:pt x="5730703" y="1895974"/>
                  </a:cubicBezTo>
                  <a:cubicBezTo>
                    <a:pt x="5690794" y="1888022"/>
                    <a:pt x="5649538" y="1879796"/>
                    <a:pt x="5628984" y="1851458"/>
                  </a:cubicBezTo>
                  <a:cubicBezTo>
                    <a:pt x="5622989" y="1843317"/>
                    <a:pt x="5620338" y="1827475"/>
                    <a:pt x="5617793" y="1812159"/>
                  </a:cubicBezTo>
                  <a:cubicBezTo>
                    <a:pt x="5613059" y="1783758"/>
                    <a:pt x="5607168" y="1748394"/>
                    <a:pt x="5574476" y="1742040"/>
                  </a:cubicBezTo>
                  <a:cubicBezTo>
                    <a:pt x="5564440" y="1740105"/>
                    <a:pt x="5554742" y="1741304"/>
                    <a:pt x="5545338" y="1742461"/>
                  </a:cubicBezTo>
                  <a:cubicBezTo>
                    <a:pt x="5542877" y="1742756"/>
                    <a:pt x="5540436" y="1743071"/>
                    <a:pt x="5538017" y="1743303"/>
                  </a:cubicBezTo>
                  <a:cubicBezTo>
                    <a:pt x="5526720" y="1744396"/>
                    <a:pt x="5517442" y="1741851"/>
                    <a:pt x="5510436" y="1735771"/>
                  </a:cubicBezTo>
                  <a:cubicBezTo>
                    <a:pt x="5501200" y="1727756"/>
                    <a:pt x="5495457" y="1713134"/>
                    <a:pt x="5494679" y="1695694"/>
                  </a:cubicBezTo>
                  <a:cubicBezTo>
                    <a:pt x="5493080" y="1659740"/>
                    <a:pt x="5478816" y="1630771"/>
                    <a:pt x="5465015" y="1602749"/>
                  </a:cubicBezTo>
                  <a:cubicBezTo>
                    <a:pt x="5463249" y="1599151"/>
                    <a:pt x="5461460" y="1595512"/>
                    <a:pt x="5459693" y="1591893"/>
                  </a:cubicBezTo>
                  <a:cubicBezTo>
                    <a:pt x="5454539" y="1581143"/>
                    <a:pt x="5445682" y="1573842"/>
                    <a:pt x="5437877" y="1567384"/>
                  </a:cubicBezTo>
                  <a:cubicBezTo>
                    <a:pt x="5430135" y="1560988"/>
                    <a:pt x="5423466" y="1555476"/>
                    <a:pt x="5421068" y="1547966"/>
                  </a:cubicBezTo>
                  <a:cubicBezTo>
                    <a:pt x="5400577" y="1484242"/>
                    <a:pt x="5403291" y="1432889"/>
                    <a:pt x="5429420" y="1390918"/>
                  </a:cubicBezTo>
                  <a:cubicBezTo>
                    <a:pt x="5438550" y="1376045"/>
                    <a:pt x="5443473" y="1361444"/>
                    <a:pt x="5448227" y="1347328"/>
                  </a:cubicBezTo>
                  <a:cubicBezTo>
                    <a:pt x="5454812" y="1327784"/>
                    <a:pt x="5461018" y="1309312"/>
                    <a:pt x="5478227" y="1291388"/>
                  </a:cubicBezTo>
                  <a:cubicBezTo>
                    <a:pt x="5479448" y="1290126"/>
                    <a:pt x="5480689" y="1288843"/>
                    <a:pt x="5481972" y="1287559"/>
                  </a:cubicBezTo>
                  <a:cubicBezTo>
                    <a:pt x="5489083" y="1280343"/>
                    <a:pt x="5497140" y="1272160"/>
                    <a:pt x="5500443" y="1262103"/>
                  </a:cubicBezTo>
                  <a:cubicBezTo>
                    <a:pt x="5507386" y="1240687"/>
                    <a:pt x="5489483" y="1225477"/>
                    <a:pt x="5477617" y="1215420"/>
                  </a:cubicBezTo>
                  <a:cubicBezTo>
                    <a:pt x="5474188" y="1212517"/>
                    <a:pt x="5470948" y="1209761"/>
                    <a:pt x="5469139" y="1207637"/>
                  </a:cubicBezTo>
                  <a:cubicBezTo>
                    <a:pt x="5455275" y="1191290"/>
                    <a:pt x="5448964" y="1177363"/>
                    <a:pt x="5448059" y="1161059"/>
                  </a:cubicBezTo>
                  <a:cubicBezTo>
                    <a:pt x="5447575" y="1153001"/>
                    <a:pt x="5447533" y="1144397"/>
                    <a:pt x="5447470" y="1136087"/>
                  </a:cubicBezTo>
                  <a:cubicBezTo>
                    <a:pt x="5447218" y="1101080"/>
                    <a:pt x="5446965" y="1064895"/>
                    <a:pt x="5417491" y="1046465"/>
                  </a:cubicBezTo>
                  <a:cubicBezTo>
                    <a:pt x="5404322" y="1038261"/>
                    <a:pt x="5387870" y="1035736"/>
                    <a:pt x="5371965" y="1033275"/>
                  </a:cubicBezTo>
                  <a:cubicBezTo>
                    <a:pt x="5364034" y="1032054"/>
                    <a:pt x="5356565" y="1030897"/>
                    <a:pt x="5349770" y="1029109"/>
                  </a:cubicBezTo>
                  <a:cubicBezTo>
                    <a:pt x="5345499" y="1027973"/>
                    <a:pt x="5341397" y="1026500"/>
                    <a:pt x="5337063" y="1024944"/>
                  </a:cubicBezTo>
                  <a:cubicBezTo>
                    <a:pt x="5323725" y="1020147"/>
                    <a:pt x="5308578" y="1014698"/>
                    <a:pt x="5286446" y="1019558"/>
                  </a:cubicBezTo>
                  <a:cubicBezTo>
                    <a:pt x="5251145" y="1027258"/>
                    <a:pt x="5197498" y="1049200"/>
                    <a:pt x="5158894" y="1071711"/>
                  </a:cubicBezTo>
                  <a:cubicBezTo>
                    <a:pt x="5123403" y="1092328"/>
                    <a:pt x="5090563" y="1116437"/>
                    <a:pt x="5058816" y="1139726"/>
                  </a:cubicBezTo>
                  <a:cubicBezTo>
                    <a:pt x="5027765" y="1162510"/>
                    <a:pt x="4998438" y="1184032"/>
                    <a:pt x="4966923" y="1202524"/>
                  </a:cubicBezTo>
                  <a:cubicBezTo>
                    <a:pt x="4965051" y="1203618"/>
                    <a:pt x="4963557" y="1205280"/>
                    <a:pt x="4962673" y="1207258"/>
                  </a:cubicBezTo>
                  <a:cubicBezTo>
                    <a:pt x="4841538" y="1474270"/>
                    <a:pt x="4780128" y="1759544"/>
                    <a:pt x="4780128" y="2055168"/>
                  </a:cubicBezTo>
                  <a:cubicBezTo>
                    <a:pt x="4780128" y="2445588"/>
                    <a:pt x="4895899" y="2829656"/>
                    <a:pt x="5114925" y="3165841"/>
                  </a:cubicBezTo>
                  <a:cubicBezTo>
                    <a:pt x="5205451" y="3304796"/>
                    <a:pt x="5312070" y="3433064"/>
                    <a:pt x="5432533" y="3548078"/>
                  </a:cubicBezTo>
                  <a:cubicBezTo>
                    <a:pt x="5114167" y="3529838"/>
                    <a:pt x="4783641" y="3584599"/>
                    <a:pt x="4560787" y="3627853"/>
                  </a:cubicBezTo>
                  <a:cubicBezTo>
                    <a:pt x="4420570" y="3655076"/>
                    <a:pt x="4294343" y="3689915"/>
                    <a:pt x="4176278" y="3734010"/>
                  </a:cubicBezTo>
                  <a:cubicBezTo>
                    <a:pt x="4127176" y="3744634"/>
                    <a:pt x="4080703" y="3756752"/>
                    <a:pt x="4038038" y="3769270"/>
                  </a:cubicBezTo>
                  <a:cubicBezTo>
                    <a:pt x="3791664" y="3841472"/>
                    <a:pt x="3565444" y="3957643"/>
                    <a:pt x="3316377" y="4090918"/>
                  </a:cubicBezTo>
                  <a:cubicBezTo>
                    <a:pt x="3283116" y="4108716"/>
                    <a:pt x="3219077" y="4153463"/>
                    <a:pt x="3214785" y="4195371"/>
                  </a:cubicBezTo>
                  <a:cubicBezTo>
                    <a:pt x="3213333" y="4209508"/>
                    <a:pt x="3218761" y="4222131"/>
                    <a:pt x="3230458" y="4231871"/>
                  </a:cubicBezTo>
                  <a:cubicBezTo>
                    <a:pt x="3254693" y="4252047"/>
                    <a:pt x="3307057" y="4240939"/>
                    <a:pt x="3395269" y="4196886"/>
                  </a:cubicBezTo>
                  <a:cubicBezTo>
                    <a:pt x="3464147" y="4162488"/>
                    <a:pt x="3533677" y="4118120"/>
                    <a:pt x="3556524" y="4103540"/>
                  </a:cubicBezTo>
                  <a:cubicBezTo>
                    <a:pt x="3570346" y="4094725"/>
                    <a:pt x="3584546" y="4085616"/>
                    <a:pt x="3599104" y="4076296"/>
                  </a:cubicBezTo>
                  <a:cubicBezTo>
                    <a:pt x="3766229" y="3969319"/>
                    <a:pt x="3974209" y="3836170"/>
                    <a:pt x="4146783" y="3767860"/>
                  </a:cubicBezTo>
                  <a:cubicBezTo>
                    <a:pt x="4158775" y="3763106"/>
                    <a:pt x="4170829" y="3758477"/>
                    <a:pt x="4182989" y="3753933"/>
                  </a:cubicBezTo>
                  <a:cubicBezTo>
                    <a:pt x="4491467" y="3687306"/>
                    <a:pt x="4699258" y="3726500"/>
                    <a:pt x="4824055" y="3775623"/>
                  </a:cubicBezTo>
                  <a:cubicBezTo>
                    <a:pt x="4942098" y="3822075"/>
                    <a:pt x="5047751" y="3897180"/>
                    <a:pt x="5149910" y="3969824"/>
                  </a:cubicBezTo>
                  <a:cubicBezTo>
                    <a:pt x="5247989" y="4039543"/>
                    <a:pt x="5349413" y="4111640"/>
                    <a:pt x="5462512" y="4159249"/>
                  </a:cubicBezTo>
                  <a:lnTo>
                    <a:pt x="5482498" y="4167664"/>
                  </a:lnTo>
                  <a:cubicBezTo>
                    <a:pt x="5769265" y="4288463"/>
                    <a:pt x="6017638" y="4393084"/>
                    <a:pt x="6372673" y="4393084"/>
                  </a:cubicBezTo>
                  <a:cubicBezTo>
                    <a:pt x="6379636" y="4393084"/>
                    <a:pt x="6386684" y="4393042"/>
                    <a:pt x="6393732" y="4392959"/>
                  </a:cubicBezTo>
                  <a:cubicBezTo>
                    <a:pt x="6571460" y="4390917"/>
                    <a:pt x="6702841" y="4370764"/>
                    <a:pt x="6829889" y="4351282"/>
                  </a:cubicBezTo>
                  <a:cubicBezTo>
                    <a:pt x="6971852" y="4329529"/>
                    <a:pt x="7105948" y="4308975"/>
                    <a:pt x="7279763" y="4321556"/>
                  </a:cubicBezTo>
                  <a:cubicBezTo>
                    <a:pt x="7344180" y="4326226"/>
                    <a:pt x="7405401" y="4343940"/>
                    <a:pt x="7456775" y="4372783"/>
                  </a:cubicBezTo>
                  <a:cubicBezTo>
                    <a:pt x="7506382" y="4400637"/>
                    <a:pt x="7544840" y="4437601"/>
                    <a:pt x="7568023" y="4479677"/>
                  </a:cubicBezTo>
                  <a:cubicBezTo>
                    <a:pt x="7601032" y="4539634"/>
                    <a:pt x="7600842" y="4604263"/>
                    <a:pt x="7567476" y="4666534"/>
                  </a:cubicBezTo>
                  <a:cubicBezTo>
                    <a:pt x="7538465" y="4720686"/>
                    <a:pt x="7443626" y="4792089"/>
                    <a:pt x="7325877" y="4848470"/>
                  </a:cubicBezTo>
                  <a:cubicBezTo>
                    <a:pt x="7256516" y="4881668"/>
                    <a:pt x="7189994" y="4904536"/>
                    <a:pt x="7132708" y="4915623"/>
                  </a:cubicBezTo>
                  <a:cubicBezTo>
                    <a:pt x="7171923" y="4900350"/>
                    <a:pt x="7250099" y="4868772"/>
                    <a:pt x="7327287" y="4830819"/>
                  </a:cubicBezTo>
                  <a:cubicBezTo>
                    <a:pt x="7478696" y="4756388"/>
                    <a:pt x="7551298" y="4696135"/>
                    <a:pt x="7549257" y="4646591"/>
                  </a:cubicBezTo>
                  <a:cubicBezTo>
                    <a:pt x="7547953" y="4614845"/>
                    <a:pt x="7518101" y="4591345"/>
                    <a:pt x="7458016" y="4574704"/>
                  </a:cubicBezTo>
                  <a:cubicBezTo>
                    <a:pt x="7340562" y="4542201"/>
                    <a:pt x="7120906" y="4621871"/>
                    <a:pt x="7003009" y="4714817"/>
                  </a:cubicBezTo>
                  <a:cubicBezTo>
                    <a:pt x="6949741" y="4756808"/>
                    <a:pt x="6922245" y="4797706"/>
                    <a:pt x="6923465" y="4833134"/>
                  </a:cubicBezTo>
                  <a:cubicBezTo>
                    <a:pt x="6925043" y="4879101"/>
                    <a:pt x="6945282" y="4911920"/>
                    <a:pt x="6982413" y="4929487"/>
                  </a:cubicBezTo>
                  <a:cubicBezTo>
                    <a:pt x="6889237" y="4947411"/>
                    <a:pt x="6782785" y="4965777"/>
                    <a:pt x="6670569" y="4983428"/>
                  </a:cubicBezTo>
                  <a:cubicBezTo>
                    <a:pt x="6618248" y="4980672"/>
                    <a:pt x="6562982" y="4978358"/>
                    <a:pt x="6506032" y="4976591"/>
                  </a:cubicBezTo>
                  <a:cubicBezTo>
                    <a:pt x="6160128" y="4965798"/>
                    <a:pt x="5820913" y="4975602"/>
                    <a:pt x="5641881" y="5001605"/>
                  </a:cubicBezTo>
                  <a:cubicBezTo>
                    <a:pt x="5505008" y="5021465"/>
                    <a:pt x="5482919" y="5046605"/>
                    <a:pt x="5478206" y="5063772"/>
                  </a:cubicBezTo>
                  <a:cubicBezTo>
                    <a:pt x="5475913" y="5072124"/>
                    <a:pt x="5478059" y="5080308"/>
                    <a:pt x="5484223" y="5086808"/>
                  </a:cubicBezTo>
                  <a:cubicBezTo>
                    <a:pt x="5496888" y="5100167"/>
                    <a:pt x="5534062" y="5117271"/>
                    <a:pt x="5710001" y="5111548"/>
                  </a:cubicBezTo>
                  <a:cubicBezTo>
                    <a:pt x="5821544" y="5107930"/>
                    <a:pt x="5974616" y="5095307"/>
                    <a:pt x="6152680" y="5075069"/>
                  </a:cubicBezTo>
                  <a:cubicBezTo>
                    <a:pt x="6321572" y="5055861"/>
                    <a:pt x="6503024" y="5031036"/>
                    <a:pt x="6671663" y="5004550"/>
                  </a:cubicBezTo>
                  <a:cubicBezTo>
                    <a:pt x="6763767" y="5009431"/>
                    <a:pt x="6846593" y="5015721"/>
                    <a:pt x="6913115" y="5022958"/>
                  </a:cubicBezTo>
                  <a:cubicBezTo>
                    <a:pt x="7057792" y="5038716"/>
                    <a:pt x="7085983" y="5054536"/>
                    <a:pt x="7091326" y="5059270"/>
                  </a:cubicBezTo>
                  <a:cubicBezTo>
                    <a:pt x="7091137" y="5059522"/>
                    <a:pt x="7090948" y="5059775"/>
                    <a:pt x="7090758" y="5060048"/>
                  </a:cubicBezTo>
                  <a:cubicBezTo>
                    <a:pt x="6906298" y="5148449"/>
                    <a:pt x="6796902" y="5207144"/>
                    <a:pt x="6787456" y="5260244"/>
                  </a:cubicBezTo>
                  <a:cubicBezTo>
                    <a:pt x="6784847" y="5274866"/>
                    <a:pt x="6789602" y="5288477"/>
                    <a:pt x="6801572" y="5300658"/>
                  </a:cubicBezTo>
                  <a:cubicBezTo>
                    <a:pt x="6805275" y="5304444"/>
                    <a:pt x="6812112" y="5308715"/>
                    <a:pt x="6823662" y="5307726"/>
                  </a:cubicBezTo>
                  <a:cubicBezTo>
                    <a:pt x="6852799" y="5305202"/>
                    <a:pt x="6907140" y="5267818"/>
                    <a:pt x="6985169" y="5196584"/>
                  </a:cubicBezTo>
                  <a:cubicBezTo>
                    <a:pt x="7038647" y="5147755"/>
                    <a:pt x="7086299" y="5098294"/>
                    <a:pt x="7104012" y="5077025"/>
                  </a:cubicBezTo>
                  <a:cubicBezTo>
                    <a:pt x="7133465" y="5062909"/>
                    <a:pt x="7164307" y="5048288"/>
                    <a:pt x="7196158" y="5033182"/>
                  </a:cubicBezTo>
                  <a:cubicBezTo>
                    <a:pt x="7381376" y="4945370"/>
                    <a:pt x="7611908" y="4836100"/>
                    <a:pt x="7853150" y="4694662"/>
                  </a:cubicBezTo>
                  <a:cubicBezTo>
                    <a:pt x="8084924" y="4558779"/>
                    <a:pt x="8307357" y="4417467"/>
                    <a:pt x="8503598" y="4292776"/>
                  </a:cubicBezTo>
                  <a:cubicBezTo>
                    <a:pt x="8775617" y="4119950"/>
                    <a:pt x="8990498" y="3983456"/>
                    <a:pt x="9102546" y="3942096"/>
                  </a:cubicBezTo>
                  <a:cubicBezTo>
                    <a:pt x="9184067" y="3912012"/>
                    <a:pt x="9264979" y="3900504"/>
                    <a:pt x="9336529" y="3908814"/>
                  </a:cubicBezTo>
                  <a:cubicBezTo>
                    <a:pt x="9401304" y="3916324"/>
                    <a:pt x="9456319" y="3940286"/>
                    <a:pt x="9491389" y="3976282"/>
                  </a:cubicBezTo>
                  <a:cubicBezTo>
                    <a:pt x="9535379" y="4021387"/>
                    <a:pt x="9545603" y="4081409"/>
                    <a:pt x="9520210" y="4145258"/>
                  </a:cubicBezTo>
                  <a:cubicBezTo>
                    <a:pt x="9487707" y="4226948"/>
                    <a:pt x="9417735" y="4320756"/>
                    <a:pt x="9341936" y="4384228"/>
                  </a:cubicBezTo>
                  <a:cubicBezTo>
                    <a:pt x="9294453" y="4423989"/>
                    <a:pt x="9252567" y="4446416"/>
                    <a:pt x="9216823" y="4458092"/>
                  </a:cubicBezTo>
                  <a:cubicBezTo>
                    <a:pt x="9278591" y="4415826"/>
                    <a:pt x="9342104" y="4360518"/>
                    <a:pt x="9406143" y="4293239"/>
                  </a:cubicBezTo>
                  <a:cubicBezTo>
                    <a:pt x="9435554" y="4262334"/>
                    <a:pt x="9529467" y="4156177"/>
                    <a:pt x="9503337" y="4087530"/>
                  </a:cubicBezTo>
                  <a:cubicBezTo>
                    <a:pt x="9491493" y="4056394"/>
                    <a:pt x="9457749" y="4038323"/>
                    <a:pt x="9403050" y="4033800"/>
                  </a:cubicBezTo>
                  <a:cubicBezTo>
                    <a:pt x="9350371" y="4029445"/>
                    <a:pt x="9291634" y="4045244"/>
                    <a:pt x="9237567" y="4078253"/>
                  </a:cubicBezTo>
                  <a:cubicBezTo>
                    <a:pt x="9216255" y="4091275"/>
                    <a:pt x="9154173" y="4136380"/>
                    <a:pt x="9098380" y="4192762"/>
                  </a:cubicBezTo>
                  <a:cubicBezTo>
                    <a:pt x="9026094" y="4265785"/>
                    <a:pt x="8991886" y="4328898"/>
                    <a:pt x="8996662" y="4380356"/>
                  </a:cubicBezTo>
                  <a:cubicBezTo>
                    <a:pt x="9000701" y="4423821"/>
                    <a:pt x="9032279" y="4457061"/>
                    <a:pt x="9090533" y="4479172"/>
                  </a:cubicBezTo>
                  <a:cubicBezTo>
                    <a:pt x="9102903" y="4483863"/>
                    <a:pt x="9115757" y="4487040"/>
                    <a:pt x="9129011" y="4488743"/>
                  </a:cubicBezTo>
                  <a:cubicBezTo>
                    <a:pt x="9071978" y="4524992"/>
                    <a:pt x="8963232" y="4597067"/>
                    <a:pt x="8828696" y="4686226"/>
                  </a:cubicBezTo>
                  <a:cubicBezTo>
                    <a:pt x="8434215" y="4947664"/>
                    <a:pt x="7773984" y="5385230"/>
                    <a:pt x="7471670" y="5545223"/>
                  </a:cubicBezTo>
                  <a:cubicBezTo>
                    <a:pt x="7343402" y="5613112"/>
                    <a:pt x="6761579" y="5878947"/>
                    <a:pt x="6416116" y="6014915"/>
                  </a:cubicBezTo>
                  <a:cubicBezTo>
                    <a:pt x="6211397" y="6095489"/>
                    <a:pt x="6032828" y="6101401"/>
                    <a:pt x="5837133" y="6034122"/>
                  </a:cubicBezTo>
                  <a:cubicBezTo>
                    <a:pt x="5392056" y="5881114"/>
                    <a:pt x="4960360" y="5677299"/>
                    <a:pt x="4542884" y="5480174"/>
                  </a:cubicBezTo>
                  <a:cubicBezTo>
                    <a:pt x="4187197" y="5312229"/>
                    <a:pt x="3819392" y="5138582"/>
                    <a:pt x="3444687" y="4996976"/>
                  </a:cubicBezTo>
                  <a:cubicBezTo>
                    <a:pt x="3000977" y="4829284"/>
                    <a:pt x="2373838" y="4679031"/>
                    <a:pt x="1767106" y="4595069"/>
                  </a:cubicBezTo>
                  <a:cubicBezTo>
                    <a:pt x="1434898" y="4549102"/>
                    <a:pt x="1120234" y="4523856"/>
                    <a:pt x="831889" y="4520069"/>
                  </a:cubicBezTo>
                  <a:cubicBezTo>
                    <a:pt x="515143" y="4515904"/>
                    <a:pt x="238075" y="4537972"/>
                    <a:pt x="8383" y="4585644"/>
                  </a:cubicBezTo>
                  <a:cubicBezTo>
                    <a:pt x="2703" y="4586822"/>
                    <a:pt x="-958" y="4592397"/>
                    <a:pt x="221" y="4598078"/>
                  </a:cubicBezTo>
                  <a:cubicBezTo>
                    <a:pt x="1399" y="4603758"/>
                    <a:pt x="6974" y="4607418"/>
                    <a:pt x="12654" y="4606240"/>
                  </a:cubicBezTo>
                  <a:cubicBezTo>
                    <a:pt x="240831" y="4558863"/>
                    <a:pt x="516363" y="4536963"/>
                    <a:pt x="831595" y="4541086"/>
                  </a:cubicBezTo>
                  <a:cubicBezTo>
                    <a:pt x="1119077" y="4544852"/>
                    <a:pt x="1432857" y="4570034"/>
                    <a:pt x="1764203" y="4615876"/>
                  </a:cubicBezTo>
                  <a:cubicBezTo>
                    <a:pt x="2369463" y="4699648"/>
                    <a:pt x="2994897" y="4849459"/>
                    <a:pt x="3437239" y="5016626"/>
                  </a:cubicBezTo>
                  <a:cubicBezTo>
                    <a:pt x="3811145" y="5157937"/>
                    <a:pt x="4178571" y="5331415"/>
                    <a:pt x="4533880" y="5499171"/>
                  </a:cubicBezTo>
                  <a:cubicBezTo>
                    <a:pt x="4951881" y="5696527"/>
                    <a:pt x="5384083" y="5900595"/>
                    <a:pt x="5830275" y="6053981"/>
                  </a:cubicBezTo>
                  <a:cubicBezTo>
                    <a:pt x="5922210" y="6085580"/>
                    <a:pt x="6010401" y="6101464"/>
                    <a:pt x="6099160" y="6101464"/>
                  </a:cubicBezTo>
                  <a:cubicBezTo>
                    <a:pt x="6204244" y="6101464"/>
                    <a:pt x="6310106" y="6079206"/>
                    <a:pt x="6423795" y="6034458"/>
                  </a:cubicBezTo>
                  <a:cubicBezTo>
                    <a:pt x="6769826" y="5898280"/>
                    <a:pt x="7352869" y="5631857"/>
                    <a:pt x="7481473" y="5563799"/>
                  </a:cubicBezTo>
                  <a:cubicBezTo>
                    <a:pt x="7784692" y="5403322"/>
                    <a:pt x="8445470" y="4965398"/>
                    <a:pt x="8840267" y="4703730"/>
                  </a:cubicBezTo>
                  <a:cubicBezTo>
                    <a:pt x="8987574" y="4606114"/>
                    <a:pt x="9103913" y="4529010"/>
                    <a:pt x="9155036" y="4497138"/>
                  </a:cubicBezTo>
                  <a:cubicBezTo>
                    <a:pt x="9158780" y="4494782"/>
                    <a:pt x="9162798" y="4492299"/>
                    <a:pt x="9167237" y="4489564"/>
                  </a:cubicBezTo>
                  <a:cubicBezTo>
                    <a:pt x="9225806" y="4485062"/>
                    <a:pt x="9290351" y="4454746"/>
                    <a:pt x="9355357" y="4400322"/>
                  </a:cubicBezTo>
                  <a:cubicBezTo>
                    <a:pt x="9434839" y="4333758"/>
                    <a:pt x="9505463" y="4238982"/>
                    <a:pt x="9539691" y="4153000"/>
                  </a:cubicBezTo>
                  <a:cubicBezTo>
                    <a:pt x="9554165" y="4116626"/>
                    <a:pt x="9558310" y="4081198"/>
                    <a:pt x="9552041" y="4047664"/>
                  </a:cubicBezTo>
                  <a:cubicBezTo>
                    <a:pt x="9546003" y="4015392"/>
                    <a:pt x="9530646" y="3986423"/>
                    <a:pt x="9506388" y="3961556"/>
                  </a:cubicBezTo>
                  <a:cubicBezTo>
                    <a:pt x="9467932" y="3922131"/>
                    <a:pt x="9408458" y="3895960"/>
                    <a:pt x="9338885" y="3887881"/>
                  </a:cubicBezTo>
                  <a:cubicBezTo>
                    <a:pt x="9264074" y="3879193"/>
                    <a:pt x="9179818" y="3891100"/>
                    <a:pt x="9095203" y="3922320"/>
                  </a:cubicBezTo>
                  <a:cubicBezTo>
                    <a:pt x="8981031" y="3964438"/>
                    <a:pt x="8765351" y="4101478"/>
                    <a:pt x="8492258" y="4274978"/>
                  </a:cubicBezTo>
                  <a:cubicBezTo>
                    <a:pt x="8296165" y="4399564"/>
                    <a:pt x="8073900" y="4540770"/>
                    <a:pt x="7842441" y="4676464"/>
                  </a:cubicBezTo>
                  <a:cubicBezTo>
                    <a:pt x="7601999" y="4817418"/>
                    <a:pt x="7371950" y="4926478"/>
                    <a:pt x="7187091" y="5014122"/>
                  </a:cubicBezTo>
                  <a:cubicBezTo>
                    <a:pt x="7160499" y="5026724"/>
                    <a:pt x="7135085" y="5038779"/>
                    <a:pt x="7110850" y="5050329"/>
                  </a:cubicBezTo>
                  <a:cubicBezTo>
                    <a:pt x="7110660" y="5049992"/>
                    <a:pt x="7110471" y="5049655"/>
                    <a:pt x="7110260" y="5049340"/>
                  </a:cubicBezTo>
                  <a:cubicBezTo>
                    <a:pt x="7105674" y="5041956"/>
                    <a:pt x="7094167" y="5032131"/>
                    <a:pt x="7045401" y="5021423"/>
                  </a:cubicBezTo>
                  <a:cubicBezTo>
                    <a:pt x="7013234" y="5014354"/>
                    <a:pt x="6968718" y="5007748"/>
                    <a:pt x="6913094" y="5001731"/>
                  </a:cubicBezTo>
                  <a:cubicBezTo>
                    <a:pt x="6870260" y="4997103"/>
                    <a:pt x="6820821" y="4992874"/>
                    <a:pt x="6766628" y="4989150"/>
                  </a:cubicBezTo>
                  <a:cubicBezTo>
                    <a:pt x="6861046" y="4973519"/>
                    <a:pt x="6949552" y="4957551"/>
                    <a:pt x="7027161" y="4942088"/>
                  </a:cubicBezTo>
                  <a:cubicBezTo>
                    <a:pt x="7101572" y="4952166"/>
                    <a:pt x="7214671" y="4924943"/>
                    <a:pt x="7334945" y="4867383"/>
                  </a:cubicBezTo>
                  <a:cubicBezTo>
                    <a:pt x="7456460" y="4809213"/>
                    <a:pt x="7555001" y="4734256"/>
                    <a:pt x="7585989" y="4676423"/>
                  </a:cubicBezTo>
                  <a:cubicBezTo>
                    <a:pt x="7622364" y="4608533"/>
                    <a:pt x="7622532" y="4535027"/>
                    <a:pt x="7586432" y="4469473"/>
                  </a:cubicBezTo>
                  <a:cubicBezTo>
                    <a:pt x="7534489" y="4375139"/>
                    <a:pt x="7417561" y="4310385"/>
                    <a:pt x="7281256" y="4300518"/>
                  </a:cubicBezTo>
                  <a:cubicBezTo>
                    <a:pt x="7105085" y="4287748"/>
                    <a:pt x="6969833" y="4308470"/>
                    <a:pt x="6826670" y="4330434"/>
                  </a:cubicBezTo>
                  <a:cubicBezTo>
                    <a:pt x="6700338" y="4349810"/>
                    <a:pt x="6569714" y="4369837"/>
                    <a:pt x="6393459" y="4371858"/>
                  </a:cubicBezTo>
                  <a:cubicBezTo>
                    <a:pt x="6227659" y="4373772"/>
                    <a:pt x="6076271" y="4353554"/>
                    <a:pt x="5917098" y="4308218"/>
                  </a:cubicBezTo>
                  <a:cubicBezTo>
                    <a:pt x="5773368" y="4267299"/>
                    <a:pt x="5636032" y="4209445"/>
                    <a:pt x="5490639" y="4148204"/>
                  </a:cubicBezTo>
                  <a:lnTo>
                    <a:pt x="5470653" y="4139789"/>
                  </a:lnTo>
                  <a:cubicBezTo>
                    <a:pt x="5359700" y="4093084"/>
                    <a:pt x="5259244" y="4021661"/>
                    <a:pt x="5162091" y="3952615"/>
                  </a:cubicBezTo>
                  <a:cubicBezTo>
                    <a:pt x="5058879" y="3879256"/>
                    <a:pt x="4952175" y="3803393"/>
                    <a:pt x="4831734" y="3755995"/>
                  </a:cubicBezTo>
                  <a:cubicBezTo>
                    <a:pt x="4666334" y="3690904"/>
                    <a:pt x="4481664" y="3687643"/>
                    <a:pt x="4313571" y="3709880"/>
                  </a:cubicBezTo>
                  <a:cubicBezTo>
                    <a:pt x="4392611" y="3686023"/>
                    <a:pt x="4475836" y="3665700"/>
                    <a:pt x="4564763" y="3648428"/>
                  </a:cubicBezTo>
                  <a:cubicBezTo>
                    <a:pt x="4791573" y="3604396"/>
                    <a:pt x="5130429" y="3548393"/>
                    <a:pt x="5453024" y="3570357"/>
                  </a:cubicBezTo>
                  <a:cubicBezTo>
                    <a:pt x="5454202" y="3570441"/>
                    <a:pt x="5455380" y="3570525"/>
                    <a:pt x="5456558" y="3570609"/>
                  </a:cubicBezTo>
                  <a:cubicBezTo>
                    <a:pt x="5469602" y="3582706"/>
                    <a:pt x="5482834" y="3594634"/>
                    <a:pt x="5496194" y="3606416"/>
                  </a:cubicBezTo>
                  <a:cubicBezTo>
                    <a:pt x="5644595" y="3737229"/>
                    <a:pt x="5809784" y="3846857"/>
                    <a:pt x="5987133" y="3932250"/>
                  </a:cubicBezTo>
                  <a:cubicBezTo>
                    <a:pt x="6040233" y="3957811"/>
                    <a:pt x="6094889" y="3981752"/>
                    <a:pt x="6149588" y="4003379"/>
                  </a:cubicBezTo>
                  <a:cubicBezTo>
                    <a:pt x="6181817" y="4016128"/>
                    <a:pt x="6227912" y="4023870"/>
                    <a:pt x="6251810" y="4003716"/>
                  </a:cubicBezTo>
                  <a:cubicBezTo>
                    <a:pt x="6261172" y="3995826"/>
                    <a:pt x="6271018" y="3980216"/>
                    <a:pt x="6264812" y="3950700"/>
                  </a:cubicBezTo>
                  <a:cubicBezTo>
                    <a:pt x="6261172" y="3933386"/>
                    <a:pt x="6250927" y="3918554"/>
                    <a:pt x="6241628" y="3906016"/>
                  </a:cubicBezTo>
                  <a:cubicBezTo>
                    <a:pt x="6157540" y="3792685"/>
                    <a:pt x="6041810" y="3704852"/>
                    <a:pt x="5897659" y="3644936"/>
                  </a:cubicBezTo>
                  <a:cubicBezTo>
                    <a:pt x="5775577" y="3594193"/>
                    <a:pt x="5630205" y="3562320"/>
                    <a:pt x="5465457" y="3550181"/>
                  </a:cubicBezTo>
                  <a:cubicBezTo>
                    <a:pt x="5338599" y="3431886"/>
                    <a:pt x="5226762" y="3298947"/>
                    <a:pt x="5132533" y="3154312"/>
                  </a:cubicBezTo>
                  <a:cubicBezTo>
                    <a:pt x="4915738" y="2821556"/>
                    <a:pt x="4801166" y="2441465"/>
                    <a:pt x="4801166" y="2055126"/>
                  </a:cubicBezTo>
                  <a:cubicBezTo>
                    <a:pt x="4801166" y="1763625"/>
                    <a:pt x="4861482" y="1482328"/>
                    <a:pt x="4980450" y="1218934"/>
                  </a:cubicBezTo>
                  <a:cubicBezTo>
                    <a:pt x="5011860" y="1200252"/>
                    <a:pt x="5042049" y="1178099"/>
                    <a:pt x="5071271" y="1156662"/>
                  </a:cubicBezTo>
                  <a:cubicBezTo>
                    <a:pt x="5102575" y="1133688"/>
                    <a:pt x="5134953" y="1109916"/>
                    <a:pt x="5169497" y="1089866"/>
                  </a:cubicBezTo>
                  <a:cubicBezTo>
                    <a:pt x="5206439" y="1068303"/>
                    <a:pt x="5257519" y="1047370"/>
                    <a:pt x="5290948" y="1040091"/>
                  </a:cubicBezTo>
                  <a:cubicBezTo>
                    <a:pt x="5307168" y="1036536"/>
                    <a:pt x="5317729" y="1040322"/>
                    <a:pt x="5329953" y="1044719"/>
                  </a:cubicBezTo>
                  <a:cubicBezTo>
                    <a:pt x="5334518" y="1046360"/>
                    <a:pt x="5339251" y="1048064"/>
                    <a:pt x="5344405" y="1049432"/>
                  </a:cubicBezTo>
                  <a:cubicBezTo>
                    <a:pt x="5352253" y="1051493"/>
                    <a:pt x="5360647" y="1052798"/>
                    <a:pt x="5368746" y="1054039"/>
                  </a:cubicBezTo>
                  <a:cubicBezTo>
                    <a:pt x="5382547" y="1056164"/>
                    <a:pt x="5396832" y="1058373"/>
                    <a:pt x="5406341" y="1064284"/>
                  </a:cubicBezTo>
                  <a:cubicBezTo>
                    <a:pt x="5426011" y="1076571"/>
                    <a:pt x="5426222" y="1105540"/>
                    <a:pt x="5426432" y="1136213"/>
                  </a:cubicBezTo>
                  <a:cubicBezTo>
                    <a:pt x="5426495" y="1144796"/>
                    <a:pt x="5426558" y="1153653"/>
                    <a:pt x="5427063" y="1162237"/>
                  </a:cubicBezTo>
                  <a:cubicBezTo>
                    <a:pt x="5428557" y="1189081"/>
                    <a:pt x="5441769" y="1207847"/>
                    <a:pt x="5453108" y="1221227"/>
                  </a:cubicBezTo>
                  <a:cubicBezTo>
                    <a:pt x="5456032" y="1224677"/>
                    <a:pt x="5459903" y="1227959"/>
                    <a:pt x="5464006" y="1231430"/>
                  </a:cubicBezTo>
                  <a:cubicBezTo>
                    <a:pt x="5475135" y="1240876"/>
                    <a:pt x="5482834" y="1248155"/>
                    <a:pt x="5480436" y="1255540"/>
                  </a:cubicBezTo>
                  <a:cubicBezTo>
                    <a:pt x="5478690" y="1260883"/>
                    <a:pt x="5472736" y="1266921"/>
                    <a:pt x="5466972" y="1272770"/>
                  </a:cubicBezTo>
                  <a:cubicBezTo>
                    <a:pt x="5465626" y="1274116"/>
                    <a:pt x="5464301" y="1275484"/>
                    <a:pt x="5463038" y="1276809"/>
                  </a:cubicBezTo>
                  <a:cubicBezTo>
                    <a:pt x="5442568" y="1298120"/>
                    <a:pt x="5435310" y="1319726"/>
                    <a:pt x="5428283" y="1340596"/>
                  </a:cubicBezTo>
                  <a:cubicBezTo>
                    <a:pt x="5423697" y="1354207"/>
                    <a:pt x="5419384" y="1367040"/>
                    <a:pt x="5411537" y="1379831"/>
                  </a:cubicBezTo>
                  <a:cubicBezTo>
                    <a:pt x="5381979" y="1427314"/>
                    <a:pt x="5378550" y="1484411"/>
                    <a:pt x="5401040" y="1554362"/>
                  </a:cubicBezTo>
                  <a:cubicBezTo>
                    <a:pt x="5405310" y="1567742"/>
                    <a:pt x="5415492" y="1576157"/>
                    <a:pt x="5424497" y="1583583"/>
                  </a:cubicBezTo>
                  <a:cubicBezTo>
                    <a:pt x="5431229" y="1589158"/>
                    <a:pt x="5437603" y="1594397"/>
                    <a:pt x="5440759" y="1601002"/>
                  </a:cubicBezTo>
                  <a:cubicBezTo>
                    <a:pt x="5442547" y="1604705"/>
                    <a:pt x="5444356" y="1608366"/>
                    <a:pt x="5446166" y="1612026"/>
                  </a:cubicBezTo>
                  <a:cubicBezTo>
                    <a:pt x="5459588" y="1639291"/>
                    <a:pt x="5472273" y="1665063"/>
                    <a:pt x="5473683" y="1696620"/>
                  </a:cubicBezTo>
                  <a:cubicBezTo>
                    <a:pt x="5474735" y="1720140"/>
                    <a:pt x="5482898" y="1739663"/>
                    <a:pt x="5496657" y="1751633"/>
                  </a:cubicBezTo>
                  <a:cubicBezTo>
                    <a:pt x="5508017" y="1761500"/>
                    <a:pt x="5523038" y="1765876"/>
                    <a:pt x="5540057" y="1764235"/>
                  </a:cubicBezTo>
                  <a:cubicBezTo>
                    <a:pt x="5542667" y="1763983"/>
                    <a:pt x="5545296" y="1763667"/>
                    <a:pt x="5547926" y="1763331"/>
                  </a:cubicBezTo>
                  <a:cubicBezTo>
                    <a:pt x="5556067" y="1762321"/>
                    <a:pt x="5563746" y="1761374"/>
                    <a:pt x="5570500" y="1762678"/>
                  </a:cubicBezTo>
                  <a:cubicBezTo>
                    <a:pt x="5587561" y="1766002"/>
                    <a:pt x="5592084" y="1785778"/>
                    <a:pt x="5597049" y="1815610"/>
                  </a:cubicBezTo>
                  <a:cubicBezTo>
                    <a:pt x="5600142" y="1834186"/>
                    <a:pt x="5603066" y="1851753"/>
                    <a:pt x="5612007" y="1863871"/>
                  </a:cubicBezTo>
                  <a:cubicBezTo>
                    <a:pt x="5637337" y="1898814"/>
                    <a:pt x="5684756" y="1908260"/>
                    <a:pt x="5726579" y="1916612"/>
                  </a:cubicBezTo>
                  <a:cubicBezTo>
                    <a:pt x="5729419" y="1917180"/>
                    <a:pt x="5732259" y="1917748"/>
                    <a:pt x="5735058" y="1918317"/>
                  </a:cubicBezTo>
                  <a:cubicBezTo>
                    <a:pt x="5768676" y="1925133"/>
                    <a:pt x="5807365" y="1934389"/>
                    <a:pt x="5839468" y="1951325"/>
                  </a:cubicBezTo>
                  <a:cubicBezTo>
                    <a:pt x="5858655" y="1961465"/>
                    <a:pt x="5869637" y="1972026"/>
                    <a:pt x="5873045" y="1983576"/>
                  </a:cubicBezTo>
                  <a:cubicBezTo>
                    <a:pt x="5878010" y="2000301"/>
                    <a:pt x="5866839" y="2020329"/>
                    <a:pt x="5855037" y="2041535"/>
                  </a:cubicBezTo>
                  <a:cubicBezTo>
                    <a:pt x="5849440" y="2051570"/>
                    <a:pt x="5843655" y="2061963"/>
                    <a:pt x="5839153" y="2072734"/>
                  </a:cubicBezTo>
                  <a:cubicBezTo>
                    <a:pt x="5830380" y="2093646"/>
                    <a:pt x="5833157" y="2115210"/>
                    <a:pt x="5835850" y="2136037"/>
                  </a:cubicBezTo>
                  <a:cubicBezTo>
                    <a:pt x="5837238" y="2146746"/>
                    <a:pt x="5838543" y="2156844"/>
                    <a:pt x="5838311" y="2166647"/>
                  </a:cubicBezTo>
                  <a:cubicBezTo>
                    <a:pt x="5837785" y="2190210"/>
                    <a:pt x="5823753" y="2204389"/>
                    <a:pt x="5807512" y="2220820"/>
                  </a:cubicBezTo>
                  <a:cubicBezTo>
                    <a:pt x="5803431" y="2224943"/>
                    <a:pt x="5799223" y="2229193"/>
                    <a:pt x="5795141" y="2233716"/>
                  </a:cubicBezTo>
                  <a:cubicBezTo>
                    <a:pt x="5788746" y="2240785"/>
                    <a:pt x="5780773" y="2249600"/>
                    <a:pt x="5778627" y="2261970"/>
                  </a:cubicBezTo>
                  <a:cubicBezTo>
                    <a:pt x="5775745" y="2278106"/>
                    <a:pt x="5779742" y="2300238"/>
                    <a:pt x="5783613" y="2321655"/>
                  </a:cubicBezTo>
                  <a:cubicBezTo>
                    <a:pt x="5785191" y="2330427"/>
                    <a:pt x="5786706" y="2338716"/>
                    <a:pt x="5787484" y="2345595"/>
                  </a:cubicBezTo>
                  <a:cubicBezTo>
                    <a:pt x="5792175" y="2385883"/>
                    <a:pt x="5822975" y="2423982"/>
                    <a:pt x="5852764" y="2460841"/>
                  </a:cubicBezTo>
                  <a:cubicBezTo>
                    <a:pt x="5865366" y="2476451"/>
                    <a:pt x="5877294" y="2491178"/>
                    <a:pt x="5886909" y="2505631"/>
                  </a:cubicBezTo>
                  <a:cubicBezTo>
                    <a:pt x="5915310" y="2548316"/>
                    <a:pt x="5954945" y="2583849"/>
                    <a:pt x="6004721" y="2611262"/>
                  </a:cubicBezTo>
                  <a:cubicBezTo>
                    <a:pt x="6060576" y="2641998"/>
                    <a:pt x="6064447" y="2695813"/>
                    <a:pt x="6067855" y="2743274"/>
                  </a:cubicBezTo>
                  <a:cubicBezTo>
                    <a:pt x="6068360" y="2750406"/>
                    <a:pt x="6068844" y="2757138"/>
                    <a:pt x="6069497" y="2763681"/>
                  </a:cubicBezTo>
                  <a:cubicBezTo>
                    <a:pt x="6072946" y="2801507"/>
                    <a:pt x="6083949" y="2840869"/>
                    <a:pt x="6094573" y="2878926"/>
                  </a:cubicBezTo>
                  <a:cubicBezTo>
                    <a:pt x="6100254" y="2899249"/>
                    <a:pt x="6106123" y="2920266"/>
                    <a:pt x="6110626" y="2940399"/>
                  </a:cubicBezTo>
                  <a:cubicBezTo>
                    <a:pt x="6113486" y="2953148"/>
                    <a:pt x="6114707" y="2965455"/>
                    <a:pt x="6115906" y="2977362"/>
                  </a:cubicBezTo>
                  <a:cubicBezTo>
                    <a:pt x="6117168" y="2989964"/>
                    <a:pt x="6118473" y="3003008"/>
                    <a:pt x="6121649" y="3016745"/>
                  </a:cubicBezTo>
                  <a:cubicBezTo>
                    <a:pt x="6126004" y="3035448"/>
                    <a:pt x="6135534" y="3054803"/>
                    <a:pt x="6144728" y="3073526"/>
                  </a:cubicBezTo>
                  <a:cubicBezTo>
                    <a:pt x="6150029" y="3084298"/>
                    <a:pt x="6155499" y="3095427"/>
                    <a:pt x="6159686" y="3105883"/>
                  </a:cubicBezTo>
                  <a:cubicBezTo>
                    <a:pt x="6165682" y="3121051"/>
                    <a:pt x="6170730" y="3135778"/>
                    <a:pt x="6175590" y="3150020"/>
                  </a:cubicBezTo>
                  <a:cubicBezTo>
                    <a:pt x="6193094" y="3201205"/>
                    <a:pt x="6209629" y="3249571"/>
                    <a:pt x="6265864" y="3306289"/>
                  </a:cubicBezTo>
                  <a:lnTo>
                    <a:pt x="6270429" y="3310939"/>
                  </a:lnTo>
                  <a:cubicBezTo>
                    <a:pt x="6304258" y="3345357"/>
                    <a:pt x="6350604" y="3392503"/>
                    <a:pt x="6386937" y="3411353"/>
                  </a:cubicBezTo>
                  <a:cubicBezTo>
                    <a:pt x="6401705" y="3419073"/>
                    <a:pt x="6413339" y="3419620"/>
                    <a:pt x="6421481" y="3412952"/>
                  </a:cubicBezTo>
                  <a:cubicBezTo>
                    <a:pt x="6433052" y="3403506"/>
                    <a:pt x="6433430" y="3383730"/>
                    <a:pt x="6422764" y="3346787"/>
                  </a:cubicBezTo>
                  <a:cubicBezTo>
                    <a:pt x="6417736" y="3329726"/>
                    <a:pt x="6411930" y="3312222"/>
                    <a:pt x="6406312" y="3295266"/>
                  </a:cubicBezTo>
                  <a:cubicBezTo>
                    <a:pt x="6393816" y="3257524"/>
                    <a:pt x="6380899" y="3218520"/>
                    <a:pt x="6375534" y="3182082"/>
                  </a:cubicBezTo>
                  <a:cubicBezTo>
                    <a:pt x="6367813" y="3129298"/>
                    <a:pt x="6372442" y="3088400"/>
                    <a:pt x="6389293" y="3060546"/>
                  </a:cubicBezTo>
                  <a:cubicBezTo>
                    <a:pt x="6389987" y="3059410"/>
                    <a:pt x="6390702" y="3058253"/>
                    <a:pt x="6391397" y="3057117"/>
                  </a:cubicBezTo>
                  <a:cubicBezTo>
                    <a:pt x="6396278" y="3049291"/>
                    <a:pt x="6402357" y="3039551"/>
                    <a:pt x="6402505" y="3025960"/>
                  </a:cubicBezTo>
                  <a:cubicBezTo>
                    <a:pt x="6402610" y="3017608"/>
                    <a:pt x="6400443" y="3009067"/>
                    <a:pt x="6398360" y="3000799"/>
                  </a:cubicBezTo>
                  <a:cubicBezTo>
                    <a:pt x="6397266" y="2996423"/>
                    <a:pt x="6396215" y="2992299"/>
                    <a:pt x="6395541" y="2988344"/>
                  </a:cubicBezTo>
                  <a:cubicBezTo>
                    <a:pt x="6393480" y="2976479"/>
                    <a:pt x="6395836" y="2975364"/>
                    <a:pt x="6405745" y="2970736"/>
                  </a:cubicBezTo>
                  <a:cubicBezTo>
                    <a:pt x="6409153" y="2969137"/>
                    <a:pt x="6413003" y="2967327"/>
                    <a:pt x="6416894" y="2964824"/>
                  </a:cubicBezTo>
                  <a:cubicBezTo>
                    <a:pt x="6432989" y="2954389"/>
                    <a:pt x="6440415" y="2932194"/>
                    <a:pt x="6447610" y="2910735"/>
                  </a:cubicBezTo>
                  <a:cubicBezTo>
                    <a:pt x="6452112" y="2897250"/>
                    <a:pt x="6456782" y="2883323"/>
                    <a:pt x="6463094" y="2874466"/>
                  </a:cubicBezTo>
                  <a:cubicBezTo>
                    <a:pt x="6477021" y="2854649"/>
                    <a:pt x="6482196" y="2826395"/>
                    <a:pt x="6477315" y="2797005"/>
                  </a:cubicBezTo>
                  <a:cubicBezTo>
                    <a:pt x="6473907" y="2776030"/>
                    <a:pt x="6474454" y="2763576"/>
                    <a:pt x="6479082" y="2756612"/>
                  </a:cubicBezTo>
                  <a:cubicBezTo>
                    <a:pt x="6483437" y="2750048"/>
                    <a:pt x="6492673" y="2746198"/>
                    <a:pt x="6506642" y="2740350"/>
                  </a:cubicBezTo>
                  <a:cubicBezTo>
                    <a:pt x="6511376" y="2738372"/>
                    <a:pt x="6516740" y="2736121"/>
                    <a:pt x="6522463" y="2733534"/>
                  </a:cubicBezTo>
                  <a:cubicBezTo>
                    <a:pt x="6548823" y="2721584"/>
                    <a:pt x="6573942" y="2705680"/>
                    <a:pt x="6579265" y="2670525"/>
                  </a:cubicBezTo>
                  <a:cubicBezTo>
                    <a:pt x="6581242" y="2657629"/>
                    <a:pt x="6584966" y="2645448"/>
                    <a:pt x="6588921" y="2632573"/>
                  </a:cubicBezTo>
                  <a:cubicBezTo>
                    <a:pt x="6593023" y="2619214"/>
                    <a:pt x="6597252" y="2605413"/>
                    <a:pt x="6599482" y="2590476"/>
                  </a:cubicBezTo>
                  <a:cubicBezTo>
                    <a:pt x="6602007" y="2573436"/>
                    <a:pt x="6599756" y="2557236"/>
                    <a:pt x="6597568" y="2541563"/>
                  </a:cubicBezTo>
                  <a:cubicBezTo>
                    <a:pt x="6596074" y="2530897"/>
                    <a:pt x="6594664" y="2520799"/>
                    <a:pt x="6594643" y="2510427"/>
                  </a:cubicBezTo>
                  <a:cubicBezTo>
                    <a:pt x="6594643" y="2485013"/>
                    <a:pt x="6608171" y="2469046"/>
                    <a:pt x="6623844" y="2450574"/>
                  </a:cubicBezTo>
                  <a:cubicBezTo>
                    <a:pt x="6641348" y="2429936"/>
                    <a:pt x="6661186" y="2406542"/>
                    <a:pt x="6658010" y="2368043"/>
                  </a:cubicBezTo>
                  <a:cubicBezTo>
                    <a:pt x="6657547" y="2362342"/>
                    <a:pt x="6656453" y="2356514"/>
                    <a:pt x="6654854" y="2351213"/>
                  </a:cubicBezTo>
                  <a:cubicBezTo>
                    <a:pt x="6649868" y="2334488"/>
                    <a:pt x="6640148" y="2322896"/>
                    <a:pt x="6627463" y="2318583"/>
                  </a:cubicBezTo>
                  <a:cubicBezTo>
                    <a:pt x="6619174" y="2315743"/>
                    <a:pt x="6611726" y="2315806"/>
                    <a:pt x="6605183" y="2315848"/>
                  </a:cubicBezTo>
                  <a:cubicBezTo>
                    <a:pt x="6598094" y="2315890"/>
                    <a:pt x="6592540" y="2315932"/>
                    <a:pt x="6586586" y="2312461"/>
                  </a:cubicBezTo>
                  <a:cubicBezTo>
                    <a:pt x="6581495" y="2309537"/>
                    <a:pt x="6576951" y="2303751"/>
                    <a:pt x="6572112" y="2297629"/>
                  </a:cubicBezTo>
                  <a:cubicBezTo>
                    <a:pt x="6565190" y="2288856"/>
                    <a:pt x="6557322" y="2278905"/>
                    <a:pt x="6545225" y="2274277"/>
                  </a:cubicBezTo>
                  <a:cubicBezTo>
                    <a:pt x="6528206" y="2267776"/>
                    <a:pt x="6511186" y="2265736"/>
                    <a:pt x="6494735" y="2263737"/>
                  </a:cubicBezTo>
                  <a:cubicBezTo>
                    <a:pt x="6483711" y="2262412"/>
                    <a:pt x="6473297" y="2261150"/>
                    <a:pt x="6462905" y="2258646"/>
                  </a:cubicBezTo>
                  <a:cubicBezTo>
                    <a:pt x="6453585" y="2256416"/>
                    <a:pt x="6444875" y="2252545"/>
                    <a:pt x="6435661" y="2248464"/>
                  </a:cubicBezTo>
                  <a:cubicBezTo>
                    <a:pt x="6424342" y="2243457"/>
                    <a:pt x="6412645" y="2238281"/>
                    <a:pt x="6399349" y="2236030"/>
                  </a:cubicBezTo>
                  <a:cubicBezTo>
                    <a:pt x="6394952" y="2235294"/>
                    <a:pt x="6390681" y="2234978"/>
                    <a:pt x="6386558" y="2234705"/>
                  </a:cubicBezTo>
                  <a:cubicBezTo>
                    <a:pt x="6373199" y="2233758"/>
                    <a:pt x="6365962" y="2232811"/>
                    <a:pt x="6360534" y="2223239"/>
                  </a:cubicBezTo>
                  <a:cubicBezTo>
                    <a:pt x="6356726" y="2216549"/>
                    <a:pt x="6355906" y="2207797"/>
                    <a:pt x="6355022" y="2198541"/>
                  </a:cubicBezTo>
                  <a:cubicBezTo>
                    <a:pt x="6354160" y="2189452"/>
                    <a:pt x="6353276" y="2180049"/>
                    <a:pt x="6349594" y="2170834"/>
                  </a:cubicBezTo>
                  <a:cubicBezTo>
                    <a:pt x="6341726" y="2151290"/>
                    <a:pt x="6325022" y="2124845"/>
                    <a:pt x="6306993" y="2112938"/>
                  </a:cubicBezTo>
                  <a:cubicBezTo>
                    <a:pt x="6288985" y="2101009"/>
                    <a:pt x="6273206" y="2102377"/>
                    <a:pt x="6259279" y="2103597"/>
                  </a:cubicBezTo>
                  <a:cubicBezTo>
                    <a:pt x="6250212" y="2104375"/>
                    <a:pt x="6242386" y="2105049"/>
                    <a:pt x="6233949" y="2102377"/>
                  </a:cubicBezTo>
                  <a:cubicBezTo>
                    <a:pt x="6216762" y="2096928"/>
                    <a:pt x="6200730" y="2078793"/>
                    <a:pt x="6187834" y="2064235"/>
                  </a:cubicBezTo>
                  <a:lnTo>
                    <a:pt x="6187287" y="2063625"/>
                  </a:lnTo>
                  <a:cubicBezTo>
                    <a:pt x="6167112" y="2040736"/>
                    <a:pt x="6148094" y="2021023"/>
                    <a:pt x="6119525" y="2011493"/>
                  </a:cubicBezTo>
                  <a:cubicBezTo>
                    <a:pt x="6099896" y="2004971"/>
                    <a:pt x="6083087" y="2003415"/>
                    <a:pt x="6068276" y="2002047"/>
                  </a:cubicBezTo>
                  <a:cubicBezTo>
                    <a:pt x="6044503" y="1999838"/>
                    <a:pt x="6025717" y="1998113"/>
                    <a:pt x="6000997" y="1978064"/>
                  </a:cubicBezTo>
                  <a:cubicBezTo>
                    <a:pt x="5978087" y="1959656"/>
                    <a:pt x="5961593" y="1934600"/>
                    <a:pt x="5945646" y="1910385"/>
                  </a:cubicBezTo>
                  <a:cubicBezTo>
                    <a:pt x="5919644" y="1870897"/>
                    <a:pt x="5892778" y="1830063"/>
                    <a:pt x="5838017" y="1816935"/>
                  </a:cubicBezTo>
                  <a:cubicBezTo>
                    <a:pt x="5830064" y="1815042"/>
                    <a:pt x="5822049" y="1813842"/>
                    <a:pt x="5814286" y="1812685"/>
                  </a:cubicBezTo>
                  <a:cubicBezTo>
                    <a:pt x="5803725" y="1811108"/>
                    <a:pt x="5793732" y="1809614"/>
                    <a:pt x="5784328" y="1806521"/>
                  </a:cubicBezTo>
                  <a:cubicBezTo>
                    <a:pt x="5765478" y="1800357"/>
                    <a:pt x="5753865" y="1787103"/>
                    <a:pt x="5749868" y="1767117"/>
                  </a:cubicBezTo>
                  <a:cubicBezTo>
                    <a:pt x="5743199" y="1733899"/>
                    <a:pt x="5759567" y="1688057"/>
                    <a:pt x="5786369" y="1664937"/>
                  </a:cubicBezTo>
                  <a:cubicBezTo>
                    <a:pt x="5810121" y="1644214"/>
                    <a:pt x="5861832" y="1645518"/>
                    <a:pt x="5877126" y="1646423"/>
                  </a:cubicBezTo>
                  <a:cubicBezTo>
                    <a:pt x="5910808" y="1648359"/>
                    <a:pt x="5927827" y="1663085"/>
                    <a:pt x="5947477" y="1689635"/>
                  </a:cubicBezTo>
                  <a:cubicBezTo>
                    <a:pt x="5965464" y="1713807"/>
                    <a:pt x="5987322" y="1725021"/>
                    <a:pt x="6004552" y="1718899"/>
                  </a:cubicBezTo>
                  <a:cubicBezTo>
                    <a:pt x="6013073" y="1715869"/>
                    <a:pt x="6027189" y="1705918"/>
                    <a:pt x="6025843" y="1673204"/>
                  </a:cubicBezTo>
                  <a:cubicBezTo>
                    <a:pt x="6025527" y="1664263"/>
                    <a:pt x="6024434" y="1655911"/>
                    <a:pt x="6023361" y="1647854"/>
                  </a:cubicBezTo>
                  <a:cubicBezTo>
                    <a:pt x="6020772" y="1628225"/>
                    <a:pt x="6018543" y="1611269"/>
                    <a:pt x="6028431" y="1591956"/>
                  </a:cubicBezTo>
                  <a:cubicBezTo>
                    <a:pt x="6040170" y="1569130"/>
                    <a:pt x="6058536" y="1553899"/>
                    <a:pt x="6077996" y="1537742"/>
                  </a:cubicBezTo>
                  <a:cubicBezTo>
                    <a:pt x="6094069" y="1524403"/>
                    <a:pt x="6110689" y="1510624"/>
                    <a:pt x="6123942" y="1491984"/>
                  </a:cubicBezTo>
                  <a:cubicBezTo>
                    <a:pt x="6134924" y="1476584"/>
                    <a:pt x="6143276" y="1460869"/>
                    <a:pt x="6151355" y="1445659"/>
                  </a:cubicBezTo>
                  <a:cubicBezTo>
                    <a:pt x="6163451" y="1422854"/>
                    <a:pt x="6174896" y="1401311"/>
                    <a:pt x="6194524" y="1381157"/>
                  </a:cubicBezTo>
                  <a:cubicBezTo>
                    <a:pt x="6227575" y="1347160"/>
                    <a:pt x="6268788" y="1320610"/>
                    <a:pt x="6310611" y="1306409"/>
                  </a:cubicBezTo>
                  <a:cubicBezTo>
                    <a:pt x="6331123" y="1299446"/>
                    <a:pt x="6359230" y="1289937"/>
                    <a:pt x="6367498" y="1265133"/>
                  </a:cubicBezTo>
                  <a:cubicBezTo>
                    <a:pt x="6369012" y="1260610"/>
                    <a:pt x="6369559" y="1256255"/>
                    <a:pt x="6370043" y="1252405"/>
                  </a:cubicBezTo>
                  <a:cubicBezTo>
                    <a:pt x="6370422" y="1249439"/>
                    <a:pt x="6370780" y="1246620"/>
                    <a:pt x="6371537" y="1244158"/>
                  </a:cubicBezTo>
                  <a:cubicBezTo>
                    <a:pt x="6373977" y="1236122"/>
                    <a:pt x="6382056" y="1227833"/>
                    <a:pt x="6392154" y="1223057"/>
                  </a:cubicBezTo>
                  <a:cubicBezTo>
                    <a:pt x="6409805" y="1214705"/>
                    <a:pt x="6431537" y="1220049"/>
                    <a:pt x="6452554" y="1225224"/>
                  </a:cubicBezTo>
                  <a:cubicBezTo>
                    <a:pt x="6463935" y="1228022"/>
                    <a:pt x="6474685" y="1230673"/>
                    <a:pt x="6485142" y="1231388"/>
                  </a:cubicBezTo>
                  <a:cubicBezTo>
                    <a:pt x="6509209" y="1233008"/>
                    <a:pt x="6518129" y="1221353"/>
                    <a:pt x="6521306" y="1214242"/>
                  </a:cubicBezTo>
                  <a:cubicBezTo>
                    <a:pt x="6529721" y="1195371"/>
                    <a:pt x="6516993" y="1168548"/>
                    <a:pt x="6504539" y="1156430"/>
                  </a:cubicBezTo>
                  <a:cubicBezTo>
                    <a:pt x="6494819" y="1147026"/>
                    <a:pt x="6497827" y="1136360"/>
                    <a:pt x="6507021" y="1114270"/>
                  </a:cubicBezTo>
                  <a:cubicBezTo>
                    <a:pt x="6514048" y="1097377"/>
                    <a:pt x="6522000" y="1078212"/>
                    <a:pt x="6515647" y="1058646"/>
                  </a:cubicBezTo>
                  <a:cubicBezTo>
                    <a:pt x="6510955" y="1043983"/>
                    <a:pt x="6502456" y="1032812"/>
                    <a:pt x="6494230" y="1022019"/>
                  </a:cubicBezTo>
                  <a:cubicBezTo>
                    <a:pt x="6491516" y="1018464"/>
                    <a:pt x="6488970" y="1015098"/>
                    <a:pt x="6486572" y="1011648"/>
                  </a:cubicBezTo>
                  <a:cubicBezTo>
                    <a:pt x="6486572" y="1011627"/>
                    <a:pt x="6486467" y="1011479"/>
                    <a:pt x="6486446" y="1011458"/>
                  </a:cubicBezTo>
                  <a:cubicBezTo>
                    <a:pt x="6482617" y="1006073"/>
                    <a:pt x="6481123" y="977314"/>
                    <a:pt x="6480113" y="958317"/>
                  </a:cubicBezTo>
                  <a:cubicBezTo>
                    <a:pt x="6477883" y="915568"/>
                    <a:pt x="6475864" y="888913"/>
                    <a:pt x="6463094" y="879677"/>
                  </a:cubicBezTo>
                  <a:cubicBezTo>
                    <a:pt x="6458802" y="876585"/>
                    <a:pt x="6453585" y="875659"/>
                    <a:pt x="6448493" y="877047"/>
                  </a:cubicBezTo>
                  <a:cubicBezTo>
                    <a:pt x="6435976" y="880350"/>
                    <a:pt x="6427771" y="893057"/>
                    <a:pt x="6420513" y="904270"/>
                  </a:cubicBezTo>
                  <a:cubicBezTo>
                    <a:pt x="6417021" y="909698"/>
                    <a:pt x="6413381" y="915294"/>
                    <a:pt x="6410415" y="917903"/>
                  </a:cubicBezTo>
                  <a:cubicBezTo>
                    <a:pt x="6402357" y="924951"/>
                    <a:pt x="6392596" y="925498"/>
                    <a:pt x="6391039" y="924151"/>
                  </a:cubicBezTo>
                  <a:cubicBezTo>
                    <a:pt x="6390892" y="923920"/>
                    <a:pt x="6390555" y="922679"/>
                    <a:pt x="6390997" y="920133"/>
                  </a:cubicBezTo>
                  <a:cubicBezTo>
                    <a:pt x="6393522" y="905175"/>
                    <a:pt x="6387357" y="895961"/>
                    <a:pt x="6381761" y="890869"/>
                  </a:cubicBezTo>
                  <a:cubicBezTo>
                    <a:pt x="6364889" y="875512"/>
                    <a:pt x="6330050" y="877594"/>
                    <a:pt x="6310737" y="882749"/>
                  </a:cubicBezTo>
                  <a:cubicBezTo>
                    <a:pt x="6252484" y="898275"/>
                    <a:pt x="6249728" y="929221"/>
                    <a:pt x="6246551" y="965049"/>
                  </a:cubicBezTo>
                  <a:cubicBezTo>
                    <a:pt x="6246025" y="971045"/>
                    <a:pt x="6245457" y="977230"/>
                    <a:pt x="6244637" y="983688"/>
                  </a:cubicBezTo>
                  <a:cubicBezTo>
                    <a:pt x="6241418" y="1008576"/>
                    <a:pt x="6216909" y="1037608"/>
                    <a:pt x="6191138" y="1047097"/>
                  </a:cubicBezTo>
                  <a:cubicBezTo>
                    <a:pt x="6165997" y="1056311"/>
                    <a:pt x="6151081" y="1042405"/>
                    <a:pt x="6133809" y="1026290"/>
                  </a:cubicBezTo>
                  <a:cubicBezTo>
                    <a:pt x="6125457" y="1018506"/>
                    <a:pt x="6116832" y="1010449"/>
                    <a:pt x="6106818" y="1005252"/>
                  </a:cubicBezTo>
                  <a:cubicBezTo>
                    <a:pt x="6093501" y="995680"/>
                    <a:pt x="6064048" y="974137"/>
                    <a:pt x="6061270" y="949355"/>
                  </a:cubicBezTo>
                  <a:cubicBezTo>
                    <a:pt x="6059924" y="937300"/>
                    <a:pt x="6064700" y="925287"/>
                    <a:pt x="6075913" y="912622"/>
                  </a:cubicBezTo>
                  <a:cubicBezTo>
                    <a:pt x="6098592" y="886767"/>
                    <a:pt x="6125078" y="867433"/>
                    <a:pt x="6150702" y="848730"/>
                  </a:cubicBezTo>
                  <a:cubicBezTo>
                    <a:pt x="6174854" y="831101"/>
                    <a:pt x="6199847" y="812861"/>
                    <a:pt x="6221937" y="789088"/>
                  </a:cubicBezTo>
                  <a:cubicBezTo>
                    <a:pt x="6224903" y="785911"/>
                    <a:pt x="6227764" y="782609"/>
                    <a:pt x="6230562" y="779411"/>
                  </a:cubicBezTo>
                  <a:cubicBezTo>
                    <a:pt x="6238262" y="770554"/>
                    <a:pt x="6245541" y="762202"/>
                    <a:pt x="6253851" y="757069"/>
                  </a:cubicBezTo>
                  <a:cubicBezTo>
                    <a:pt x="6259532" y="753576"/>
                    <a:pt x="6265443" y="750168"/>
                    <a:pt x="6271144" y="746865"/>
                  </a:cubicBezTo>
                  <a:cubicBezTo>
                    <a:pt x="6285366" y="738660"/>
                    <a:pt x="6300071" y="730161"/>
                    <a:pt x="6313977" y="718927"/>
                  </a:cubicBezTo>
                  <a:cubicBezTo>
                    <a:pt x="6331334" y="704853"/>
                    <a:pt x="6339223" y="687181"/>
                    <a:pt x="6346208" y="671592"/>
                  </a:cubicBezTo>
                  <a:cubicBezTo>
                    <a:pt x="6352308" y="657959"/>
                    <a:pt x="6358052" y="645084"/>
                    <a:pt x="6369433" y="635554"/>
                  </a:cubicBezTo>
                  <a:cubicBezTo>
                    <a:pt x="6378564" y="627875"/>
                    <a:pt x="6393080" y="624278"/>
                    <a:pt x="6400464" y="624193"/>
                  </a:cubicBezTo>
                  <a:cubicBezTo>
                    <a:pt x="6400653" y="624193"/>
                    <a:pt x="6400843" y="624193"/>
                    <a:pt x="6400990" y="624193"/>
                  </a:cubicBezTo>
                  <a:cubicBezTo>
                    <a:pt x="6401369" y="625750"/>
                    <a:pt x="6401558" y="628611"/>
                    <a:pt x="6401705" y="630610"/>
                  </a:cubicBezTo>
                  <a:cubicBezTo>
                    <a:pt x="6402000" y="634818"/>
                    <a:pt x="6402336" y="639572"/>
                    <a:pt x="6403914" y="644263"/>
                  </a:cubicBezTo>
                  <a:cubicBezTo>
                    <a:pt x="6408017" y="656486"/>
                    <a:pt x="6419398" y="661283"/>
                    <a:pt x="6428550" y="665154"/>
                  </a:cubicBezTo>
                  <a:cubicBezTo>
                    <a:pt x="6440394" y="670161"/>
                    <a:pt x="6441551" y="671739"/>
                    <a:pt x="6441088" y="675904"/>
                  </a:cubicBezTo>
                  <a:cubicBezTo>
                    <a:pt x="6439510" y="690273"/>
                    <a:pt x="6417084" y="705168"/>
                    <a:pt x="6403704" y="714067"/>
                  </a:cubicBezTo>
                  <a:lnTo>
                    <a:pt x="6400716" y="716045"/>
                  </a:lnTo>
                  <a:cubicBezTo>
                    <a:pt x="6392112" y="721830"/>
                    <a:pt x="6383192" y="726627"/>
                    <a:pt x="6373767" y="731697"/>
                  </a:cubicBezTo>
                  <a:cubicBezTo>
                    <a:pt x="6366783" y="735442"/>
                    <a:pt x="6359587" y="739334"/>
                    <a:pt x="6352498" y="743646"/>
                  </a:cubicBezTo>
                  <a:cubicBezTo>
                    <a:pt x="6339770" y="751409"/>
                    <a:pt x="6330808" y="759782"/>
                    <a:pt x="6325085" y="769228"/>
                  </a:cubicBezTo>
                  <a:cubicBezTo>
                    <a:pt x="6318353" y="780357"/>
                    <a:pt x="6319384" y="789256"/>
                    <a:pt x="6321425" y="794747"/>
                  </a:cubicBezTo>
                  <a:cubicBezTo>
                    <a:pt x="6327147" y="810168"/>
                    <a:pt x="6346691" y="816564"/>
                    <a:pt x="6358346" y="820392"/>
                  </a:cubicBezTo>
                  <a:cubicBezTo>
                    <a:pt x="6359714" y="820834"/>
                    <a:pt x="6360976" y="821255"/>
                    <a:pt x="6362049" y="821634"/>
                  </a:cubicBezTo>
                  <a:cubicBezTo>
                    <a:pt x="6367266" y="823464"/>
                    <a:pt x="6373788" y="827945"/>
                    <a:pt x="6380688" y="832658"/>
                  </a:cubicBezTo>
                  <a:cubicBezTo>
                    <a:pt x="6395331" y="842693"/>
                    <a:pt x="6413550" y="855189"/>
                    <a:pt x="6433073" y="850161"/>
                  </a:cubicBezTo>
                  <a:cubicBezTo>
                    <a:pt x="6466187" y="841557"/>
                    <a:pt x="6476201" y="820855"/>
                    <a:pt x="6487792" y="796872"/>
                  </a:cubicBezTo>
                  <a:cubicBezTo>
                    <a:pt x="6489601" y="793106"/>
                    <a:pt x="6491495" y="789214"/>
                    <a:pt x="6493515" y="785238"/>
                  </a:cubicBezTo>
                  <a:cubicBezTo>
                    <a:pt x="6503676" y="765400"/>
                    <a:pt x="6513753" y="758415"/>
                    <a:pt x="6525450" y="750336"/>
                  </a:cubicBezTo>
                  <a:cubicBezTo>
                    <a:pt x="6535001" y="743731"/>
                    <a:pt x="6545815" y="736241"/>
                    <a:pt x="6556018" y="721451"/>
                  </a:cubicBezTo>
                  <a:cubicBezTo>
                    <a:pt x="6567799" y="704306"/>
                    <a:pt x="6563023" y="684593"/>
                    <a:pt x="6552504" y="674747"/>
                  </a:cubicBezTo>
                  <a:cubicBezTo>
                    <a:pt x="6547960" y="670519"/>
                    <a:pt x="6542301" y="667721"/>
                    <a:pt x="6536831" y="665028"/>
                  </a:cubicBezTo>
                  <a:cubicBezTo>
                    <a:pt x="6523746" y="658569"/>
                    <a:pt x="6520653" y="656003"/>
                    <a:pt x="6522652" y="647440"/>
                  </a:cubicBezTo>
                  <a:cubicBezTo>
                    <a:pt x="6524145" y="641171"/>
                    <a:pt x="6527385" y="634523"/>
                    <a:pt x="6530520" y="628106"/>
                  </a:cubicBezTo>
                  <a:cubicBezTo>
                    <a:pt x="6536726" y="615379"/>
                    <a:pt x="6543753" y="600968"/>
                    <a:pt x="6538514" y="585883"/>
                  </a:cubicBezTo>
                  <a:cubicBezTo>
                    <a:pt x="6530247" y="561774"/>
                    <a:pt x="6506180" y="553569"/>
                    <a:pt x="6486845" y="547006"/>
                  </a:cubicBezTo>
                  <a:cubicBezTo>
                    <a:pt x="6484006" y="546038"/>
                    <a:pt x="6481228" y="545091"/>
                    <a:pt x="6478599" y="544123"/>
                  </a:cubicBezTo>
                  <a:cubicBezTo>
                    <a:pt x="6464630" y="538969"/>
                    <a:pt x="6447210" y="540694"/>
                    <a:pt x="6430359" y="542377"/>
                  </a:cubicBezTo>
                  <a:cubicBezTo>
                    <a:pt x="6419672" y="543450"/>
                    <a:pt x="6409552" y="544439"/>
                    <a:pt x="6401411" y="543639"/>
                  </a:cubicBezTo>
                  <a:cubicBezTo>
                    <a:pt x="6400674" y="543555"/>
                    <a:pt x="6399749" y="543492"/>
                    <a:pt x="6398697" y="543429"/>
                  </a:cubicBezTo>
                  <a:cubicBezTo>
                    <a:pt x="6397498" y="543345"/>
                    <a:pt x="6394973" y="543156"/>
                    <a:pt x="6392596" y="542840"/>
                  </a:cubicBezTo>
                  <a:cubicBezTo>
                    <a:pt x="6397224" y="538885"/>
                    <a:pt x="6408248" y="531837"/>
                    <a:pt x="6434377" y="521255"/>
                  </a:cubicBezTo>
                  <a:lnTo>
                    <a:pt x="6435618" y="520750"/>
                  </a:lnTo>
                  <a:cubicBezTo>
                    <a:pt x="6453879" y="513345"/>
                    <a:pt x="6474581" y="504972"/>
                    <a:pt x="6494671" y="489130"/>
                  </a:cubicBezTo>
                  <a:cubicBezTo>
                    <a:pt x="6504013" y="481788"/>
                    <a:pt x="6512386" y="473099"/>
                    <a:pt x="6520464" y="464726"/>
                  </a:cubicBezTo>
                  <a:cubicBezTo>
                    <a:pt x="6532813" y="451935"/>
                    <a:pt x="6544468" y="439860"/>
                    <a:pt x="6557932" y="433906"/>
                  </a:cubicBezTo>
                  <a:cubicBezTo>
                    <a:pt x="6560583" y="432749"/>
                    <a:pt x="6562414" y="432160"/>
                    <a:pt x="6563634" y="431865"/>
                  </a:cubicBezTo>
                  <a:cubicBezTo>
                    <a:pt x="6563886" y="433906"/>
                    <a:pt x="6563970" y="436809"/>
                    <a:pt x="6564034" y="438976"/>
                  </a:cubicBezTo>
                  <a:cubicBezTo>
                    <a:pt x="6564307" y="448632"/>
                    <a:pt x="6564770" y="464811"/>
                    <a:pt x="6579580" y="470322"/>
                  </a:cubicBezTo>
                  <a:cubicBezTo>
                    <a:pt x="6590583" y="474446"/>
                    <a:pt x="6601165" y="468198"/>
                    <a:pt x="6610506" y="462686"/>
                  </a:cubicBezTo>
                  <a:cubicBezTo>
                    <a:pt x="6613283" y="461045"/>
                    <a:pt x="6615913" y="459488"/>
                    <a:pt x="6618332" y="458352"/>
                  </a:cubicBezTo>
                  <a:cubicBezTo>
                    <a:pt x="6627000" y="454207"/>
                    <a:pt x="6633669" y="453303"/>
                    <a:pt x="6638129" y="455680"/>
                  </a:cubicBezTo>
                  <a:cubicBezTo>
                    <a:pt x="6648879" y="461402"/>
                    <a:pt x="6652582" y="486837"/>
                    <a:pt x="6655043" y="503646"/>
                  </a:cubicBezTo>
                  <a:cubicBezTo>
                    <a:pt x="6655296" y="505329"/>
                    <a:pt x="6655527" y="506970"/>
                    <a:pt x="6655758" y="508506"/>
                  </a:cubicBezTo>
                  <a:cubicBezTo>
                    <a:pt x="6657757" y="522286"/>
                    <a:pt x="6652855" y="538085"/>
                    <a:pt x="6647701" y="554811"/>
                  </a:cubicBezTo>
                  <a:cubicBezTo>
                    <a:pt x="6644714" y="564488"/>
                    <a:pt x="6641621" y="574481"/>
                    <a:pt x="6639728" y="584621"/>
                  </a:cubicBezTo>
                  <a:cubicBezTo>
                    <a:pt x="6636509" y="601977"/>
                    <a:pt x="6639097" y="614411"/>
                    <a:pt x="6641369" y="625393"/>
                  </a:cubicBezTo>
                  <a:cubicBezTo>
                    <a:pt x="6642967" y="633071"/>
                    <a:pt x="6644461" y="640308"/>
                    <a:pt x="6644188" y="649355"/>
                  </a:cubicBezTo>
                  <a:cubicBezTo>
                    <a:pt x="6643788" y="662714"/>
                    <a:pt x="6631417" y="678850"/>
                    <a:pt x="6620520" y="693092"/>
                  </a:cubicBezTo>
                  <a:lnTo>
                    <a:pt x="6617491" y="697047"/>
                  </a:lnTo>
                  <a:cubicBezTo>
                    <a:pt x="6594980" y="726753"/>
                    <a:pt x="6596979" y="746970"/>
                    <a:pt x="6599272" y="770364"/>
                  </a:cubicBezTo>
                  <a:cubicBezTo>
                    <a:pt x="6599482" y="772573"/>
                    <a:pt x="6599714" y="774824"/>
                    <a:pt x="6599924" y="777118"/>
                  </a:cubicBezTo>
                  <a:cubicBezTo>
                    <a:pt x="6600766" y="786900"/>
                    <a:pt x="6600913" y="798702"/>
                    <a:pt x="6601060" y="811199"/>
                  </a:cubicBezTo>
                  <a:cubicBezTo>
                    <a:pt x="6601628" y="856346"/>
                    <a:pt x="6602344" y="912538"/>
                    <a:pt x="6636698" y="934607"/>
                  </a:cubicBezTo>
                  <a:cubicBezTo>
                    <a:pt x="6647112" y="941318"/>
                    <a:pt x="6657946" y="943254"/>
                    <a:pt x="6668886" y="940371"/>
                  </a:cubicBezTo>
                  <a:cubicBezTo>
                    <a:pt x="6697498" y="932819"/>
                    <a:pt x="6717820" y="893962"/>
                    <a:pt x="6732652" y="865603"/>
                  </a:cubicBezTo>
                  <a:lnTo>
                    <a:pt x="6734419" y="862237"/>
                  </a:lnTo>
                  <a:cubicBezTo>
                    <a:pt x="6736502" y="858261"/>
                    <a:pt x="6738564" y="854263"/>
                    <a:pt x="6740625" y="850245"/>
                  </a:cubicBezTo>
                  <a:cubicBezTo>
                    <a:pt x="6749882" y="832258"/>
                    <a:pt x="6759454" y="813639"/>
                    <a:pt x="6771656" y="797735"/>
                  </a:cubicBezTo>
                  <a:cubicBezTo>
                    <a:pt x="6785583" y="779600"/>
                    <a:pt x="6806369" y="766493"/>
                    <a:pt x="6826481" y="753808"/>
                  </a:cubicBezTo>
                  <a:cubicBezTo>
                    <a:pt x="6831172" y="750841"/>
                    <a:pt x="6835611" y="748064"/>
                    <a:pt x="6839945" y="745203"/>
                  </a:cubicBezTo>
                  <a:cubicBezTo>
                    <a:pt x="6872280" y="723997"/>
                    <a:pt x="6902785" y="700582"/>
                    <a:pt x="6930618" y="675568"/>
                  </a:cubicBezTo>
                  <a:lnTo>
                    <a:pt x="6934805" y="671781"/>
                  </a:lnTo>
                  <a:cubicBezTo>
                    <a:pt x="6947553" y="660252"/>
                    <a:pt x="6960723" y="648345"/>
                    <a:pt x="6974251" y="642812"/>
                  </a:cubicBezTo>
                  <a:cubicBezTo>
                    <a:pt x="6979089" y="640834"/>
                    <a:pt x="6984265" y="639299"/>
                    <a:pt x="6989756" y="637679"/>
                  </a:cubicBezTo>
                  <a:cubicBezTo>
                    <a:pt x="7010793" y="631451"/>
                    <a:pt x="7039615" y="622952"/>
                    <a:pt x="7036165" y="580477"/>
                  </a:cubicBezTo>
                  <a:cubicBezTo>
                    <a:pt x="7035976" y="578036"/>
                    <a:pt x="7035702" y="575596"/>
                    <a:pt x="7035450" y="573177"/>
                  </a:cubicBezTo>
                  <a:cubicBezTo>
                    <a:pt x="7034608" y="565372"/>
                    <a:pt x="7033809" y="557987"/>
                    <a:pt x="7035618" y="550855"/>
                  </a:cubicBezTo>
                  <a:cubicBezTo>
                    <a:pt x="7038647" y="539137"/>
                    <a:pt x="7046747" y="530617"/>
                    <a:pt x="7055330" y="521592"/>
                  </a:cubicBezTo>
                  <a:cubicBezTo>
                    <a:pt x="7065976" y="510421"/>
                    <a:pt x="7078030" y="497735"/>
                    <a:pt x="7081207" y="477686"/>
                  </a:cubicBezTo>
                  <a:cubicBezTo>
                    <a:pt x="7082028" y="472552"/>
                    <a:pt x="7082533" y="467461"/>
                    <a:pt x="7083038" y="462559"/>
                  </a:cubicBezTo>
                  <a:cubicBezTo>
                    <a:pt x="7084111" y="452083"/>
                    <a:pt x="7085120" y="442174"/>
                    <a:pt x="7088802" y="432854"/>
                  </a:cubicBezTo>
                  <a:cubicBezTo>
                    <a:pt x="7095176" y="416697"/>
                    <a:pt x="7105969" y="408261"/>
                    <a:pt x="7118465" y="398499"/>
                  </a:cubicBezTo>
                  <a:cubicBezTo>
                    <a:pt x="7127511" y="391430"/>
                    <a:pt x="7136852" y="384109"/>
                    <a:pt x="7144847" y="373422"/>
                  </a:cubicBezTo>
                  <a:cubicBezTo>
                    <a:pt x="7155198" y="359516"/>
                    <a:pt x="7161698" y="343864"/>
                    <a:pt x="7167988" y="328696"/>
                  </a:cubicBezTo>
                  <a:cubicBezTo>
                    <a:pt x="7169230" y="325708"/>
                    <a:pt x="7170471" y="322721"/>
                    <a:pt x="7171733" y="319754"/>
                  </a:cubicBezTo>
                  <a:cubicBezTo>
                    <a:pt x="7174005" y="314432"/>
                    <a:pt x="7176740" y="309046"/>
                    <a:pt x="7179643" y="303366"/>
                  </a:cubicBezTo>
                  <a:cubicBezTo>
                    <a:pt x="7185597" y="291669"/>
                    <a:pt x="7191740" y="279572"/>
                    <a:pt x="7194538" y="266571"/>
                  </a:cubicBezTo>
                  <a:cubicBezTo>
                    <a:pt x="7196053" y="259544"/>
                    <a:pt x="7196642" y="253780"/>
                    <a:pt x="7196368" y="249004"/>
                  </a:cubicBezTo>
                  <a:cubicBezTo>
                    <a:pt x="7195800" y="238149"/>
                    <a:pt x="7190836" y="232784"/>
                    <a:pt x="7186775" y="230196"/>
                  </a:cubicBezTo>
                  <a:cubicBezTo>
                    <a:pt x="7175562" y="223064"/>
                    <a:pt x="7160814" y="229039"/>
                    <a:pt x="7146551" y="234804"/>
                  </a:cubicBezTo>
                  <a:cubicBezTo>
                    <a:pt x="7141081" y="237013"/>
                    <a:pt x="7135422" y="239306"/>
                    <a:pt x="7132097" y="239811"/>
                  </a:cubicBezTo>
                  <a:cubicBezTo>
                    <a:pt x="7112112" y="242840"/>
                    <a:pt x="7105863" y="233015"/>
                    <a:pt x="7094693" y="212293"/>
                  </a:cubicBezTo>
                  <a:cubicBezTo>
                    <a:pt x="7090169" y="203878"/>
                    <a:pt x="7085478" y="195189"/>
                    <a:pt x="7078851" y="187384"/>
                  </a:cubicBezTo>
                  <a:cubicBezTo>
                    <a:pt x="7058234" y="163359"/>
                    <a:pt x="7021354" y="147875"/>
                    <a:pt x="6979741" y="176466"/>
                  </a:cubicBezTo>
                  <a:cubicBezTo>
                    <a:pt x="6974482" y="180063"/>
                    <a:pt x="6969559" y="184523"/>
                    <a:pt x="6964805" y="188815"/>
                  </a:cubicBezTo>
                  <a:cubicBezTo>
                    <a:pt x="6958199" y="194790"/>
                    <a:pt x="6951382" y="200954"/>
                    <a:pt x="6945871" y="202595"/>
                  </a:cubicBezTo>
                  <a:cubicBezTo>
                    <a:pt x="6942568" y="203583"/>
                    <a:pt x="6939622" y="202889"/>
                    <a:pt x="6934657" y="201606"/>
                  </a:cubicBezTo>
                  <a:cubicBezTo>
                    <a:pt x="6931586" y="200806"/>
                    <a:pt x="6928136" y="199902"/>
                    <a:pt x="6924244" y="199586"/>
                  </a:cubicBezTo>
                  <a:cubicBezTo>
                    <a:pt x="6908865" y="198345"/>
                    <a:pt x="6892939" y="205813"/>
                    <a:pt x="6877519" y="213029"/>
                  </a:cubicBezTo>
                  <a:cubicBezTo>
                    <a:pt x="6867400" y="217763"/>
                    <a:pt x="6856923" y="222686"/>
                    <a:pt x="6848045" y="224264"/>
                  </a:cubicBezTo>
                  <a:cubicBezTo>
                    <a:pt x="6836852" y="226262"/>
                    <a:pt x="6826439" y="225799"/>
                    <a:pt x="6815436" y="225294"/>
                  </a:cubicBezTo>
                  <a:cubicBezTo>
                    <a:pt x="6799658" y="224579"/>
                    <a:pt x="6783332" y="223822"/>
                    <a:pt x="6763977" y="230259"/>
                  </a:cubicBezTo>
                  <a:cubicBezTo>
                    <a:pt x="6754384" y="233457"/>
                    <a:pt x="6744117" y="237665"/>
                    <a:pt x="6734209" y="241725"/>
                  </a:cubicBezTo>
                  <a:cubicBezTo>
                    <a:pt x="6713781" y="250098"/>
                    <a:pt x="6692680" y="258766"/>
                    <a:pt x="6676355" y="259186"/>
                  </a:cubicBezTo>
                  <a:cubicBezTo>
                    <a:pt x="6655801" y="259712"/>
                    <a:pt x="6643683" y="252938"/>
                    <a:pt x="6629608" y="245070"/>
                  </a:cubicBezTo>
                  <a:cubicBezTo>
                    <a:pt x="6620920" y="240210"/>
                    <a:pt x="6611936" y="235203"/>
                    <a:pt x="6600660" y="231753"/>
                  </a:cubicBezTo>
                  <a:cubicBezTo>
                    <a:pt x="6573985" y="223590"/>
                    <a:pt x="6538977" y="234236"/>
                    <a:pt x="6505107" y="244523"/>
                  </a:cubicBezTo>
                  <a:cubicBezTo>
                    <a:pt x="6489854" y="249151"/>
                    <a:pt x="6475464" y="253527"/>
                    <a:pt x="6462147" y="256178"/>
                  </a:cubicBezTo>
                  <a:cubicBezTo>
                    <a:pt x="6435114" y="261585"/>
                    <a:pt x="6415170" y="273156"/>
                    <a:pt x="6401179" y="291459"/>
                  </a:cubicBezTo>
                  <a:cubicBezTo>
                    <a:pt x="6385212" y="312181"/>
                    <a:pt x="6381551" y="329453"/>
                    <a:pt x="6390282" y="342812"/>
                  </a:cubicBezTo>
                  <a:cubicBezTo>
                    <a:pt x="6402484" y="361473"/>
                    <a:pt x="6434125" y="361704"/>
                    <a:pt x="6451249" y="357433"/>
                  </a:cubicBezTo>
                  <a:cubicBezTo>
                    <a:pt x="6453984" y="356739"/>
                    <a:pt x="6457413" y="355708"/>
                    <a:pt x="6461390" y="354530"/>
                  </a:cubicBezTo>
                  <a:cubicBezTo>
                    <a:pt x="6470226" y="351900"/>
                    <a:pt x="6481207" y="348618"/>
                    <a:pt x="6491242" y="346872"/>
                  </a:cubicBezTo>
                  <a:cubicBezTo>
                    <a:pt x="6502982" y="344832"/>
                    <a:pt x="6507315" y="346073"/>
                    <a:pt x="6508472" y="346557"/>
                  </a:cubicBezTo>
                  <a:cubicBezTo>
                    <a:pt x="6508514" y="347167"/>
                    <a:pt x="6508451" y="348576"/>
                    <a:pt x="6507652" y="351122"/>
                  </a:cubicBezTo>
                  <a:cubicBezTo>
                    <a:pt x="6503192" y="365891"/>
                    <a:pt x="6478367" y="381206"/>
                    <a:pt x="6460212" y="392377"/>
                  </a:cubicBezTo>
                  <a:cubicBezTo>
                    <a:pt x="6452028" y="397426"/>
                    <a:pt x="6444959" y="401781"/>
                    <a:pt x="6439658" y="405947"/>
                  </a:cubicBezTo>
                  <a:cubicBezTo>
                    <a:pt x="6428949" y="414446"/>
                    <a:pt x="6418998" y="425028"/>
                    <a:pt x="6409363" y="435273"/>
                  </a:cubicBezTo>
                  <a:cubicBezTo>
                    <a:pt x="6393459" y="452209"/>
                    <a:pt x="6378416" y="468198"/>
                    <a:pt x="6361607" y="473983"/>
                  </a:cubicBezTo>
                  <a:cubicBezTo>
                    <a:pt x="6353192" y="476865"/>
                    <a:pt x="6350247" y="475750"/>
                    <a:pt x="6349552" y="475329"/>
                  </a:cubicBezTo>
                  <a:cubicBezTo>
                    <a:pt x="6346776" y="473710"/>
                    <a:pt x="6345281" y="465421"/>
                    <a:pt x="6344188" y="459383"/>
                  </a:cubicBezTo>
                  <a:cubicBezTo>
                    <a:pt x="6342357" y="449243"/>
                    <a:pt x="6340296" y="437756"/>
                    <a:pt x="6330955" y="431634"/>
                  </a:cubicBezTo>
                  <a:cubicBezTo>
                    <a:pt x="6325422" y="427994"/>
                    <a:pt x="6318521" y="427132"/>
                    <a:pt x="6310464" y="429025"/>
                  </a:cubicBezTo>
                  <a:cubicBezTo>
                    <a:pt x="6288690" y="434137"/>
                    <a:pt x="6269040" y="460603"/>
                    <a:pt x="6254588" y="480063"/>
                  </a:cubicBezTo>
                  <a:cubicBezTo>
                    <a:pt x="6223241" y="522181"/>
                    <a:pt x="6186193" y="586914"/>
                    <a:pt x="6178935" y="629390"/>
                  </a:cubicBezTo>
                  <a:cubicBezTo>
                    <a:pt x="6177526" y="637342"/>
                    <a:pt x="6179082" y="644411"/>
                    <a:pt x="6180471" y="650638"/>
                  </a:cubicBezTo>
                  <a:cubicBezTo>
                    <a:pt x="6182932" y="661767"/>
                    <a:pt x="6184426" y="668478"/>
                    <a:pt x="6169342" y="679754"/>
                  </a:cubicBezTo>
                  <a:cubicBezTo>
                    <a:pt x="6159833" y="686865"/>
                    <a:pt x="6149440" y="689221"/>
                    <a:pt x="6140520" y="690589"/>
                  </a:cubicBezTo>
                  <a:cubicBezTo>
                    <a:pt x="6138080" y="690968"/>
                    <a:pt x="6134630" y="691683"/>
                    <a:pt x="6130275" y="692609"/>
                  </a:cubicBezTo>
                  <a:cubicBezTo>
                    <a:pt x="6103536" y="698205"/>
                    <a:pt x="6086853" y="700056"/>
                    <a:pt x="6080562" y="698141"/>
                  </a:cubicBezTo>
                  <a:cubicBezTo>
                    <a:pt x="6080647" y="697952"/>
                    <a:pt x="6080730" y="697721"/>
                    <a:pt x="6080836" y="697489"/>
                  </a:cubicBezTo>
                  <a:cubicBezTo>
                    <a:pt x="6085653" y="686970"/>
                    <a:pt x="6091965" y="676325"/>
                    <a:pt x="6098634" y="665049"/>
                  </a:cubicBezTo>
                  <a:cubicBezTo>
                    <a:pt x="6107196" y="650575"/>
                    <a:pt x="6116053" y="635638"/>
                    <a:pt x="6121649" y="620722"/>
                  </a:cubicBezTo>
                  <a:cubicBezTo>
                    <a:pt x="6136250" y="582265"/>
                    <a:pt x="6110015" y="571073"/>
                    <a:pt x="6094363" y="564383"/>
                  </a:cubicBezTo>
                  <a:cubicBezTo>
                    <a:pt x="6092028" y="563394"/>
                    <a:pt x="6089840" y="562447"/>
                    <a:pt x="6087799" y="561480"/>
                  </a:cubicBezTo>
                  <a:cubicBezTo>
                    <a:pt x="6085822" y="560533"/>
                    <a:pt x="6083823" y="559586"/>
                    <a:pt x="6081824" y="558639"/>
                  </a:cubicBezTo>
                  <a:cubicBezTo>
                    <a:pt x="6061355" y="548941"/>
                    <a:pt x="6042042" y="539789"/>
                    <a:pt x="6030240" y="525252"/>
                  </a:cubicBezTo>
                  <a:cubicBezTo>
                    <a:pt x="6029293" y="524095"/>
                    <a:pt x="6028199" y="522580"/>
                    <a:pt x="6027042" y="520982"/>
                  </a:cubicBezTo>
                  <a:cubicBezTo>
                    <a:pt x="6020731" y="512209"/>
                    <a:pt x="6010191" y="497545"/>
                    <a:pt x="5991635" y="500028"/>
                  </a:cubicBezTo>
                  <a:cubicBezTo>
                    <a:pt x="5961656" y="504362"/>
                    <a:pt x="5882323" y="583191"/>
                    <a:pt x="5865702" y="619649"/>
                  </a:cubicBezTo>
                  <a:cubicBezTo>
                    <a:pt x="5863894" y="623625"/>
                    <a:pt x="5858360" y="635743"/>
                    <a:pt x="5864462" y="645189"/>
                  </a:cubicBezTo>
                  <a:cubicBezTo>
                    <a:pt x="5874896" y="661683"/>
                    <a:pt x="5896544" y="649923"/>
                    <a:pt x="5912344" y="641318"/>
                  </a:cubicBezTo>
                  <a:cubicBezTo>
                    <a:pt x="5916782" y="638899"/>
                    <a:pt x="5923431" y="635301"/>
                    <a:pt x="5927933" y="633534"/>
                  </a:cubicBezTo>
                  <a:cubicBezTo>
                    <a:pt x="5925618" y="644495"/>
                    <a:pt x="5910156" y="670666"/>
                    <a:pt x="5889749" y="690673"/>
                  </a:cubicBezTo>
                  <a:cubicBezTo>
                    <a:pt x="5853396" y="726374"/>
                    <a:pt x="5819167" y="725954"/>
                    <a:pt x="5796614" y="722545"/>
                  </a:cubicBezTo>
                  <a:cubicBezTo>
                    <a:pt x="5788304" y="721262"/>
                    <a:pt x="5785023" y="715729"/>
                    <a:pt x="5779910" y="706052"/>
                  </a:cubicBezTo>
                  <a:cubicBezTo>
                    <a:pt x="5774609" y="695975"/>
                    <a:pt x="5767350" y="682195"/>
                    <a:pt x="5748921" y="680996"/>
                  </a:cubicBezTo>
                  <a:cubicBezTo>
                    <a:pt x="5730661" y="679881"/>
                    <a:pt x="5710422" y="693134"/>
                    <a:pt x="5688984" y="707167"/>
                  </a:cubicBezTo>
                  <a:cubicBezTo>
                    <a:pt x="5676783" y="715161"/>
                    <a:pt x="5664139" y="723429"/>
                    <a:pt x="5653557" y="727552"/>
                  </a:cubicBezTo>
                  <a:cubicBezTo>
                    <a:pt x="5631825" y="736031"/>
                    <a:pt x="5617856" y="732012"/>
                    <a:pt x="5603066" y="727784"/>
                  </a:cubicBezTo>
                  <a:cubicBezTo>
                    <a:pt x="5597323" y="726143"/>
                    <a:pt x="5591369" y="724439"/>
                    <a:pt x="5585037" y="723492"/>
                  </a:cubicBezTo>
                  <a:cubicBezTo>
                    <a:pt x="5558255" y="719453"/>
                    <a:pt x="5528739" y="718611"/>
                    <a:pt x="5497351" y="721031"/>
                  </a:cubicBezTo>
                  <a:cubicBezTo>
                    <a:pt x="5411832" y="727321"/>
                    <a:pt x="5328311" y="751325"/>
                    <a:pt x="5237554" y="796031"/>
                  </a:cubicBezTo>
                  <a:cubicBezTo>
                    <a:pt x="5323199" y="687538"/>
                    <a:pt x="5419953" y="587630"/>
                    <a:pt x="5525710" y="498597"/>
                  </a:cubicBezTo>
                  <a:cubicBezTo>
                    <a:pt x="5644195" y="398815"/>
                    <a:pt x="5774020" y="312623"/>
                    <a:pt x="5911586" y="242419"/>
                  </a:cubicBezTo>
                  <a:cubicBezTo>
                    <a:pt x="6051614" y="170933"/>
                    <a:pt x="6199973" y="115877"/>
                    <a:pt x="6352540" y="78766"/>
                  </a:cubicBezTo>
                  <a:cubicBezTo>
                    <a:pt x="6509566" y="40561"/>
                    <a:pt x="6671894" y="21206"/>
                    <a:pt x="6835043" y="21206"/>
                  </a:cubicBezTo>
                  <a:cubicBezTo>
                    <a:pt x="7337869" y="21206"/>
                    <a:pt x="7818984" y="205414"/>
                    <a:pt x="8192553" y="540484"/>
                  </a:cubicBezTo>
                  <a:cubicBezTo>
                    <a:pt x="8189271" y="540820"/>
                    <a:pt x="8185969" y="541157"/>
                    <a:pt x="8182686" y="541515"/>
                  </a:cubicBezTo>
                  <a:cubicBezTo>
                    <a:pt x="8171726" y="542693"/>
                    <a:pt x="8161375" y="543787"/>
                    <a:pt x="8151003" y="541641"/>
                  </a:cubicBezTo>
                  <a:cubicBezTo>
                    <a:pt x="8137624" y="538906"/>
                    <a:pt x="8124159" y="530806"/>
                    <a:pt x="8109895" y="522244"/>
                  </a:cubicBezTo>
                  <a:cubicBezTo>
                    <a:pt x="8104405" y="518941"/>
                    <a:pt x="8098746" y="515533"/>
                    <a:pt x="8093044" y="512440"/>
                  </a:cubicBezTo>
                  <a:cubicBezTo>
                    <a:pt x="8063486" y="496388"/>
                    <a:pt x="8039671" y="495126"/>
                    <a:pt x="8022294" y="508696"/>
                  </a:cubicBezTo>
                  <a:cubicBezTo>
                    <a:pt x="8000730" y="525421"/>
                    <a:pt x="8005190" y="555883"/>
                    <a:pt x="8009482" y="585357"/>
                  </a:cubicBezTo>
                  <a:cubicBezTo>
                    <a:pt x="8013374" y="612012"/>
                    <a:pt x="8017392" y="639551"/>
                    <a:pt x="8004201" y="657559"/>
                  </a:cubicBezTo>
                  <a:cubicBezTo>
                    <a:pt x="7978598" y="692230"/>
                    <a:pt x="7910604" y="695806"/>
                    <a:pt x="7888220" y="696984"/>
                  </a:cubicBezTo>
                  <a:cubicBezTo>
                    <a:pt x="7871011" y="697931"/>
                    <a:pt x="7854412" y="703043"/>
                    <a:pt x="7838360" y="708008"/>
                  </a:cubicBezTo>
                  <a:cubicBezTo>
                    <a:pt x="7828409" y="711080"/>
                    <a:pt x="7819026" y="713962"/>
                    <a:pt x="7809580" y="715897"/>
                  </a:cubicBezTo>
                  <a:cubicBezTo>
                    <a:pt x="7806214" y="716592"/>
                    <a:pt x="7801712" y="716991"/>
                    <a:pt x="7796957" y="717433"/>
                  </a:cubicBezTo>
                  <a:cubicBezTo>
                    <a:pt x="7786207" y="718401"/>
                    <a:pt x="7774047" y="719516"/>
                    <a:pt x="7765106" y="724733"/>
                  </a:cubicBezTo>
                  <a:cubicBezTo>
                    <a:pt x="7727553" y="746760"/>
                    <a:pt x="7628276" y="711164"/>
                    <a:pt x="7589271" y="677125"/>
                  </a:cubicBezTo>
                  <a:cubicBezTo>
                    <a:pt x="7589103" y="676052"/>
                    <a:pt x="7589313" y="673611"/>
                    <a:pt x="7589461" y="671928"/>
                  </a:cubicBezTo>
                  <a:cubicBezTo>
                    <a:pt x="7589987" y="665954"/>
                    <a:pt x="7590786" y="656928"/>
                    <a:pt x="7583823" y="649691"/>
                  </a:cubicBezTo>
                  <a:cubicBezTo>
                    <a:pt x="7574755" y="640266"/>
                    <a:pt x="7561586" y="637931"/>
                    <a:pt x="7552497" y="636984"/>
                  </a:cubicBezTo>
                  <a:cubicBezTo>
                    <a:pt x="7536214" y="635280"/>
                    <a:pt x="7518395" y="637426"/>
                    <a:pt x="7500976" y="643212"/>
                  </a:cubicBezTo>
                  <a:cubicBezTo>
                    <a:pt x="7472532" y="652616"/>
                    <a:pt x="7445983" y="672034"/>
                    <a:pt x="7424650" y="687623"/>
                  </a:cubicBezTo>
                  <a:cubicBezTo>
                    <a:pt x="7419707" y="691241"/>
                    <a:pt x="7414321" y="694754"/>
                    <a:pt x="7408620" y="698499"/>
                  </a:cubicBezTo>
                  <a:cubicBezTo>
                    <a:pt x="7390464" y="710386"/>
                    <a:pt x="7369889" y="723850"/>
                    <a:pt x="7355941" y="745435"/>
                  </a:cubicBezTo>
                  <a:cubicBezTo>
                    <a:pt x="7342876" y="765589"/>
                    <a:pt x="7336249" y="788983"/>
                    <a:pt x="7329853" y="811620"/>
                  </a:cubicBezTo>
                  <a:cubicBezTo>
                    <a:pt x="7324342" y="831122"/>
                    <a:pt x="7319124" y="849551"/>
                    <a:pt x="7310162" y="865834"/>
                  </a:cubicBezTo>
                  <a:cubicBezTo>
                    <a:pt x="7297561" y="888660"/>
                    <a:pt x="7280352" y="905343"/>
                    <a:pt x="7262133" y="923015"/>
                  </a:cubicBezTo>
                  <a:cubicBezTo>
                    <a:pt x="7244482" y="940119"/>
                    <a:pt x="7226242" y="957791"/>
                    <a:pt x="7212273" y="981564"/>
                  </a:cubicBezTo>
                  <a:cubicBezTo>
                    <a:pt x="7190120" y="1019053"/>
                    <a:pt x="7193823" y="1055133"/>
                    <a:pt x="7197399" y="1090035"/>
                  </a:cubicBezTo>
                  <a:cubicBezTo>
                    <a:pt x="7198535" y="1101164"/>
                    <a:pt x="7199735" y="1112693"/>
                    <a:pt x="7200029" y="1124032"/>
                  </a:cubicBezTo>
                  <a:cubicBezTo>
                    <a:pt x="7200492" y="1143744"/>
                    <a:pt x="7215387" y="1160280"/>
                    <a:pt x="7233900" y="1161711"/>
                  </a:cubicBezTo>
                  <a:cubicBezTo>
                    <a:pt x="7248690" y="1162868"/>
                    <a:pt x="7258662" y="1152517"/>
                    <a:pt x="7266656" y="1144228"/>
                  </a:cubicBezTo>
                  <a:cubicBezTo>
                    <a:pt x="7271411" y="1139305"/>
                    <a:pt x="7276312" y="1134214"/>
                    <a:pt x="7280078" y="1133794"/>
                  </a:cubicBezTo>
                  <a:cubicBezTo>
                    <a:pt x="7293416" y="1132216"/>
                    <a:pt x="7299307" y="1153443"/>
                    <a:pt x="7305050" y="1179235"/>
                  </a:cubicBezTo>
                  <a:cubicBezTo>
                    <a:pt x="7306312" y="1184937"/>
                    <a:pt x="7307533" y="1190322"/>
                    <a:pt x="7308858" y="1194972"/>
                  </a:cubicBezTo>
                  <a:cubicBezTo>
                    <a:pt x="7316095" y="1220175"/>
                    <a:pt x="7330043" y="1234902"/>
                    <a:pt x="7347084" y="1235364"/>
                  </a:cubicBezTo>
                  <a:cubicBezTo>
                    <a:pt x="7365618" y="1235848"/>
                    <a:pt x="7382217" y="1219102"/>
                    <a:pt x="7392525" y="1189355"/>
                  </a:cubicBezTo>
                  <a:cubicBezTo>
                    <a:pt x="7396396" y="1178204"/>
                    <a:pt x="7398690" y="1166676"/>
                    <a:pt x="7400919" y="1155526"/>
                  </a:cubicBezTo>
                  <a:cubicBezTo>
                    <a:pt x="7402855" y="1145785"/>
                    <a:pt x="7404685" y="1136592"/>
                    <a:pt x="7407483" y="1127714"/>
                  </a:cubicBezTo>
                  <a:cubicBezTo>
                    <a:pt x="7409566" y="1121087"/>
                    <a:pt x="7412154" y="1114670"/>
                    <a:pt x="7414910" y="1107875"/>
                  </a:cubicBezTo>
                  <a:cubicBezTo>
                    <a:pt x="7418171" y="1099796"/>
                    <a:pt x="7421558" y="1091444"/>
                    <a:pt x="7424040" y="1082566"/>
                  </a:cubicBezTo>
                  <a:cubicBezTo>
                    <a:pt x="7429910" y="1061613"/>
                    <a:pt x="7428648" y="1041816"/>
                    <a:pt x="7420527" y="1028204"/>
                  </a:cubicBezTo>
                  <a:cubicBezTo>
                    <a:pt x="7418297" y="1024481"/>
                    <a:pt x="7415667" y="1021367"/>
                    <a:pt x="7413332" y="1018611"/>
                  </a:cubicBezTo>
                  <a:cubicBezTo>
                    <a:pt x="7410555" y="1015329"/>
                    <a:pt x="7408157" y="1012489"/>
                    <a:pt x="7406894" y="1009270"/>
                  </a:cubicBezTo>
                  <a:cubicBezTo>
                    <a:pt x="7403213" y="1000014"/>
                    <a:pt x="7407693" y="986486"/>
                    <a:pt x="7420548" y="967931"/>
                  </a:cubicBezTo>
                  <a:cubicBezTo>
                    <a:pt x="7444510" y="933408"/>
                    <a:pt x="7466179" y="901872"/>
                    <a:pt x="7486607" y="871746"/>
                  </a:cubicBezTo>
                  <a:cubicBezTo>
                    <a:pt x="7487512" y="887693"/>
                    <a:pt x="7482210" y="906080"/>
                    <a:pt x="7470450" y="927749"/>
                  </a:cubicBezTo>
                  <a:cubicBezTo>
                    <a:pt x="7467946" y="932377"/>
                    <a:pt x="7465232" y="937090"/>
                    <a:pt x="7462624" y="941655"/>
                  </a:cubicBezTo>
                  <a:cubicBezTo>
                    <a:pt x="7453535" y="957475"/>
                    <a:pt x="7444152" y="973843"/>
                    <a:pt x="7439167" y="992924"/>
                  </a:cubicBezTo>
                  <a:cubicBezTo>
                    <a:pt x="7432224" y="1019327"/>
                    <a:pt x="7436768" y="1053429"/>
                    <a:pt x="7458858" y="1067482"/>
                  </a:cubicBezTo>
                  <a:cubicBezTo>
                    <a:pt x="7477287" y="1079179"/>
                    <a:pt x="7497084" y="1072300"/>
                    <a:pt x="7514566" y="1066220"/>
                  </a:cubicBezTo>
                  <a:cubicBezTo>
                    <a:pt x="7525821" y="1062307"/>
                    <a:pt x="7536571" y="1058562"/>
                    <a:pt x="7545871" y="1059867"/>
                  </a:cubicBezTo>
                  <a:cubicBezTo>
                    <a:pt x="7529040" y="1079263"/>
                    <a:pt x="7505457" y="1090224"/>
                    <a:pt x="7482420" y="1089341"/>
                  </a:cubicBezTo>
                  <a:cubicBezTo>
                    <a:pt x="7479138" y="1089256"/>
                    <a:pt x="7476109" y="1089909"/>
                    <a:pt x="7473437" y="1091234"/>
                  </a:cubicBezTo>
                  <a:cubicBezTo>
                    <a:pt x="7467778" y="1094053"/>
                    <a:pt x="7464159" y="1099481"/>
                    <a:pt x="7463507" y="1106108"/>
                  </a:cubicBezTo>
                  <a:cubicBezTo>
                    <a:pt x="7462455" y="1116921"/>
                    <a:pt x="7469229" y="1129355"/>
                    <a:pt x="7476130" y="1134677"/>
                  </a:cubicBezTo>
                  <a:cubicBezTo>
                    <a:pt x="7476908" y="1135287"/>
                    <a:pt x="7477624" y="1136634"/>
                    <a:pt x="7477392" y="1138338"/>
                  </a:cubicBezTo>
                  <a:cubicBezTo>
                    <a:pt x="7477350" y="1138632"/>
                    <a:pt x="7477308" y="1138906"/>
                    <a:pt x="7477266" y="1139095"/>
                  </a:cubicBezTo>
                  <a:cubicBezTo>
                    <a:pt x="7476677" y="1139179"/>
                    <a:pt x="7475941" y="1139242"/>
                    <a:pt x="7475373" y="1139305"/>
                  </a:cubicBezTo>
                  <a:lnTo>
                    <a:pt x="7475099" y="1139305"/>
                  </a:lnTo>
                  <a:cubicBezTo>
                    <a:pt x="7452904" y="1141514"/>
                    <a:pt x="7436074" y="1153254"/>
                    <a:pt x="7430099" y="1170757"/>
                  </a:cubicBezTo>
                  <a:cubicBezTo>
                    <a:pt x="7426754" y="1180519"/>
                    <a:pt x="7427238" y="1190827"/>
                    <a:pt x="7427659" y="1199916"/>
                  </a:cubicBezTo>
                  <a:cubicBezTo>
                    <a:pt x="7428080" y="1208962"/>
                    <a:pt x="7428479" y="1217503"/>
                    <a:pt x="7425113" y="1223247"/>
                  </a:cubicBezTo>
                  <a:cubicBezTo>
                    <a:pt x="7421074" y="1230084"/>
                    <a:pt x="7416214" y="1230547"/>
                    <a:pt x="7403339" y="1230105"/>
                  </a:cubicBezTo>
                  <a:cubicBezTo>
                    <a:pt x="7394461" y="1229789"/>
                    <a:pt x="7384405" y="1229453"/>
                    <a:pt x="7375064" y="1234628"/>
                  </a:cubicBezTo>
                  <a:cubicBezTo>
                    <a:pt x="7352680" y="1246893"/>
                    <a:pt x="7323437" y="1256444"/>
                    <a:pt x="7308500" y="1250133"/>
                  </a:cubicBezTo>
                  <a:cubicBezTo>
                    <a:pt x="7303619" y="1248071"/>
                    <a:pt x="7300548" y="1244284"/>
                    <a:pt x="7298886" y="1238268"/>
                  </a:cubicBezTo>
                  <a:cubicBezTo>
                    <a:pt x="7297077" y="1231683"/>
                    <a:pt x="7299517" y="1225140"/>
                    <a:pt x="7302357" y="1217587"/>
                  </a:cubicBezTo>
                  <a:cubicBezTo>
                    <a:pt x="7306018" y="1207826"/>
                    <a:pt x="7310583" y="1195666"/>
                    <a:pt x="7305071" y="1181823"/>
                  </a:cubicBezTo>
                  <a:cubicBezTo>
                    <a:pt x="7301179" y="1171998"/>
                    <a:pt x="7292827" y="1164740"/>
                    <a:pt x="7282161" y="1161858"/>
                  </a:cubicBezTo>
                  <a:cubicBezTo>
                    <a:pt x="7270947" y="1158850"/>
                    <a:pt x="7259103" y="1161122"/>
                    <a:pt x="7250478" y="1167938"/>
                  </a:cubicBezTo>
                  <a:cubicBezTo>
                    <a:pt x="7228051" y="1185568"/>
                    <a:pt x="7232890" y="1210876"/>
                    <a:pt x="7236782" y="1231199"/>
                  </a:cubicBezTo>
                  <a:cubicBezTo>
                    <a:pt x="7238655" y="1240981"/>
                    <a:pt x="7240422" y="1250217"/>
                    <a:pt x="7239517" y="1257980"/>
                  </a:cubicBezTo>
                  <a:cubicBezTo>
                    <a:pt x="7237813" y="1272139"/>
                    <a:pt x="7230071" y="1276430"/>
                    <a:pt x="7215387" y="1283394"/>
                  </a:cubicBezTo>
                  <a:cubicBezTo>
                    <a:pt x="7208192" y="1286802"/>
                    <a:pt x="7200008" y="1290673"/>
                    <a:pt x="7193087" y="1296816"/>
                  </a:cubicBezTo>
                  <a:cubicBezTo>
                    <a:pt x="7177645" y="1310469"/>
                    <a:pt x="7167862" y="1328373"/>
                    <a:pt x="7158395" y="1345687"/>
                  </a:cubicBezTo>
                  <a:cubicBezTo>
                    <a:pt x="7151642" y="1358036"/>
                    <a:pt x="7145288" y="1369691"/>
                    <a:pt x="7137105" y="1379642"/>
                  </a:cubicBezTo>
                  <a:cubicBezTo>
                    <a:pt x="7132834" y="1384859"/>
                    <a:pt x="7115373" y="1393148"/>
                    <a:pt x="7099973" y="1400470"/>
                  </a:cubicBezTo>
                  <a:cubicBezTo>
                    <a:pt x="7061873" y="1418562"/>
                    <a:pt x="7014454" y="1441051"/>
                    <a:pt x="7028549" y="1474228"/>
                  </a:cubicBezTo>
                  <a:cubicBezTo>
                    <a:pt x="7033073" y="1484768"/>
                    <a:pt x="7041256" y="1491037"/>
                    <a:pt x="7048472" y="1496570"/>
                  </a:cubicBezTo>
                  <a:cubicBezTo>
                    <a:pt x="7050345" y="1498001"/>
                    <a:pt x="7052112" y="1499369"/>
                    <a:pt x="7053731" y="1500715"/>
                  </a:cubicBezTo>
                  <a:cubicBezTo>
                    <a:pt x="7070878" y="1515189"/>
                    <a:pt x="7084847" y="1557706"/>
                    <a:pt x="7076179" y="1582994"/>
                  </a:cubicBezTo>
                  <a:cubicBezTo>
                    <a:pt x="7072035" y="1595112"/>
                    <a:pt x="7063409" y="1601276"/>
                    <a:pt x="7049819" y="1601823"/>
                  </a:cubicBezTo>
                  <a:cubicBezTo>
                    <a:pt x="7042939" y="1602096"/>
                    <a:pt x="7033662" y="1600203"/>
                    <a:pt x="7023837" y="1598204"/>
                  </a:cubicBezTo>
                  <a:cubicBezTo>
                    <a:pt x="6997161" y="1592777"/>
                    <a:pt x="6960618" y="1585329"/>
                    <a:pt x="6943830" y="1620967"/>
                  </a:cubicBezTo>
                  <a:cubicBezTo>
                    <a:pt x="6943746" y="1621136"/>
                    <a:pt x="6943683" y="1621304"/>
                    <a:pt x="6943599" y="1621472"/>
                  </a:cubicBezTo>
                  <a:cubicBezTo>
                    <a:pt x="6935099" y="1642342"/>
                    <a:pt x="6937560" y="1661002"/>
                    <a:pt x="6939959" y="1679074"/>
                  </a:cubicBezTo>
                  <a:cubicBezTo>
                    <a:pt x="6940864" y="1685932"/>
                    <a:pt x="6941810" y="1693022"/>
                    <a:pt x="6942105" y="1700133"/>
                  </a:cubicBezTo>
                  <a:cubicBezTo>
                    <a:pt x="6941095" y="1707075"/>
                    <a:pt x="6939244" y="1714544"/>
                    <a:pt x="6937287" y="1722454"/>
                  </a:cubicBezTo>
                  <a:cubicBezTo>
                    <a:pt x="6930513" y="1749761"/>
                    <a:pt x="6922098" y="1783758"/>
                    <a:pt x="6951109" y="1806732"/>
                  </a:cubicBezTo>
                  <a:cubicBezTo>
                    <a:pt x="6951972" y="1807426"/>
                    <a:pt x="6952960" y="1807973"/>
                    <a:pt x="6953991" y="1808352"/>
                  </a:cubicBezTo>
                  <a:cubicBezTo>
                    <a:pt x="6962217" y="1811381"/>
                    <a:pt x="6970064" y="1814726"/>
                    <a:pt x="6977638" y="1817924"/>
                  </a:cubicBezTo>
                  <a:cubicBezTo>
                    <a:pt x="7016431" y="1834375"/>
                    <a:pt x="7053080" y="1849922"/>
                    <a:pt x="7097196" y="1801767"/>
                  </a:cubicBezTo>
                  <a:cubicBezTo>
                    <a:pt x="7120359" y="1783295"/>
                    <a:pt x="7124377" y="1756178"/>
                    <a:pt x="7127932" y="1732216"/>
                  </a:cubicBezTo>
                  <a:cubicBezTo>
                    <a:pt x="7129152" y="1723969"/>
                    <a:pt x="7130331" y="1716122"/>
                    <a:pt x="7132140" y="1708611"/>
                  </a:cubicBezTo>
                  <a:cubicBezTo>
                    <a:pt x="7142806" y="1699565"/>
                    <a:pt x="7150190" y="1694852"/>
                    <a:pt x="7155681" y="1691360"/>
                  </a:cubicBezTo>
                  <a:cubicBezTo>
                    <a:pt x="7173521" y="1680000"/>
                    <a:pt x="7176067" y="1675287"/>
                    <a:pt x="7187049" y="1630603"/>
                  </a:cubicBezTo>
                  <a:cubicBezTo>
                    <a:pt x="7188563" y="1629004"/>
                    <a:pt x="7191446" y="1629088"/>
                    <a:pt x="7202574" y="1632433"/>
                  </a:cubicBezTo>
                  <a:cubicBezTo>
                    <a:pt x="7212189" y="1635315"/>
                    <a:pt x="7223086" y="1638597"/>
                    <a:pt x="7233206" y="1633632"/>
                  </a:cubicBezTo>
                  <a:cubicBezTo>
                    <a:pt x="7243072" y="1628751"/>
                    <a:pt x="7248037" y="1619326"/>
                    <a:pt x="7252413" y="1611016"/>
                  </a:cubicBezTo>
                  <a:cubicBezTo>
                    <a:pt x="7255274" y="1605568"/>
                    <a:pt x="7258009" y="1600371"/>
                    <a:pt x="7261207" y="1598352"/>
                  </a:cubicBezTo>
                  <a:cubicBezTo>
                    <a:pt x="7262595" y="1600645"/>
                    <a:pt x="7264152" y="1605105"/>
                    <a:pt x="7264994" y="1607461"/>
                  </a:cubicBezTo>
                  <a:lnTo>
                    <a:pt x="7265457" y="1608786"/>
                  </a:lnTo>
                  <a:cubicBezTo>
                    <a:pt x="7276502" y="1646087"/>
                    <a:pt x="7304945" y="1666283"/>
                    <a:pt x="7332463" y="1685806"/>
                  </a:cubicBezTo>
                  <a:cubicBezTo>
                    <a:pt x="7342539" y="1692959"/>
                    <a:pt x="7352048" y="1699712"/>
                    <a:pt x="7360548" y="1707180"/>
                  </a:cubicBezTo>
                  <a:cubicBezTo>
                    <a:pt x="7360653" y="1707265"/>
                    <a:pt x="7360737" y="1707349"/>
                    <a:pt x="7360843" y="1707433"/>
                  </a:cubicBezTo>
                  <a:cubicBezTo>
                    <a:pt x="7367764" y="1713071"/>
                    <a:pt x="7367070" y="1726746"/>
                    <a:pt x="7366417" y="1739957"/>
                  </a:cubicBezTo>
                  <a:cubicBezTo>
                    <a:pt x="7366249" y="1743303"/>
                    <a:pt x="7366081" y="1746753"/>
                    <a:pt x="7366039" y="1750014"/>
                  </a:cubicBezTo>
                  <a:cubicBezTo>
                    <a:pt x="7365870" y="1759144"/>
                    <a:pt x="7369742" y="1767601"/>
                    <a:pt x="7376389" y="1772671"/>
                  </a:cubicBezTo>
                  <a:cubicBezTo>
                    <a:pt x="7383185" y="1777826"/>
                    <a:pt x="7389244" y="1776669"/>
                    <a:pt x="7392273" y="1775512"/>
                  </a:cubicBezTo>
                  <a:cubicBezTo>
                    <a:pt x="7403823" y="1771115"/>
                    <a:pt x="7407021" y="1754979"/>
                    <a:pt x="7411060" y="1734572"/>
                  </a:cubicBezTo>
                  <a:cubicBezTo>
                    <a:pt x="7412406" y="1727713"/>
                    <a:pt x="7414573" y="1716774"/>
                    <a:pt x="7416509" y="1712356"/>
                  </a:cubicBezTo>
                  <a:cubicBezTo>
                    <a:pt x="7427301" y="1709432"/>
                    <a:pt x="7431151" y="1703288"/>
                    <a:pt x="7432455" y="1698387"/>
                  </a:cubicBezTo>
                  <a:cubicBezTo>
                    <a:pt x="7436915" y="1681620"/>
                    <a:pt x="7416361" y="1663148"/>
                    <a:pt x="7384510" y="1636851"/>
                  </a:cubicBezTo>
                  <a:cubicBezTo>
                    <a:pt x="7375927" y="1629782"/>
                    <a:pt x="7364187" y="1620084"/>
                    <a:pt x="7362273" y="1616928"/>
                  </a:cubicBezTo>
                  <a:cubicBezTo>
                    <a:pt x="7361515" y="1615645"/>
                    <a:pt x="7360485" y="1614530"/>
                    <a:pt x="7359265" y="1613667"/>
                  </a:cubicBezTo>
                  <a:cubicBezTo>
                    <a:pt x="7345653" y="1604116"/>
                    <a:pt x="7334419" y="1583120"/>
                    <a:pt x="7330296" y="1570203"/>
                  </a:cubicBezTo>
                  <a:cubicBezTo>
                    <a:pt x="7334103" y="1573422"/>
                    <a:pt x="7339426" y="1578576"/>
                    <a:pt x="7346642" y="1586739"/>
                  </a:cubicBezTo>
                  <a:cubicBezTo>
                    <a:pt x="7357687" y="1599761"/>
                    <a:pt x="7371298" y="1609544"/>
                    <a:pt x="7384468" y="1618990"/>
                  </a:cubicBezTo>
                  <a:cubicBezTo>
                    <a:pt x="7397533" y="1628373"/>
                    <a:pt x="7409881" y="1637230"/>
                    <a:pt x="7418991" y="1648590"/>
                  </a:cubicBezTo>
                  <a:cubicBezTo>
                    <a:pt x="7426628" y="1658120"/>
                    <a:pt x="7429636" y="1671816"/>
                    <a:pt x="7432834" y="1686332"/>
                  </a:cubicBezTo>
                  <a:cubicBezTo>
                    <a:pt x="7436410" y="1702531"/>
                    <a:pt x="7440092" y="1719277"/>
                    <a:pt x="7450569" y="1733562"/>
                  </a:cubicBezTo>
                  <a:cubicBezTo>
                    <a:pt x="7455870" y="1740736"/>
                    <a:pt x="7470176" y="1758092"/>
                    <a:pt x="7488710" y="1764467"/>
                  </a:cubicBezTo>
                  <a:cubicBezTo>
                    <a:pt x="7498009" y="1767685"/>
                    <a:pt x="7511431" y="1771051"/>
                    <a:pt x="7520499" y="1763120"/>
                  </a:cubicBezTo>
                  <a:cubicBezTo>
                    <a:pt x="7530576" y="1754326"/>
                    <a:pt x="7527526" y="1739200"/>
                    <a:pt x="7524580" y="1724579"/>
                  </a:cubicBezTo>
                  <a:cubicBezTo>
                    <a:pt x="7523612" y="1719782"/>
                    <a:pt x="7522624" y="1714838"/>
                    <a:pt x="7522182" y="1710568"/>
                  </a:cubicBezTo>
                  <a:cubicBezTo>
                    <a:pt x="7520499" y="1693737"/>
                    <a:pt x="7522560" y="1689740"/>
                    <a:pt x="7536004" y="1683871"/>
                  </a:cubicBezTo>
                  <a:cubicBezTo>
                    <a:pt x="7539054" y="1682545"/>
                    <a:pt x="7541684" y="1683260"/>
                    <a:pt x="7547869" y="1685511"/>
                  </a:cubicBezTo>
                  <a:cubicBezTo>
                    <a:pt x="7552098" y="1687047"/>
                    <a:pt x="7556873" y="1688793"/>
                    <a:pt x="7562490" y="1689151"/>
                  </a:cubicBezTo>
                  <a:cubicBezTo>
                    <a:pt x="7570779" y="1689677"/>
                    <a:pt x="7597014" y="1684502"/>
                    <a:pt x="7607217" y="1669670"/>
                  </a:cubicBezTo>
                  <a:cubicBezTo>
                    <a:pt x="7611929" y="1662812"/>
                    <a:pt x="7612603" y="1654838"/>
                    <a:pt x="7609089" y="1647159"/>
                  </a:cubicBezTo>
                  <a:cubicBezTo>
                    <a:pt x="7607007" y="1642699"/>
                    <a:pt x="7604019" y="1639375"/>
                    <a:pt x="7601621" y="1636704"/>
                  </a:cubicBezTo>
                  <a:cubicBezTo>
                    <a:pt x="7600443" y="1635399"/>
                    <a:pt x="7599349" y="1634158"/>
                    <a:pt x="7598507" y="1633001"/>
                  </a:cubicBezTo>
                  <a:cubicBezTo>
                    <a:pt x="7594110" y="1626437"/>
                    <a:pt x="7596845" y="1588821"/>
                    <a:pt x="7609510" y="1552279"/>
                  </a:cubicBezTo>
                  <a:cubicBezTo>
                    <a:pt x="7617483" y="1529305"/>
                    <a:pt x="7624657" y="1521248"/>
                    <a:pt x="7627266" y="1519670"/>
                  </a:cubicBezTo>
                  <a:cubicBezTo>
                    <a:pt x="7631452" y="1522510"/>
                    <a:pt x="7637133" y="1535154"/>
                    <a:pt x="7640940" y="1543653"/>
                  </a:cubicBezTo>
                  <a:cubicBezTo>
                    <a:pt x="7648703" y="1560925"/>
                    <a:pt x="7657476" y="1580491"/>
                    <a:pt x="7674369" y="1580491"/>
                  </a:cubicBezTo>
                  <a:cubicBezTo>
                    <a:pt x="7674643" y="1580491"/>
                    <a:pt x="7674916" y="1580491"/>
                    <a:pt x="7675190" y="1580491"/>
                  </a:cubicBezTo>
                  <a:cubicBezTo>
                    <a:pt x="7684930" y="1580133"/>
                    <a:pt x="7690800" y="1575841"/>
                    <a:pt x="7693998" y="1572307"/>
                  </a:cubicBezTo>
                  <a:cubicBezTo>
                    <a:pt x="7703486" y="1561851"/>
                    <a:pt x="7702476" y="1545294"/>
                    <a:pt x="7701593" y="1530694"/>
                  </a:cubicBezTo>
                  <a:cubicBezTo>
                    <a:pt x="7701256" y="1525182"/>
                    <a:pt x="7700941" y="1519986"/>
                    <a:pt x="7701298" y="1516451"/>
                  </a:cubicBezTo>
                  <a:cubicBezTo>
                    <a:pt x="7701824" y="1511549"/>
                    <a:pt x="7708409" y="1501809"/>
                    <a:pt x="7719580" y="1493394"/>
                  </a:cubicBezTo>
                  <a:cubicBezTo>
                    <a:pt x="7726943" y="1487840"/>
                    <a:pt x="7732728" y="1485568"/>
                    <a:pt x="7735695" y="1484979"/>
                  </a:cubicBezTo>
                  <a:cubicBezTo>
                    <a:pt x="7735695" y="1485778"/>
                    <a:pt x="7735590" y="1486872"/>
                    <a:pt x="7735338" y="1488345"/>
                  </a:cubicBezTo>
                  <a:cubicBezTo>
                    <a:pt x="7734664" y="1492216"/>
                    <a:pt x="7732792" y="1496023"/>
                    <a:pt x="7730625" y="1500420"/>
                  </a:cubicBezTo>
                  <a:cubicBezTo>
                    <a:pt x="7729173" y="1503345"/>
                    <a:pt x="7727680" y="1506395"/>
                    <a:pt x="7726417" y="1509719"/>
                  </a:cubicBezTo>
                  <a:cubicBezTo>
                    <a:pt x="7700962" y="1575967"/>
                    <a:pt x="7792013" y="1644446"/>
                    <a:pt x="7858514" y="1694474"/>
                  </a:cubicBezTo>
                  <a:cubicBezTo>
                    <a:pt x="7876922" y="1708317"/>
                    <a:pt x="7892827" y="1720287"/>
                    <a:pt x="7901684" y="1728997"/>
                  </a:cubicBezTo>
                  <a:cubicBezTo>
                    <a:pt x="7919882" y="1747026"/>
                    <a:pt x="7968206" y="1794908"/>
                    <a:pt x="7957182" y="1829579"/>
                  </a:cubicBezTo>
                  <a:cubicBezTo>
                    <a:pt x="7952953" y="1842875"/>
                    <a:pt x="7937595" y="1852910"/>
                    <a:pt x="7918072" y="1855119"/>
                  </a:cubicBezTo>
                  <a:cubicBezTo>
                    <a:pt x="7901031" y="1857054"/>
                    <a:pt x="7879993" y="1852468"/>
                    <a:pt x="7871410" y="1837931"/>
                  </a:cubicBezTo>
                  <a:cubicBezTo>
                    <a:pt x="7865751" y="1828338"/>
                    <a:pt x="7866130" y="1814999"/>
                    <a:pt x="7866508" y="1800862"/>
                  </a:cubicBezTo>
                  <a:cubicBezTo>
                    <a:pt x="7866635" y="1795939"/>
                    <a:pt x="7866782" y="1790848"/>
                    <a:pt x="7866656" y="1785799"/>
                  </a:cubicBezTo>
                  <a:cubicBezTo>
                    <a:pt x="7866088" y="1763835"/>
                    <a:pt x="7858430" y="1747720"/>
                    <a:pt x="7843872" y="1737875"/>
                  </a:cubicBezTo>
                  <a:cubicBezTo>
                    <a:pt x="7805667" y="1712061"/>
                    <a:pt x="7732329" y="1739389"/>
                    <a:pt x="7683815" y="1757461"/>
                  </a:cubicBezTo>
                  <a:cubicBezTo>
                    <a:pt x="7673381" y="1761353"/>
                    <a:pt x="7664355" y="1764698"/>
                    <a:pt x="7658444" y="1766423"/>
                  </a:cubicBezTo>
                  <a:cubicBezTo>
                    <a:pt x="7612960" y="1779551"/>
                    <a:pt x="7583107" y="1799600"/>
                    <a:pt x="7567182" y="1827685"/>
                  </a:cubicBezTo>
                  <a:cubicBezTo>
                    <a:pt x="7557125" y="1845483"/>
                    <a:pt x="7553128" y="1865596"/>
                    <a:pt x="7549278" y="1885035"/>
                  </a:cubicBezTo>
                  <a:cubicBezTo>
                    <a:pt x="7544924" y="1906977"/>
                    <a:pt x="7540821" y="1927699"/>
                    <a:pt x="7528682" y="1944614"/>
                  </a:cubicBezTo>
                  <a:cubicBezTo>
                    <a:pt x="7521992" y="1953934"/>
                    <a:pt x="7514166" y="1962370"/>
                    <a:pt x="7505899" y="1971332"/>
                  </a:cubicBezTo>
                  <a:cubicBezTo>
                    <a:pt x="7486838" y="1991928"/>
                    <a:pt x="7467146" y="2013239"/>
                    <a:pt x="7461109" y="2046016"/>
                  </a:cubicBezTo>
                  <a:cubicBezTo>
                    <a:pt x="7457911" y="2063372"/>
                    <a:pt x="7459552" y="2080729"/>
                    <a:pt x="7461151" y="2097517"/>
                  </a:cubicBezTo>
                  <a:cubicBezTo>
                    <a:pt x="7462077" y="2107216"/>
                    <a:pt x="7462939" y="2116367"/>
                    <a:pt x="7462939" y="2125497"/>
                  </a:cubicBezTo>
                  <a:cubicBezTo>
                    <a:pt x="7462939" y="2139866"/>
                    <a:pt x="7460794" y="2153983"/>
                    <a:pt x="7458521" y="2168898"/>
                  </a:cubicBezTo>
                  <a:cubicBezTo>
                    <a:pt x="7456796" y="2180259"/>
                    <a:pt x="7455008" y="2191998"/>
                    <a:pt x="7454251" y="2203905"/>
                  </a:cubicBezTo>
                  <a:cubicBezTo>
                    <a:pt x="7449728" y="2275350"/>
                    <a:pt x="7526158" y="2381234"/>
                    <a:pt x="7576543" y="2409887"/>
                  </a:cubicBezTo>
                  <a:cubicBezTo>
                    <a:pt x="7616536" y="2432566"/>
                    <a:pt x="7661137" y="2416788"/>
                    <a:pt x="7700499" y="2402861"/>
                  </a:cubicBezTo>
                  <a:cubicBezTo>
                    <a:pt x="7706747" y="2400652"/>
                    <a:pt x="7713185" y="2398380"/>
                    <a:pt x="7719391" y="2396318"/>
                  </a:cubicBezTo>
                  <a:cubicBezTo>
                    <a:pt x="7734791" y="2391248"/>
                    <a:pt x="7787048" y="2376795"/>
                    <a:pt x="7813409" y="2403723"/>
                  </a:cubicBezTo>
                  <a:cubicBezTo>
                    <a:pt x="7830660" y="2421374"/>
                    <a:pt x="7829103" y="2447987"/>
                    <a:pt x="7827441" y="2476199"/>
                  </a:cubicBezTo>
                  <a:cubicBezTo>
                    <a:pt x="7826431" y="2493407"/>
                    <a:pt x="7825379" y="2511227"/>
                    <a:pt x="7828682" y="2527805"/>
                  </a:cubicBezTo>
                  <a:cubicBezTo>
                    <a:pt x="7833479" y="2552061"/>
                    <a:pt x="7845471" y="2571269"/>
                    <a:pt x="7857062" y="2589866"/>
                  </a:cubicBezTo>
                  <a:cubicBezTo>
                    <a:pt x="7870464" y="2611367"/>
                    <a:pt x="7883129" y="2631668"/>
                    <a:pt x="7883696" y="2658323"/>
                  </a:cubicBezTo>
                  <a:cubicBezTo>
                    <a:pt x="7884117" y="2677825"/>
                    <a:pt x="7877574" y="2696696"/>
                    <a:pt x="7870674" y="2716682"/>
                  </a:cubicBezTo>
                  <a:cubicBezTo>
                    <a:pt x="7866109" y="2729873"/>
                    <a:pt x="7861396" y="2743527"/>
                    <a:pt x="7858640" y="2757748"/>
                  </a:cubicBezTo>
                  <a:cubicBezTo>
                    <a:pt x="7849468" y="2804915"/>
                    <a:pt x="7862364" y="2851935"/>
                    <a:pt x="7873745" y="2893442"/>
                  </a:cubicBezTo>
                  <a:cubicBezTo>
                    <a:pt x="7891627" y="2958428"/>
                    <a:pt x="7907196" y="3018029"/>
                    <a:pt x="7921291" y="3075609"/>
                  </a:cubicBezTo>
                  <a:cubicBezTo>
                    <a:pt x="7924173" y="3087475"/>
                    <a:pt x="7927771" y="3102222"/>
                    <a:pt x="7936291" y="3112531"/>
                  </a:cubicBezTo>
                  <a:cubicBezTo>
                    <a:pt x="7945421" y="3123618"/>
                    <a:pt x="7967259" y="3138092"/>
                    <a:pt x="8010807" y="3110532"/>
                  </a:cubicBezTo>
                  <a:cubicBezTo>
                    <a:pt x="8095169" y="3056907"/>
                    <a:pt x="8169538" y="2954473"/>
                    <a:pt x="8204882" y="2843204"/>
                  </a:cubicBezTo>
                  <a:cubicBezTo>
                    <a:pt x="8206165" y="2839123"/>
                    <a:pt x="8207406" y="2835041"/>
                    <a:pt x="8208647" y="2830918"/>
                  </a:cubicBezTo>
                  <a:cubicBezTo>
                    <a:pt x="8213886" y="2813604"/>
                    <a:pt x="8218829" y="2797257"/>
                    <a:pt x="8227034" y="2782868"/>
                  </a:cubicBezTo>
                  <a:cubicBezTo>
                    <a:pt x="8233598" y="2771297"/>
                    <a:pt x="8242139" y="2761283"/>
                    <a:pt x="8251186" y="2750680"/>
                  </a:cubicBezTo>
                  <a:cubicBezTo>
                    <a:pt x="8263367" y="2736374"/>
                    <a:pt x="8275969" y="2721605"/>
                    <a:pt x="8283668" y="2702524"/>
                  </a:cubicBezTo>
                  <a:cubicBezTo>
                    <a:pt x="8295933" y="2672313"/>
                    <a:pt x="8291894" y="2641788"/>
                    <a:pt x="8287981" y="2612271"/>
                  </a:cubicBezTo>
                  <a:cubicBezTo>
                    <a:pt x="8285835" y="2596114"/>
                    <a:pt x="8283626" y="2579410"/>
                    <a:pt x="8284278" y="2563253"/>
                  </a:cubicBezTo>
                  <a:cubicBezTo>
                    <a:pt x="8285141" y="2537734"/>
                    <a:pt x="8316634" y="2487265"/>
                    <a:pt x="8347076" y="2438435"/>
                  </a:cubicBezTo>
                  <a:cubicBezTo>
                    <a:pt x="8396136" y="2359775"/>
                    <a:pt x="8446859" y="2278443"/>
                    <a:pt x="8426789" y="2229277"/>
                  </a:cubicBezTo>
                  <a:cubicBezTo>
                    <a:pt x="8420120" y="2212973"/>
                    <a:pt x="8406382" y="2201486"/>
                    <a:pt x="8385954" y="2195112"/>
                  </a:cubicBezTo>
                  <a:cubicBezTo>
                    <a:pt x="8376130" y="2192040"/>
                    <a:pt x="8366200" y="2190631"/>
                    <a:pt x="8356585" y="2189284"/>
                  </a:cubicBezTo>
                  <a:cubicBezTo>
                    <a:pt x="8350379" y="2188401"/>
                    <a:pt x="8344510" y="2187580"/>
                    <a:pt x="8338724" y="2186339"/>
                  </a:cubicBezTo>
                  <a:cubicBezTo>
                    <a:pt x="8272581" y="2172159"/>
                    <a:pt x="8241340" y="2108877"/>
                    <a:pt x="8210078" y="2033814"/>
                  </a:cubicBezTo>
                  <a:cubicBezTo>
                    <a:pt x="8201663" y="2013555"/>
                    <a:pt x="8196403" y="1991444"/>
                    <a:pt x="8191291" y="1970070"/>
                  </a:cubicBezTo>
                  <a:cubicBezTo>
                    <a:pt x="8189187" y="1961276"/>
                    <a:pt x="8187041" y="1952250"/>
                    <a:pt x="8184685" y="1943457"/>
                  </a:cubicBezTo>
                  <a:cubicBezTo>
                    <a:pt x="8194615" y="1934516"/>
                    <a:pt x="8202799" y="1930203"/>
                    <a:pt x="8209047" y="1930666"/>
                  </a:cubicBezTo>
                  <a:cubicBezTo>
                    <a:pt x="8217294" y="1931255"/>
                    <a:pt x="8225014" y="1941079"/>
                    <a:pt x="8233198" y="1951472"/>
                  </a:cubicBezTo>
                  <a:cubicBezTo>
                    <a:pt x="8244727" y="1966114"/>
                    <a:pt x="8259075" y="1984333"/>
                    <a:pt x="8282848" y="1985133"/>
                  </a:cubicBezTo>
                  <a:cubicBezTo>
                    <a:pt x="8299068" y="1985659"/>
                    <a:pt x="8307399" y="1977559"/>
                    <a:pt x="8311628" y="1970659"/>
                  </a:cubicBezTo>
                  <a:cubicBezTo>
                    <a:pt x="8328353" y="1943246"/>
                    <a:pt x="8306915" y="1885813"/>
                    <a:pt x="8299657" y="1872875"/>
                  </a:cubicBezTo>
                  <a:cubicBezTo>
                    <a:pt x="8292378" y="1859789"/>
                    <a:pt x="8283963" y="1852152"/>
                    <a:pt x="8277209" y="1846009"/>
                  </a:cubicBezTo>
                  <a:cubicBezTo>
                    <a:pt x="8265386" y="1835259"/>
                    <a:pt x="8258233" y="1828758"/>
                    <a:pt x="8260737" y="1796549"/>
                  </a:cubicBezTo>
                  <a:cubicBezTo>
                    <a:pt x="8263451" y="1758934"/>
                    <a:pt x="8272623" y="1736444"/>
                    <a:pt x="8285919" y="1734866"/>
                  </a:cubicBezTo>
                  <a:cubicBezTo>
                    <a:pt x="8308409" y="1732195"/>
                    <a:pt x="8346803" y="1778352"/>
                    <a:pt x="8362034" y="1826234"/>
                  </a:cubicBezTo>
                  <a:cubicBezTo>
                    <a:pt x="8370555" y="1853583"/>
                    <a:pt x="8384776" y="1870098"/>
                    <a:pt x="8404278" y="1875273"/>
                  </a:cubicBezTo>
                  <a:cubicBezTo>
                    <a:pt x="8443093" y="1885603"/>
                    <a:pt x="8490470" y="1846914"/>
                    <a:pt x="8522763" y="1816914"/>
                  </a:cubicBezTo>
                  <a:cubicBezTo>
                    <a:pt x="8529895" y="1810245"/>
                    <a:pt x="8537932" y="1803744"/>
                    <a:pt x="8546452" y="1796844"/>
                  </a:cubicBezTo>
                  <a:cubicBezTo>
                    <a:pt x="8580849" y="1769011"/>
                    <a:pt x="8623639" y="1734403"/>
                    <a:pt x="8610828" y="1673878"/>
                  </a:cubicBezTo>
                  <a:cubicBezTo>
                    <a:pt x="8610091" y="1670385"/>
                    <a:pt x="8609166" y="1666998"/>
                    <a:pt x="8608303" y="1663716"/>
                  </a:cubicBezTo>
                  <a:cubicBezTo>
                    <a:pt x="8606452" y="1656816"/>
                    <a:pt x="8604685" y="1650315"/>
                    <a:pt x="8604958" y="1644277"/>
                  </a:cubicBezTo>
                  <a:cubicBezTo>
                    <a:pt x="8605589" y="1629803"/>
                    <a:pt x="8618464" y="1619663"/>
                    <a:pt x="8630266" y="1617475"/>
                  </a:cubicBezTo>
                  <a:cubicBezTo>
                    <a:pt x="8682756" y="1607755"/>
                    <a:pt x="8701817" y="1634474"/>
                    <a:pt x="8730681" y="1674930"/>
                  </a:cubicBezTo>
                  <a:cubicBezTo>
                    <a:pt x="8733647" y="1679074"/>
                    <a:pt x="8736676" y="1683324"/>
                    <a:pt x="8739789" y="1687594"/>
                  </a:cubicBezTo>
                  <a:cubicBezTo>
                    <a:pt x="8754853" y="1708274"/>
                    <a:pt x="8771515" y="1705266"/>
                    <a:pt x="8782539" y="1703288"/>
                  </a:cubicBezTo>
                  <a:cubicBezTo>
                    <a:pt x="8791753" y="1701627"/>
                    <a:pt x="8794278" y="1701669"/>
                    <a:pt x="8797980" y="1705939"/>
                  </a:cubicBezTo>
                  <a:cubicBezTo>
                    <a:pt x="8803976" y="1712777"/>
                    <a:pt x="8804502" y="1728008"/>
                    <a:pt x="8804986" y="1741451"/>
                  </a:cubicBezTo>
                  <a:cubicBezTo>
                    <a:pt x="8805323" y="1750918"/>
                    <a:pt x="8805639" y="1759880"/>
                    <a:pt x="8807616" y="1767664"/>
                  </a:cubicBezTo>
                  <a:cubicBezTo>
                    <a:pt x="8815967" y="1799999"/>
                    <a:pt x="8832398" y="1839971"/>
                    <a:pt x="8853857" y="1880238"/>
                  </a:cubicBezTo>
                  <a:cubicBezTo>
                    <a:pt x="8859937" y="1891640"/>
                    <a:pt x="8863408" y="1903337"/>
                    <a:pt x="8864187" y="1914993"/>
                  </a:cubicBezTo>
                  <a:cubicBezTo>
                    <a:pt x="8868036" y="1972447"/>
                    <a:pt x="8869531" y="2033457"/>
                    <a:pt x="8868878" y="2106963"/>
                  </a:cubicBezTo>
                  <a:cubicBezTo>
                    <a:pt x="8868331" y="2169782"/>
                    <a:pt x="8862609" y="2231928"/>
                    <a:pt x="8851900" y="2291633"/>
                  </a:cubicBezTo>
                  <a:cubicBezTo>
                    <a:pt x="8844201" y="2334572"/>
                    <a:pt x="8837364" y="2392994"/>
                    <a:pt x="8834018" y="2443653"/>
                  </a:cubicBezTo>
                  <a:cubicBezTo>
                    <a:pt x="8805974" y="2545624"/>
                    <a:pt x="8785757" y="2630806"/>
                    <a:pt x="8783422" y="2640946"/>
                  </a:cubicBezTo>
                  <a:lnTo>
                    <a:pt x="8783380" y="2640946"/>
                  </a:lnTo>
                  <a:cubicBezTo>
                    <a:pt x="8727630" y="2878148"/>
                    <a:pt x="8614678" y="3103064"/>
                    <a:pt x="8447616" y="3309403"/>
                  </a:cubicBezTo>
                  <a:cubicBezTo>
                    <a:pt x="8294797" y="3498176"/>
                    <a:pt x="8097273" y="3667657"/>
                    <a:pt x="7876417" y="3799564"/>
                  </a:cubicBezTo>
                  <a:cubicBezTo>
                    <a:pt x="7874587" y="3800658"/>
                    <a:pt x="7872757" y="3801752"/>
                    <a:pt x="7870927" y="3802825"/>
                  </a:cubicBezTo>
                  <a:cubicBezTo>
                    <a:pt x="7832070" y="3795672"/>
                    <a:pt x="7792518" y="3790223"/>
                    <a:pt x="7752336" y="3789150"/>
                  </a:cubicBezTo>
                  <a:cubicBezTo>
                    <a:pt x="7668795" y="3786900"/>
                    <a:pt x="7548773" y="3799880"/>
                    <a:pt x="7451494" y="3874438"/>
                  </a:cubicBezTo>
                  <a:cubicBezTo>
                    <a:pt x="7435611" y="3886619"/>
                    <a:pt x="7416277" y="3903639"/>
                    <a:pt x="7407778" y="3927474"/>
                  </a:cubicBezTo>
                  <a:cubicBezTo>
                    <a:pt x="7396964" y="3957727"/>
                    <a:pt x="7405464" y="3975083"/>
                    <a:pt x="7414510" y="3984298"/>
                  </a:cubicBezTo>
                  <a:cubicBezTo>
                    <a:pt x="7427049" y="3997089"/>
                    <a:pt x="7447434" y="4001633"/>
                    <a:pt x="7468304" y="4001633"/>
                  </a:cubicBezTo>
                  <a:cubicBezTo>
                    <a:pt x="7487596" y="4001633"/>
                    <a:pt x="7507308" y="3997762"/>
                    <a:pt x="7521635" y="3992965"/>
                  </a:cubicBezTo>
                  <a:cubicBezTo>
                    <a:pt x="7630190" y="3956570"/>
                    <a:pt x="7742721" y="3903049"/>
                    <a:pt x="7874818" y="3824957"/>
                  </a:cubicBezTo>
                  <a:cubicBezTo>
                    <a:pt x="7899222" y="3829585"/>
                    <a:pt x="7923416" y="3834866"/>
                    <a:pt x="7947294" y="3840041"/>
                  </a:cubicBezTo>
                  <a:cubicBezTo>
                    <a:pt x="8005232" y="3852643"/>
                    <a:pt x="8065148" y="3865686"/>
                    <a:pt x="8126053" y="3869410"/>
                  </a:cubicBezTo>
                  <a:cubicBezTo>
                    <a:pt x="8320253" y="3881275"/>
                    <a:pt x="8487461" y="3870209"/>
                    <a:pt x="8637188" y="3835581"/>
                  </a:cubicBezTo>
                  <a:cubicBezTo>
                    <a:pt x="8817904" y="3793800"/>
                    <a:pt x="8970638" y="3716338"/>
                    <a:pt x="9091122" y="3605364"/>
                  </a:cubicBezTo>
                  <a:cubicBezTo>
                    <a:pt x="9095393" y="3601430"/>
                    <a:pt x="9095666" y="3594782"/>
                    <a:pt x="9091732" y="3590511"/>
                  </a:cubicBezTo>
                  <a:cubicBezTo>
                    <a:pt x="9087799" y="3586240"/>
                    <a:pt x="9081129" y="3585967"/>
                    <a:pt x="9076879" y="3589901"/>
                  </a:cubicBezTo>
                  <a:cubicBezTo>
                    <a:pt x="8959109" y="3698372"/>
                    <a:pt x="8809573" y="3774129"/>
                    <a:pt x="8632454" y="3815090"/>
                  </a:cubicBezTo>
                  <a:cubicBezTo>
                    <a:pt x="8484706" y="3849256"/>
                    <a:pt x="8319496" y="3860153"/>
                    <a:pt x="8127336" y="3848414"/>
                  </a:cubicBezTo>
                  <a:cubicBezTo>
                    <a:pt x="8068051" y="3844796"/>
                    <a:pt x="8008935" y="3831920"/>
                    <a:pt x="7951754" y="3819487"/>
                  </a:cubicBezTo>
                  <a:cubicBezTo>
                    <a:pt x="7935218" y="3815890"/>
                    <a:pt x="7918556" y="3812271"/>
                    <a:pt x="7901747" y="3808821"/>
                  </a:cubicBezTo>
                  <a:cubicBezTo>
                    <a:pt x="8118815" y="3676956"/>
                    <a:pt x="8312953" y="3509116"/>
                    <a:pt x="8463941" y="3322615"/>
                  </a:cubicBezTo>
                  <a:cubicBezTo>
                    <a:pt x="8633002" y="3113793"/>
                    <a:pt x="8747343" y="2886058"/>
                    <a:pt x="8803829" y="2645722"/>
                  </a:cubicBezTo>
                  <a:cubicBezTo>
                    <a:pt x="8803829" y="2645722"/>
                    <a:pt x="8803829" y="2645701"/>
                    <a:pt x="8803829" y="2645679"/>
                  </a:cubicBezTo>
                  <a:cubicBezTo>
                    <a:pt x="8804187" y="2644144"/>
                    <a:pt x="8815441" y="2596472"/>
                    <a:pt x="8832840" y="2529572"/>
                  </a:cubicBezTo>
                  <a:cubicBezTo>
                    <a:pt x="8834376" y="2547412"/>
                    <a:pt x="8837910" y="2558793"/>
                    <a:pt x="8848030" y="2561128"/>
                  </a:cubicBezTo>
                  <a:cubicBezTo>
                    <a:pt x="8861536" y="2564242"/>
                    <a:pt x="8872202" y="2552166"/>
                    <a:pt x="8893261" y="2477608"/>
                  </a:cubicBezTo>
                  <a:cubicBezTo>
                    <a:pt x="8900520" y="2451900"/>
                    <a:pt x="8909712" y="2403660"/>
                    <a:pt x="8923051" y="2321234"/>
                  </a:cubicBezTo>
                  <a:cubicBezTo>
                    <a:pt x="8923051" y="2321213"/>
                    <a:pt x="8923051" y="2321170"/>
                    <a:pt x="8923051" y="2321149"/>
                  </a:cubicBezTo>
                  <a:cubicBezTo>
                    <a:pt x="8923051" y="2321129"/>
                    <a:pt x="8923051" y="2321086"/>
                    <a:pt x="8923072" y="2321065"/>
                  </a:cubicBezTo>
                  <a:cubicBezTo>
                    <a:pt x="8930561" y="2269207"/>
                    <a:pt x="8947118" y="2204305"/>
                    <a:pt x="8965673" y="2141928"/>
                  </a:cubicBezTo>
                  <a:cubicBezTo>
                    <a:pt x="8968640" y="2136100"/>
                    <a:pt x="8971290" y="2130967"/>
                    <a:pt x="8973542" y="2126760"/>
                  </a:cubicBezTo>
                  <a:cubicBezTo>
                    <a:pt x="9016648" y="2045911"/>
                    <a:pt x="9092490" y="1963653"/>
                    <a:pt x="9117419" y="1936619"/>
                  </a:cubicBezTo>
                  <a:cubicBezTo>
                    <a:pt x="9179776" y="1869004"/>
                    <a:pt x="9258521" y="1807068"/>
                    <a:pt x="9365204" y="1741746"/>
                  </a:cubicBezTo>
                  <a:cubicBezTo>
                    <a:pt x="9404039" y="1717973"/>
                    <a:pt x="9444874" y="1694936"/>
                    <a:pt x="9487938" y="1672552"/>
                  </a:cubicBezTo>
                  <a:cubicBezTo>
                    <a:pt x="9303668" y="1778183"/>
                    <a:pt x="9183331" y="1871676"/>
                    <a:pt x="9130084" y="1950631"/>
                  </a:cubicBezTo>
                  <a:cubicBezTo>
                    <a:pt x="9109403" y="1981283"/>
                    <a:pt x="9102777" y="2006633"/>
                    <a:pt x="9110372" y="2025988"/>
                  </a:cubicBezTo>
                  <a:cubicBezTo>
                    <a:pt x="9116746" y="2042229"/>
                    <a:pt x="9131894" y="2049698"/>
                    <a:pt x="9139846" y="2051549"/>
                  </a:cubicBezTo>
                  <a:cubicBezTo>
                    <a:pt x="9228415" y="2071935"/>
                    <a:pt x="9322622" y="2092258"/>
                    <a:pt x="9415042" y="2097033"/>
                  </a:cubicBezTo>
                  <a:cubicBezTo>
                    <a:pt x="9518885" y="2102419"/>
                    <a:pt x="9608990" y="2087524"/>
                    <a:pt x="9690554" y="2051507"/>
                  </a:cubicBezTo>
                  <a:cubicBezTo>
                    <a:pt x="9830813" y="1989593"/>
                    <a:pt x="9953128" y="1874852"/>
                    <a:pt x="10075462" y="1690392"/>
                  </a:cubicBezTo>
                  <a:cubicBezTo>
                    <a:pt x="10095575" y="1660077"/>
                    <a:pt x="10111480" y="1632223"/>
                    <a:pt x="10126858" y="1605273"/>
                  </a:cubicBezTo>
                  <a:cubicBezTo>
                    <a:pt x="10167314" y="1534439"/>
                    <a:pt x="10202258" y="1473260"/>
                    <a:pt x="10293142" y="1409747"/>
                  </a:cubicBezTo>
                  <a:cubicBezTo>
                    <a:pt x="10296655" y="1407286"/>
                    <a:pt x="10298337" y="1402931"/>
                    <a:pt x="10297370" y="1398765"/>
                  </a:cubicBezTo>
                  <a:close/>
                  <a:moveTo>
                    <a:pt x="9001206" y="1451613"/>
                  </a:moveTo>
                  <a:cubicBezTo>
                    <a:pt x="8995505" y="1452412"/>
                    <a:pt x="8990119" y="1453148"/>
                    <a:pt x="8985091" y="1453443"/>
                  </a:cubicBezTo>
                  <a:cubicBezTo>
                    <a:pt x="8895134" y="1458534"/>
                    <a:pt x="8793142" y="1406234"/>
                    <a:pt x="8705267" y="1309965"/>
                  </a:cubicBezTo>
                  <a:cubicBezTo>
                    <a:pt x="8636031" y="1234123"/>
                    <a:pt x="8581206" y="1138338"/>
                    <a:pt x="8546704" y="1032959"/>
                  </a:cubicBezTo>
                  <a:cubicBezTo>
                    <a:pt x="8509088" y="918050"/>
                    <a:pt x="8498191" y="796914"/>
                    <a:pt x="8515190" y="682637"/>
                  </a:cubicBezTo>
                  <a:cubicBezTo>
                    <a:pt x="8544201" y="487763"/>
                    <a:pt x="8563408" y="323057"/>
                    <a:pt x="8570687" y="206318"/>
                  </a:cubicBezTo>
                  <a:cubicBezTo>
                    <a:pt x="8576326" y="116234"/>
                    <a:pt x="8574390" y="66122"/>
                    <a:pt x="8569194" y="37763"/>
                  </a:cubicBezTo>
                  <a:cubicBezTo>
                    <a:pt x="8603591" y="59769"/>
                    <a:pt x="8639060" y="81753"/>
                    <a:pt x="8673626" y="103191"/>
                  </a:cubicBezTo>
                  <a:cubicBezTo>
                    <a:pt x="8880259" y="231332"/>
                    <a:pt x="9093941" y="363829"/>
                    <a:pt x="9210995" y="567055"/>
                  </a:cubicBezTo>
                  <a:cubicBezTo>
                    <a:pt x="9287910" y="700582"/>
                    <a:pt x="9326956" y="826472"/>
                    <a:pt x="9330385" y="951879"/>
                  </a:cubicBezTo>
                  <a:cubicBezTo>
                    <a:pt x="9333920" y="1081283"/>
                    <a:pt x="9299544" y="1208289"/>
                    <a:pt x="9225322" y="1340133"/>
                  </a:cubicBezTo>
                  <a:cubicBezTo>
                    <a:pt x="9196985" y="1390455"/>
                    <a:pt x="9143254" y="1461774"/>
                    <a:pt x="9120028" y="1459060"/>
                  </a:cubicBezTo>
                  <a:cubicBezTo>
                    <a:pt x="9113906" y="1458345"/>
                    <a:pt x="9110098" y="1449383"/>
                    <a:pt x="9107974" y="1441977"/>
                  </a:cubicBezTo>
                  <a:cubicBezTo>
                    <a:pt x="9071452" y="1314635"/>
                    <a:pt x="9036445" y="1150224"/>
                    <a:pt x="9017952" y="1043751"/>
                  </a:cubicBezTo>
                  <a:cubicBezTo>
                    <a:pt x="8995610" y="915189"/>
                    <a:pt x="8873296" y="622721"/>
                    <a:pt x="8803408" y="530722"/>
                  </a:cubicBezTo>
                  <a:cubicBezTo>
                    <a:pt x="8801347" y="528008"/>
                    <a:pt x="8798212" y="526557"/>
                    <a:pt x="8795035" y="526557"/>
                  </a:cubicBezTo>
                  <a:cubicBezTo>
                    <a:pt x="8793163" y="526557"/>
                    <a:pt x="8791290" y="527062"/>
                    <a:pt x="8789587" y="528071"/>
                  </a:cubicBezTo>
                  <a:cubicBezTo>
                    <a:pt x="8784979" y="530869"/>
                    <a:pt x="8783233" y="536676"/>
                    <a:pt x="8785505" y="541536"/>
                  </a:cubicBezTo>
                  <a:cubicBezTo>
                    <a:pt x="8837195" y="651522"/>
                    <a:pt x="8914698" y="868843"/>
                    <a:pt x="8944404" y="975442"/>
                  </a:cubicBezTo>
                  <a:cubicBezTo>
                    <a:pt x="8960477" y="1033106"/>
                    <a:pt x="8982146" y="1135435"/>
                    <a:pt x="9007223" y="1253920"/>
                  </a:cubicBezTo>
                  <a:cubicBezTo>
                    <a:pt x="9021024" y="1319074"/>
                    <a:pt x="9035224" y="1386206"/>
                    <a:pt x="9050182" y="1453990"/>
                  </a:cubicBezTo>
                  <a:cubicBezTo>
                    <a:pt x="9034488" y="1446984"/>
                    <a:pt x="9016921" y="1449425"/>
                    <a:pt x="9001206" y="1451613"/>
                  </a:cubicBezTo>
                  <a:close/>
                  <a:moveTo>
                    <a:pt x="3587723" y="4058477"/>
                  </a:moveTo>
                  <a:cubicBezTo>
                    <a:pt x="3573165" y="4067797"/>
                    <a:pt x="3558964" y="4076885"/>
                    <a:pt x="3545163" y="4085700"/>
                  </a:cubicBezTo>
                  <a:cubicBezTo>
                    <a:pt x="3304932" y="4238982"/>
                    <a:pt x="3253831" y="4223877"/>
                    <a:pt x="3243880" y="4215588"/>
                  </a:cubicBezTo>
                  <a:cubicBezTo>
                    <a:pt x="3237548" y="4210308"/>
                    <a:pt x="3234939" y="4204522"/>
                    <a:pt x="3235675" y="4197369"/>
                  </a:cubicBezTo>
                  <a:cubicBezTo>
                    <a:pt x="3238347" y="4171156"/>
                    <a:pt x="3283831" y="4132026"/>
                    <a:pt x="3326264" y="4109326"/>
                  </a:cubicBezTo>
                  <a:cubicBezTo>
                    <a:pt x="3574280" y="3976619"/>
                    <a:pt x="3799469" y="3860953"/>
                    <a:pt x="4043908" y="3789319"/>
                  </a:cubicBezTo>
                  <a:cubicBezTo>
                    <a:pt x="4045591" y="3788835"/>
                    <a:pt x="4047232" y="3788351"/>
                    <a:pt x="4048894" y="3787867"/>
                  </a:cubicBezTo>
                  <a:cubicBezTo>
                    <a:pt x="3895780" y="3861289"/>
                    <a:pt x="3727519" y="3968982"/>
                    <a:pt x="3587723" y="4058477"/>
                  </a:cubicBezTo>
                  <a:close/>
                  <a:moveTo>
                    <a:pt x="6150261" y="5054073"/>
                  </a:moveTo>
                  <a:cubicBezTo>
                    <a:pt x="5705626" y="5104627"/>
                    <a:pt x="5522533" y="5096612"/>
                    <a:pt x="5499455" y="5072250"/>
                  </a:cubicBezTo>
                  <a:cubicBezTo>
                    <a:pt x="5498045" y="5070756"/>
                    <a:pt x="5498213" y="5070125"/>
                    <a:pt x="5498466" y="5069242"/>
                  </a:cubicBezTo>
                  <a:cubicBezTo>
                    <a:pt x="5500233" y="5062804"/>
                    <a:pt x="5516495" y="5040315"/>
                    <a:pt x="5651516" y="5021380"/>
                  </a:cubicBezTo>
                  <a:cubicBezTo>
                    <a:pt x="5781783" y="5003119"/>
                    <a:pt x="5993887" y="4993210"/>
                    <a:pt x="6230415" y="4993210"/>
                  </a:cubicBezTo>
                  <a:cubicBezTo>
                    <a:pt x="6321383" y="4993210"/>
                    <a:pt x="6416011" y="4994683"/>
                    <a:pt x="6510934" y="4997692"/>
                  </a:cubicBezTo>
                  <a:cubicBezTo>
                    <a:pt x="6528900" y="4998260"/>
                    <a:pt x="6546677" y="4998891"/>
                    <a:pt x="6564265" y="4999564"/>
                  </a:cubicBezTo>
                  <a:cubicBezTo>
                    <a:pt x="6426866" y="5019950"/>
                    <a:pt x="6284609" y="5038800"/>
                    <a:pt x="6150261" y="5054052"/>
                  </a:cubicBezTo>
                  <a:close/>
                  <a:moveTo>
                    <a:pt x="6821789" y="5286668"/>
                  </a:moveTo>
                  <a:cubicBezTo>
                    <a:pt x="6820569" y="5286773"/>
                    <a:pt x="6817603" y="5286899"/>
                    <a:pt x="6816530" y="5285805"/>
                  </a:cubicBezTo>
                  <a:cubicBezTo>
                    <a:pt x="6807168" y="5276275"/>
                    <a:pt x="6807252" y="5268680"/>
                    <a:pt x="6808114" y="5263800"/>
                  </a:cubicBezTo>
                  <a:cubicBezTo>
                    <a:pt x="6815036" y="5224964"/>
                    <a:pt x="6913241" y="5169865"/>
                    <a:pt x="7052911" y="5101598"/>
                  </a:cubicBezTo>
                  <a:cubicBezTo>
                    <a:pt x="6987652" y="5168771"/>
                    <a:pt x="6863781" y="5283007"/>
                    <a:pt x="6821789" y="5286647"/>
                  </a:cubicBezTo>
                  <a:close/>
                  <a:moveTo>
                    <a:pt x="9160968" y="4468736"/>
                  </a:moveTo>
                  <a:cubicBezTo>
                    <a:pt x="9133934" y="4470062"/>
                    <a:pt x="9112791" y="4465097"/>
                    <a:pt x="9097938" y="4459459"/>
                  </a:cubicBezTo>
                  <a:cubicBezTo>
                    <a:pt x="9047847" y="4440441"/>
                    <a:pt x="9020793" y="4413155"/>
                    <a:pt x="9017553" y="4378358"/>
                  </a:cubicBezTo>
                  <a:cubicBezTo>
                    <a:pt x="9008106" y="4276745"/>
                    <a:pt x="9194817" y="4128933"/>
                    <a:pt x="9248486" y="4096156"/>
                  </a:cubicBezTo>
                  <a:cubicBezTo>
                    <a:pt x="9293359" y="4068744"/>
                    <a:pt x="9341388" y="4054080"/>
                    <a:pt x="9385505" y="4054080"/>
                  </a:cubicBezTo>
                  <a:cubicBezTo>
                    <a:pt x="9390806" y="4054080"/>
                    <a:pt x="9396066" y="4054291"/>
                    <a:pt x="9401263" y="4054732"/>
                  </a:cubicBezTo>
                  <a:cubicBezTo>
                    <a:pt x="9447188" y="4058519"/>
                    <a:pt x="9474895" y="4072068"/>
                    <a:pt x="9483626" y="4094978"/>
                  </a:cubicBezTo>
                  <a:cubicBezTo>
                    <a:pt x="9500940" y="4140441"/>
                    <a:pt x="9444474" y="4222362"/>
                    <a:pt x="9390849" y="4278702"/>
                  </a:cubicBezTo>
                  <a:cubicBezTo>
                    <a:pt x="9315470" y="4357888"/>
                    <a:pt x="9241038" y="4420076"/>
                    <a:pt x="9169594" y="4463519"/>
                  </a:cubicBezTo>
                  <a:cubicBezTo>
                    <a:pt x="9166543" y="4465371"/>
                    <a:pt x="9163682" y="4467117"/>
                    <a:pt x="9160968" y="4468779"/>
                  </a:cubicBezTo>
                  <a:close/>
                  <a:moveTo>
                    <a:pt x="7026551" y="4920735"/>
                  </a:moveTo>
                  <a:cubicBezTo>
                    <a:pt x="7022701" y="4920125"/>
                    <a:pt x="7018998" y="4919410"/>
                    <a:pt x="7015401" y="4918568"/>
                  </a:cubicBezTo>
                  <a:cubicBezTo>
                    <a:pt x="6969286" y="4907839"/>
                    <a:pt x="6946081" y="4879627"/>
                    <a:pt x="6944440" y="4832334"/>
                  </a:cubicBezTo>
                  <a:cubicBezTo>
                    <a:pt x="6943472" y="4804290"/>
                    <a:pt x="6968886" y="4768400"/>
                    <a:pt x="7015990" y="4731268"/>
                  </a:cubicBezTo>
                  <a:cubicBezTo>
                    <a:pt x="7071719" y="4687320"/>
                    <a:pt x="7153956" y="4645034"/>
                    <a:pt x="7235920" y="4618126"/>
                  </a:cubicBezTo>
                  <a:cubicBezTo>
                    <a:pt x="7296256" y="4598330"/>
                    <a:pt x="7351144" y="4588189"/>
                    <a:pt x="7396123" y="4588189"/>
                  </a:cubicBezTo>
                  <a:cubicBezTo>
                    <a:pt x="7417203" y="4588189"/>
                    <a:pt x="7436095" y="4590420"/>
                    <a:pt x="7452357" y="4594922"/>
                  </a:cubicBezTo>
                  <a:cubicBezTo>
                    <a:pt x="7513956" y="4611962"/>
                    <a:pt x="7527589" y="4632853"/>
                    <a:pt x="7528198" y="4647390"/>
                  </a:cubicBezTo>
                  <a:cubicBezTo>
                    <a:pt x="7529124" y="4669774"/>
                    <a:pt x="7503058" y="4720875"/>
                    <a:pt x="7318115" y="4811822"/>
                  </a:cubicBezTo>
                  <a:cubicBezTo>
                    <a:pt x="7214819" y="4862608"/>
                    <a:pt x="7109629" y="4901948"/>
                    <a:pt x="7100267" y="4905441"/>
                  </a:cubicBezTo>
                  <a:cubicBezTo>
                    <a:pt x="7077042" y="4910490"/>
                    <a:pt x="7052427" y="4915602"/>
                    <a:pt x="7026551" y="4920777"/>
                  </a:cubicBezTo>
                  <a:close/>
                  <a:moveTo>
                    <a:pt x="5889560" y="3664291"/>
                  </a:moveTo>
                  <a:cubicBezTo>
                    <a:pt x="6030156" y="3722734"/>
                    <a:pt x="6142918" y="3808253"/>
                    <a:pt x="6224714" y="3918491"/>
                  </a:cubicBezTo>
                  <a:cubicBezTo>
                    <a:pt x="6233045" y="3929726"/>
                    <a:pt x="6241439" y="3941801"/>
                    <a:pt x="6244195" y="3954971"/>
                  </a:cubicBezTo>
                  <a:cubicBezTo>
                    <a:pt x="6247455" y="3970497"/>
                    <a:pt x="6245457" y="3981479"/>
                    <a:pt x="6238220" y="3987580"/>
                  </a:cubicBezTo>
                  <a:cubicBezTo>
                    <a:pt x="6223283" y="4000181"/>
                    <a:pt x="6186215" y="3995195"/>
                    <a:pt x="6157309" y="3983751"/>
                  </a:cubicBezTo>
                  <a:cubicBezTo>
                    <a:pt x="6103073" y="3962292"/>
                    <a:pt x="6048879" y="3938582"/>
                    <a:pt x="5996243" y="3913232"/>
                  </a:cubicBezTo>
                  <a:cubicBezTo>
                    <a:pt x="5820619" y="3828681"/>
                    <a:pt x="5657049" y="3720125"/>
                    <a:pt x="5510078" y="3590574"/>
                  </a:cubicBezTo>
                  <a:cubicBezTo>
                    <a:pt x="5503557" y="3584831"/>
                    <a:pt x="5497098" y="3579066"/>
                    <a:pt x="5490661" y="3573239"/>
                  </a:cubicBezTo>
                  <a:cubicBezTo>
                    <a:pt x="5642154" y="3586577"/>
                    <a:pt x="5776187" y="3617166"/>
                    <a:pt x="5889560" y="3664291"/>
                  </a:cubicBezTo>
                  <a:close/>
                  <a:moveTo>
                    <a:pt x="7515176" y="3972853"/>
                  </a:moveTo>
                  <a:cubicBezTo>
                    <a:pt x="7485471" y="3982804"/>
                    <a:pt x="7444363" y="3984340"/>
                    <a:pt x="7429742" y="3969424"/>
                  </a:cubicBezTo>
                  <a:cubicBezTo>
                    <a:pt x="7422715" y="3962250"/>
                    <a:pt x="7422063" y="3950469"/>
                    <a:pt x="7427785" y="3934417"/>
                  </a:cubicBezTo>
                  <a:cubicBezTo>
                    <a:pt x="7434454" y="3915756"/>
                    <a:pt x="7450905" y="3901408"/>
                    <a:pt x="7464496" y="3890995"/>
                  </a:cubicBezTo>
                  <a:cubicBezTo>
                    <a:pt x="7550667" y="3824957"/>
                    <a:pt x="7656425" y="3809810"/>
                    <a:pt x="7735317" y="3809810"/>
                  </a:cubicBezTo>
                  <a:cubicBezTo>
                    <a:pt x="7741018" y="3809810"/>
                    <a:pt x="7746593" y="3809894"/>
                    <a:pt x="7751978" y="3810041"/>
                  </a:cubicBezTo>
                  <a:cubicBezTo>
                    <a:pt x="7782546" y="3810862"/>
                    <a:pt x="7812946" y="3814333"/>
                    <a:pt x="7843051" y="3819172"/>
                  </a:cubicBezTo>
                  <a:cubicBezTo>
                    <a:pt x="7721389" y="3889754"/>
                    <a:pt x="7616432" y="3938919"/>
                    <a:pt x="7515176" y="3972874"/>
                  </a:cubicBezTo>
                  <a:close/>
                  <a:moveTo>
                    <a:pt x="8873253" y="2471739"/>
                  </a:moveTo>
                  <a:cubicBezTo>
                    <a:pt x="8864502" y="2502685"/>
                    <a:pt x="8858233" y="2519978"/>
                    <a:pt x="8854026" y="2529614"/>
                  </a:cubicBezTo>
                  <a:cubicBezTo>
                    <a:pt x="8852384" y="2512741"/>
                    <a:pt x="8852805" y="2482720"/>
                    <a:pt x="8855035" y="2447208"/>
                  </a:cubicBezTo>
                  <a:cubicBezTo>
                    <a:pt x="8867847" y="2400652"/>
                    <a:pt x="8882216" y="2350792"/>
                    <a:pt x="8897153" y="2303436"/>
                  </a:cubicBezTo>
                  <a:cubicBezTo>
                    <a:pt x="8897153" y="2303436"/>
                    <a:pt x="8897153" y="2303394"/>
                    <a:pt x="8897153" y="2303373"/>
                  </a:cubicBezTo>
                  <a:cubicBezTo>
                    <a:pt x="8897153" y="2303351"/>
                    <a:pt x="8897153" y="2303330"/>
                    <a:pt x="8897174" y="2303309"/>
                  </a:cubicBezTo>
                  <a:cubicBezTo>
                    <a:pt x="8901550" y="2288835"/>
                    <a:pt x="8907462" y="2272552"/>
                    <a:pt x="8914130" y="2255764"/>
                  </a:cubicBezTo>
                  <a:cubicBezTo>
                    <a:pt x="8909271" y="2277664"/>
                    <a:pt x="8905274" y="2298576"/>
                    <a:pt x="8902517" y="2317741"/>
                  </a:cubicBezTo>
                  <a:cubicBezTo>
                    <a:pt x="8893640" y="2372671"/>
                    <a:pt x="8882279" y="2439803"/>
                    <a:pt x="8873253" y="2471718"/>
                  </a:cubicBezTo>
                  <a:close/>
                  <a:moveTo>
                    <a:pt x="10108870" y="1594691"/>
                  </a:moveTo>
                  <a:cubicBezTo>
                    <a:pt x="10093660" y="1621325"/>
                    <a:pt x="10077924" y="1648885"/>
                    <a:pt x="10058211" y="1678611"/>
                  </a:cubicBezTo>
                  <a:cubicBezTo>
                    <a:pt x="9938190" y="1859558"/>
                    <a:pt x="9818758" y="1971879"/>
                    <a:pt x="9682349" y="2032089"/>
                  </a:cubicBezTo>
                  <a:cubicBezTo>
                    <a:pt x="9513625" y="2106563"/>
                    <a:pt x="9339095" y="2075595"/>
                    <a:pt x="9144958" y="2030890"/>
                  </a:cubicBezTo>
                  <a:cubicBezTo>
                    <a:pt x="9144517" y="2030785"/>
                    <a:pt x="9134018" y="2028029"/>
                    <a:pt x="9130168" y="2017952"/>
                  </a:cubicBezTo>
                  <a:cubicBezTo>
                    <a:pt x="9126886" y="2009326"/>
                    <a:pt x="9127265" y="1992664"/>
                    <a:pt x="9147798" y="1962223"/>
                  </a:cubicBezTo>
                  <a:cubicBezTo>
                    <a:pt x="9276802" y="1770925"/>
                    <a:pt x="9800288" y="1535827"/>
                    <a:pt x="9805547" y="1533471"/>
                  </a:cubicBezTo>
                  <a:cubicBezTo>
                    <a:pt x="9810743" y="1531157"/>
                    <a:pt x="9813142" y="1525140"/>
                    <a:pt x="9810996" y="1519880"/>
                  </a:cubicBezTo>
                  <a:cubicBezTo>
                    <a:pt x="9809334" y="1515820"/>
                    <a:pt x="9805421" y="1513338"/>
                    <a:pt x="9801255" y="1513338"/>
                  </a:cubicBezTo>
                  <a:cubicBezTo>
                    <a:pt x="9800035" y="1513338"/>
                    <a:pt x="9798794" y="1513548"/>
                    <a:pt x="9797574" y="1514011"/>
                  </a:cubicBezTo>
                  <a:cubicBezTo>
                    <a:pt x="9624096" y="1578702"/>
                    <a:pt x="9479165" y="1647265"/>
                    <a:pt x="9354474" y="1723632"/>
                  </a:cubicBezTo>
                  <a:cubicBezTo>
                    <a:pt x="9246087" y="1790007"/>
                    <a:pt x="9165912" y="1853120"/>
                    <a:pt x="9102209" y="1922187"/>
                  </a:cubicBezTo>
                  <a:cubicBezTo>
                    <a:pt x="9083170" y="1942826"/>
                    <a:pt x="9034972" y="1995105"/>
                    <a:pt x="8993338" y="2055063"/>
                  </a:cubicBezTo>
                  <a:cubicBezTo>
                    <a:pt x="9012525" y="1997608"/>
                    <a:pt x="9030238" y="1950546"/>
                    <a:pt x="9038969" y="1930392"/>
                  </a:cubicBezTo>
                  <a:cubicBezTo>
                    <a:pt x="9046522" y="1912973"/>
                    <a:pt x="9056431" y="1884509"/>
                    <a:pt x="9066066" y="1849207"/>
                  </a:cubicBezTo>
                  <a:cubicBezTo>
                    <a:pt x="9064172" y="1896101"/>
                    <a:pt x="9063668" y="1927805"/>
                    <a:pt x="9063668" y="1928352"/>
                  </a:cubicBezTo>
                  <a:cubicBezTo>
                    <a:pt x="9063583" y="1933485"/>
                    <a:pt x="9067245" y="1937924"/>
                    <a:pt x="9072293" y="1938849"/>
                  </a:cubicBezTo>
                  <a:cubicBezTo>
                    <a:pt x="9077342" y="1939775"/>
                    <a:pt x="9082329" y="1936914"/>
                    <a:pt x="9084075" y="1932075"/>
                  </a:cubicBezTo>
                  <a:cubicBezTo>
                    <a:pt x="9094004" y="1904579"/>
                    <a:pt x="9146662" y="1783359"/>
                    <a:pt x="9187980" y="1713744"/>
                  </a:cubicBezTo>
                  <a:cubicBezTo>
                    <a:pt x="9194123" y="1703373"/>
                    <a:pt x="9200687" y="1693022"/>
                    <a:pt x="9207440" y="1682987"/>
                  </a:cubicBezTo>
                  <a:cubicBezTo>
                    <a:pt x="9243395" y="1629551"/>
                    <a:pt x="9287658" y="1581227"/>
                    <a:pt x="9339011" y="1539382"/>
                  </a:cubicBezTo>
                  <a:cubicBezTo>
                    <a:pt x="9542552" y="1373499"/>
                    <a:pt x="9694615" y="1368786"/>
                    <a:pt x="9841669" y="1364221"/>
                  </a:cubicBezTo>
                  <a:cubicBezTo>
                    <a:pt x="9852924" y="1363864"/>
                    <a:pt x="9864137" y="1363527"/>
                    <a:pt x="9875330" y="1363106"/>
                  </a:cubicBezTo>
                  <a:cubicBezTo>
                    <a:pt x="9930091" y="1361066"/>
                    <a:pt x="10059706" y="1375960"/>
                    <a:pt x="10260764" y="1407391"/>
                  </a:cubicBezTo>
                  <a:cubicBezTo>
                    <a:pt x="10181136" y="1468190"/>
                    <a:pt x="10147454" y="1527181"/>
                    <a:pt x="10108912" y="1594649"/>
                  </a:cubicBezTo>
                  <a:close/>
                </a:path>
              </a:pathLst>
            </a:custGeom>
            <a:solidFill>
              <a:schemeClr val="tx1">
                <a:lumMod val="85000"/>
                <a:lumOff val="15000"/>
              </a:schemeClr>
            </a:solidFill>
            <a:ln w="35353" cap="flat">
              <a:solidFill>
                <a:schemeClr val="bg1"/>
              </a:solidFill>
              <a:prstDash val="solid"/>
              <a:miter/>
            </a:ln>
          </p:spPr>
          <p:txBody>
            <a:bodyPr rtlCol="0" anchor="ctr"/>
            <a:lstStyle/>
            <a:p>
              <a:pPr defTabSz="749650"/>
              <a:endParaRPr lang="en-US" sz="1476">
                <a:solidFill>
                  <a:srgbClr val="000000"/>
                </a:solidFill>
                <a:latin typeface="Segoe UI"/>
              </a:endParaRPr>
            </a:p>
          </p:txBody>
        </p:sp>
        <p:sp>
          <p:nvSpPr>
            <p:cNvPr id="4" name="Oval 3">
              <a:extLst>
                <a:ext uri="{FF2B5EF4-FFF2-40B4-BE49-F238E27FC236}">
                  <a16:creationId xmlns:a16="http://schemas.microsoft.com/office/drawing/2014/main" id="{005E276D-64AC-92B2-F7AC-94478548214F}"/>
                </a:ext>
              </a:extLst>
            </p:cNvPr>
            <p:cNvSpPr/>
            <p:nvPr/>
          </p:nvSpPr>
          <p:spPr bwMode="auto">
            <a:xfrm>
              <a:off x="19183272" y="6074031"/>
              <a:ext cx="754358" cy="754358"/>
            </a:xfrm>
            <a:prstGeom prst="ellipse">
              <a:avLst/>
            </a:prstGeom>
            <a:solidFill>
              <a:srgbClr val="E77D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48768" rIns="60960" bIns="48768" numCol="1" spcCol="0" rtlCol="0" fromWordArt="0" anchor="t" anchorCtr="0" forceAA="0" compatLnSpc="1">
              <a:prstTxWarp prst="textNoShape">
                <a:avLst/>
              </a:prstTxWarp>
              <a:noAutofit/>
            </a:bodyPr>
            <a:lstStyle/>
            <a:p>
              <a:pPr defTabSz="310863" fontAlgn="base">
                <a:spcBef>
                  <a:spcPct val="0"/>
                </a:spcBef>
                <a:spcAft>
                  <a:spcPct val="0"/>
                </a:spcAft>
              </a:pPr>
              <a:endParaRPr lang="en-US" sz="667">
                <a:solidFill>
                  <a:srgbClr val="FFFFFF"/>
                </a:solidFill>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C35B0EE1-328D-EC48-9EEB-F6289244080E}"/>
                </a:ext>
              </a:extLst>
            </p:cNvPr>
            <p:cNvSpPr/>
            <p:nvPr/>
          </p:nvSpPr>
          <p:spPr bwMode="auto">
            <a:xfrm>
              <a:off x="15986739" y="7774364"/>
              <a:ext cx="754358" cy="754358"/>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48768" rIns="60960" bIns="48768" numCol="1" spcCol="0" rtlCol="0" fromWordArt="0" anchor="t" anchorCtr="0" forceAA="0" compatLnSpc="1">
              <a:prstTxWarp prst="textNoShape">
                <a:avLst/>
              </a:prstTxWarp>
              <a:noAutofit/>
            </a:bodyPr>
            <a:lstStyle/>
            <a:p>
              <a:pPr defTabSz="310863" fontAlgn="base">
                <a:spcBef>
                  <a:spcPct val="0"/>
                </a:spcBef>
                <a:spcAft>
                  <a:spcPct val="0"/>
                </a:spcAft>
              </a:pPr>
              <a:endParaRPr lang="en-US" sz="667" err="1">
                <a:solidFill>
                  <a:srgbClr val="FFFFFF"/>
                </a:solidFill>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3D483650-AB3E-497F-AE8D-E26B0EE183C4}"/>
                </a:ext>
              </a:extLst>
            </p:cNvPr>
            <p:cNvSpPr/>
            <p:nvPr/>
          </p:nvSpPr>
          <p:spPr bwMode="auto">
            <a:xfrm>
              <a:off x="15398560" y="5241982"/>
              <a:ext cx="754358" cy="754358"/>
            </a:xfrm>
            <a:prstGeom prst="ellipse">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48768" rIns="60960" bIns="48768" numCol="1" spcCol="0" rtlCol="0" fromWordArt="0" anchor="t" anchorCtr="0" forceAA="0" compatLnSpc="1">
              <a:prstTxWarp prst="textNoShape">
                <a:avLst/>
              </a:prstTxWarp>
              <a:noAutofit/>
            </a:bodyPr>
            <a:lstStyle/>
            <a:p>
              <a:pPr defTabSz="310863" fontAlgn="base">
                <a:spcBef>
                  <a:spcPct val="0"/>
                </a:spcBef>
                <a:spcAft>
                  <a:spcPct val="0"/>
                </a:spcAft>
              </a:pPr>
              <a:endParaRPr lang="en-US" sz="667" err="1">
                <a:solidFill>
                  <a:srgbClr val="FFFFFF"/>
                </a:solidFill>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64BA331E-B0DB-7640-AED4-544DE38F0932}"/>
                </a:ext>
              </a:extLst>
            </p:cNvPr>
            <p:cNvSpPr/>
            <p:nvPr/>
          </p:nvSpPr>
          <p:spPr bwMode="auto">
            <a:xfrm>
              <a:off x="18504168" y="8528722"/>
              <a:ext cx="754358" cy="754358"/>
            </a:xfrm>
            <a:prstGeom prst="ellipse">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48768" rIns="60960" bIns="48768" numCol="1" spcCol="0" rtlCol="0" fromWordArt="0" anchor="t" anchorCtr="0" forceAA="0" compatLnSpc="1">
              <a:prstTxWarp prst="textNoShape">
                <a:avLst/>
              </a:prstTxWarp>
              <a:noAutofit/>
            </a:bodyPr>
            <a:lstStyle/>
            <a:p>
              <a:pPr defTabSz="310863" fontAlgn="base">
                <a:spcBef>
                  <a:spcPct val="0"/>
                </a:spcBef>
                <a:spcAft>
                  <a:spcPct val="0"/>
                </a:spcAft>
              </a:pPr>
              <a:endParaRPr lang="en-US" sz="667" err="1">
                <a:solidFill>
                  <a:srgbClr val="FFFFFF"/>
                </a:solidFill>
                <a:latin typeface="Segoe UI"/>
                <a:ea typeface="Segoe UI" pitchFamily="34" charset="0"/>
                <a:cs typeface="Segoe UI" pitchFamily="34" charset="0"/>
              </a:endParaRPr>
            </a:p>
          </p:txBody>
        </p:sp>
      </p:grpSp>
      <p:sp>
        <p:nvSpPr>
          <p:cNvPr id="23" name="Rectangle: Rounded Corners 22">
            <a:extLst>
              <a:ext uri="{FF2B5EF4-FFF2-40B4-BE49-F238E27FC236}">
                <a16:creationId xmlns:a16="http://schemas.microsoft.com/office/drawing/2014/main" id="{674BA10E-7B20-A91D-A61D-4D186881FA29}"/>
              </a:ext>
            </a:extLst>
          </p:cNvPr>
          <p:cNvSpPr/>
          <p:nvPr/>
        </p:nvSpPr>
        <p:spPr bwMode="auto">
          <a:xfrm>
            <a:off x="8199439" y="2921885"/>
            <a:ext cx="1305921" cy="1285974"/>
          </a:xfrm>
          <a:prstGeom prst="roundRect">
            <a:avLst>
              <a:gd name="adj" fmla="val 9900"/>
            </a:avLst>
          </a:prstGeom>
          <a:gradFill flip="none" rotWithShape="1">
            <a:gsLst>
              <a:gs pos="22000">
                <a:srgbClr val="E4162C"/>
              </a:gs>
              <a:gs pos="100000">
                <a:srgbClr val="8661C5"/>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48768" rIns="60960" bIns="48768" numCol="1" spcCol="0" rtlCol="0" fromWordArt="0" anchor="t" anchorCtr="0" forceAA="0" compatLnSpc="1">
            <a:prstTxWarp prst="textNoShape">
              <a:avLst/>
            </a:prstTxWarp>
            <a:noAutofit/>
          </a:bodyPr>
          <a:lstStyle/>
          <a:p>
            <a:pPr defTabSz="310863" fontAlgn="base">
              <a:spcBef>
                <a:spcPct val="0"/>
              </a:spcBef>
              <a:spcAft>
                <a:spcPct val="0"/>
              </a:spcAft>
            </a:pPr>
            <a:endParaRPr lang="en-US" sz="1067" err="1">
              <a:solidFill>
                <a:srgbClr val="FFFFFF"/>
              </a:solidFill>
              <a:latin typeface="Segoe UI"/>
              <a:cs typeface="Segoe UI" pitchFamily="34" charset="0"/>
            </a:endParaRPr>
          </a:p>
        </p:txBody>
      </p:sp>
      <p:sp>
        <p:nvSpPr>
          <p:cNvPr id="26" name="Rectangle: Rounded Corners 25">
            <a:extLst>
              <a:ext uri="{FF2B5EF4-FFF2-40B4-BE49-F238E27FC236}">
                <a16:creationId xmlns:a16="http://schemas.microsoft.com/office/drawing/2014/main" id="{293E219C-1BF6-2084-C6B9-DF37C22EB8A6}"/>
              </a:ext>
            </a:extLst>
          </p:cNvPr>
          <p:cNvSpPr/>
          <p:nvPr/>
        </p:nvSpPr>
        <p:spPr bwMode="auto">
          <a:xfrm>
            <a:off x="2774247" y="2921885"/>
            <a:ext cx="1305921" cy="1285974"/>
          </a:xfrm>
          <a:prstGeom prst="roundRect">
            <a:avLst>
              <a:gd name="adj" fmla="val 9900"/>
            </a:avLst>
          </a:prstGeom>
          <a:gradFill flip="none" rotWithShape="1">
            <a:gsLst>
              <a:gs pos="100000">
                <a:srgbClr val="00B0F0"/>
              </a:gs>
              <a:gs pos="0">
                <a:srgbClr val="8661C5"/>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48768" rIns="60960" bIns="48768" numCol="1" spcCol="0" rtlCol="0" fromWordArt="0" anchor="t" anchorCtr="0" forceAA="0" compatLnSpc="1">
            <a:prstTxWarp prst="textNoShape">
              <a:avLst/>
            </a:prstTxWarp>
            <a:noAutofit/>
          </a:bodyPr>
          <a:lstStyle/>
          <a:p>
            <a:pPr defTabSz="310863" fontAlgn="base">
              <a:spcBef>
                <a:spcPct val="0"/>
              </a:spcBef>
              <a:spcAft>
                <a:spcPct val="0"/>
              </a:spcAft>
            </a:pPr>
            <a:endParaRPr lang="en-US" sz="1067" err="1">
              <a:solidFill>
                <a:srgbClr val="FFFFFF"/>
              </a:solidFill>
              <a:latin typeface="Segoe UI"/>
              <a:cs typeface="Segoe UI" pitchFamily="34" charset="0"/>
            </a:endParaRPr>
          </a:p>
        </p:txBody>
      </p:sp>
      <p:sp>
        <p:nvSpPr>
          <p:cNvPr id="28" name="Rectangle: Rounded Corners 27">
            <a:extLst>
              <a:ext uri="{FF2B5EF4-FFF2-40B4-BE49-F238E27FC236}">
                <a16:creationId xmlns:a16="http://schemas.microsoft.com/office/drawing/2014/main" id="{F6E2449B-6088-B4CD-EC1C-C4D6B95EC1E1}"/>
              </a:ext>
            </a:extLst>
          </p:cNvPr>
          <p:cNvSpPr/>
          <p:nvPr/>
        </p:nvSpPr>
        <p:spPr bwMode="auto">
          <a:xfrm>
            <a:off x="8115774" y="2979188"/>
            <a:ext cx="1473251" cy="1176358"/>
          </a:xfrm>
          <a:prstGeom prst="roundRect">
            <a:avLst>
              <a:gd name="adj" fmla="val 9805"/>
            </a:avLst>
          </a:prstGeom>
          <a:solidFill>
            <a:schemeClr val="tx1">
              <a:lumMod val="75000"/>
              <a:lumOff val="25000"/>
            </a:schemeClr>
          </a:solidFill>
          <a:ln w="38100" cap="flat" cmpd="sng" algn="ctr">
            <a:noFill/>
            <a:prstDash val="solid"/>
            <a:headEnd type="none" w="med" len="med"/>
            <a:tailEnd type="none" w="med" len="med"/>
          </a:ln>
          <a:effectLst/>
        </p:spPr>
        <p:txBody>
          <a:bodyPr rot="0" spcFirstLastPara="0" vertOverflow="overflow" horzOverflow="overflow" vert="horz" wrap="square" lIns="20315" tIns="16252" rIns="20315" bIns="16252" numCol="1" spcCol="0" rtlCol="0" fromWordArt="0" anchor="t" anchorCtr="0" forceAA="0" compatLnSpc="1">
            <a:prstTxWarp prst="textNoShape">
              <a:avLst/>
            </a:prstTxWarp>
            <a:noAutofit/>
          </a:bodyPr>
          <a:lstStyle/>
          <a:p>
            <a:pPr defTabSz="103578" fontAlgn="base">
              <a:spcBef>
                <a:spcPct val="0"/>
              </a:spcBef>
              <a:spcAft>
                <a:spcPct val="0"/>
              </a:spcAft>
              <a:defRPr/>
            </a:pPr>
            <a:endParaRPr lang="en-US" sz="167" kern="0">
              <a:solidFill>
                <a:srgbClr val="FFFFFF"/>
              </a:solidFill>
              <a:latin typeface="Segoe UI Variable Display Semib" pitchFamily="2" charset="0"/>
              <a:cs typeface="Segoe Sans Display Semibold" pitchFamily="2" charset="0"/>
            </a:endParaRPr>
          </a:p>
        </p:txBody>
      </p:sp>
      <p:sp>
        <p:nvSpPr>
          <p:cNvPr id="30" name="Rectangle: Rounded Corners 29">
            <a:extLst>
              <a:ext uri="{FF2B5EF4-FFF2-40B4-BE49-F238E27FC236}">
                <a16:creationId xmlns:a16="http://schemas.microsoft.com/office/drawing/2014/main" id="{B13B4F86-23B0-B25F-A4AC-9EBEC38DBD12}"/>
              </a:ext>
            </a:extLst>
          </p:cNvPr>
          <p:cNvSpPr/>
          <p:nvPr/>
        </p:nvSpPr>
        <p:spPr bwMode="auto">
          <a:xfrm>
            <a:off x="2690582" y="2979188"/>
            <a:ext cx="1473251" cy="1176358"/>
          </a:xfrm>
          <a:prstGeom prst="roundRect">
            <a:avLst>
              <a:gd name="adj" fmla="val 9805"/>
            </a:avLst>
          </a:prstGeom>
          <a:solidFill>
            <a:schemeClr val="tx1">
              <a:lumMod val="75000"/>
              <a:lumOff val="25000"/>
            </a:schemeClr>
          </a:solidFill>
          <a:ln w="38100" cap="flat" cmpd="sng" algn="ctr">
            <a:noFill/>
            <a:prstDash val="solid"/>
            <a:headEnd type="none" w="med" len="med"/>
            <a:tailEnd type="none" w="med" len="med"/>
          </a:ln>
          <a:effectLst/>
        </p:spPr>
        <p:txBody>
          <a:bodyPr rot="0" spcFirstLastPara="0" vertOverflow="overflow" horzOverflow="overflow" vert="horz" wrap="square" lIns="20315" tIns="16252" rIns="20315" bIns="16252" numCol="1" spcCol="0" rtlCol="0" fromWordArt="0" anchor="t" anchorCtr="0" forceAA="0" compatLnSpc="1">
            <a:prstTxWarp prst="textNoShape">
              <a:avLst/>
            </a:prstTxWarp>
            <a:noAutofit/>
          </a:bodyPr>
          <a:lstStyle/>
          <a:p>
            <a:pPr defTabSz="103578" fontAlgn="base">
              <a:spcBef>
                <a:spcPct val="0"/>
              </a:spcBef>
              <a:spcAft>
                <a:spcPct val="0"/>
              </a:spcAft>
              <a:defRPr/>
            </a:pPr>
            <a:endParaRPr lang="en-US" sz="167" kern="0">
              <a:solidFill>
                <a:srgbClr val="FFFFFF"/>
              </a:solidFill>
              <a:latin typeface="Segoe UI Variable Display Semib" pitchFamily="2" charset="0"/>
              <a:cs typeface="Segoe Sans Display Semibold" pitchFamily="2" charset="0"/>
            </a:endParaRPr>
          </a:p>
        </p:txBody>
      </p:sp>
      <p:sp>
        <p:nvSpPr>
          <p:cNvPr id="34" name="Title 1">
            <a:extLst>
              <a:ext uri="{FF2B5EF4-FFF2-40B4-BE49-F238E27FC236}">
                <a16:creationId xmlns:a16="http://schemas.microsoft.com/office/drawing/2014/main" id="{E8AD2DBC-4AB9-D117-7307-47F36A51DE86}"/>
              </a:ext>
            </a:extLst>
          </p:cNvPr>
          <p:cNvSpPr txBox="1">
            <a:spLocks/>
          </p:cNvSpPr>
          <p:nvPr/>
        </p:nvSpPr>
        <p:spPr>
          <a:xfrm>
            <a:off x="2852432" y="3443285"/>
            <a:ext cx="1149550" cy="393954"/>
          </a:xfrm>
          <a:prstGeom prst="rect">
            <a:avLst/>
          </a:prstGeom>
          <a:noFill/>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pPr algn="ctr" defTabSz="233215"/>
            <a:r>
              <a:rPr lang="en-US" sz="1280" spc="-13">
                <a:solidFill>
                  <a:srgbClr val="FFFFFF"/>
                </a:solidFill>
                <a:latin typeface="Segoe UI Semibold"/>
                <a:cs typeface="Segoe UI"/>
              </a:rPr>
              <a:t>Security </a:t>
            </a:r>
            <a:br>
              <a:rPr lang="en-US" sz="1280" spc="-13">
                <a:solidFill>
                  <a:srgbClr val="FFFFFF"/>
                </a:solidFill>
                <a:latin typeface="Segoe UI Semibold"/>
                <a:cs typeface="Segoe UI"/>
              </a:rPr>
            </a:br>
            <a:r>
              <a:rPr lang="en-US" sz="1280" spc="-13">
                <a:solidFill>
                  <a:srgbClr val="FFFFFF"/>
                </a:solidFill>
                <a:latin typeface="Segoe UI Semibold"/>
                <a:cs typeface="Segoe UI"/>
              </a:rPr>
              <a:t>for AI </a:t>
            </a:r>
            <a:endParaRPr lang="en-US" sz="1138" spc="-13">
              <a:solidFill>
                <a:srgbClr val="FFFFFF"/>
              </a:solidFill>
              <a:latin typeface="Segoe UI Semibold"/>
              <a:cs typeface="Segoe UI"/>
            </a:endParaRPr>
          </a:p>
        </p:txBody>
      </p:sp>
      <p:sp>
        <p:nvSpPr>
          <p:cNvPr id="35" name="Title 1">
            <a:extLst>
              <a:ext uri="{FF2B5EF4-FFF2-40B4-BE49-F238E27FC236}">
                <a16:creationId xmlns:a16="http://schemas.microsoft.com/office/drawing/2014/main" id="{EB39BA9E-C354-B0E0-092D-F675F4D700E2}"/>
              </a:ext>
            </a:extLst>
          </p:cNvPr>
          <p:cNvSpPr txBox="1">
            <a:spLocks/>
          </p:cNvSpPr>
          <p:nvPr/>
        </p:nvSpPr>
        <p:spPr>
          <a:xfrm>
            <a:off x="8310313" y="3443285"/>
            <a:ext cx="1084175" cy="393954"/>
          </a:xfrm>
          <a:prstGeom prst="rect">
            <a:avLst/>
          </a:prstGeom>
          <a:noFill/>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pPr algn="ctr" defTabSz="233215"/>
            <a:r>
              <a:rPr lang="en-US" sz="1280" spc="-13">
                <a:solidFill>
                  <a:srgbClr val="FFFFFF"/>
                </a:solidFill>
                <a:latin typeface="Segoe UI Semibold"/>
                <a:cs typeface="Segoe UI"/>
              </a:rPr>
              <a:t>AI </a:t>
            </a:r>
            <a:br>
              <a:rPr lang="en-US" sz="1280" spc="-13">
                <a:solidFill>
                  <a:srgbClr val="000000"/>
                </a:solidFill>
                <a:latin typeface="Segoe UI Semibold"/>
              </a:rPr>
            </a:br>
            <a:r>
              <a:rPr lang="en-US" sz="1280" spc="-13">
                <a:solidFill>
                  <a:srgbClr val="FFFFFF"/>
                </a:solidFill>
                <a:latin typeface="Segoe UI Semibold"/>
                <a:cs typeface="Segoe UI"/>
              </a:rPr>
              <a:t>for security</a:t>
            </a:r>
            <a:endParaRPr lang="en-US" sz="1138" spc="-13">
              <a:solidFill>
                <a:srgbClr val="FFFFFF"/>
              </a:solidFill>
              <a:latin typeface="Segoe UI Semibold"/>
              <a:cs typeface="Segoe UI"/>
            </a:endParaRPr>
          </a:p>
        </p:txBody>
      </p:sp>
      <p:grpSp>
        <p:nvGrpSpPr>
          <p:cNvPr id="36" name="Group 35">
            <a:extLst>
              <a:ext uri="{FF2B5EF4-FFF2-40B4-BE49-F238E27FC236}">
                <a16:creationId xmlns:a16="http://schemas.microsoft.com/office/drawing/2014/main" id="{8E732901-7BAB-C39A-8AC0-D3D925EFE684}"/>
              </a:ext>
            </a:extLst>
          </p:cNvPr>
          <p:cNvGrpSpPr/>
          <p:nvPr/>
        </p:nvGrpSpPr>
        <p:grpSpPr>
          <a:xfrm>
            <a:off x="3102529" y="2609599"/>
            <a:ext cx="649357" cy="649357"/>
            <a:chOff x="23984216" y="5678436"/>
            <a:chExt cx="1826316" cy="1826316"/>
          </a:xfrm>
        </p:grpSpPr>
        <p:sp>
          <p:nvSpPr>
            <p:cNvPr id="37" name="Oval 36">
              <a:extLst>
                <a:ext uri="{FF2B5EF4-FFF2-40B4-BE49-F238E27FC236}">
                  <a16:creationId xmlns:a16="http://schemas.microsoft.com/office/drawing/2014/main" id="{4F70E5E4-5415-6E41-EDEB-E13C5B796DBC}"/>
                </a:ext>
              </a:extLst>
            </p:cNvPr>
            <p:cNvSpPr/>
            <p:nvPr/>
          </p:nvSpPr>
          <p:spPr bwMode="auto">
            <a:xfrm>
              <a:off x="23984216" y="5678436"/>
              <a:ext cx="1826316" cy="18263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48768" rIns="60960" bIns="48768" numCol="1" spcCol="0" rtlCol="0" fromWordArt="0" anchor="t" anchorCtr="0" forceAA="0" compatLnSpc="1">
              <a:prstTxWarp prst="textNoShape">
                <a:avLst/>
              </a:prstTxWarp>
              <a:noAutofit/>
            </a:bodyPr>
            <a:lstStyle/>
            <a:p>
              <a:pPr defTabSz="310863" fontAlgn="base">
                <a:spcBef>
                  <a:spcPct val="0"/>
                </a:spcBef>
                <a:spcAft>
                  <a:spcPct val="0"/>
                </a:spcAft>
              </a:pPr>
              <a:endParaRPr lang="en-US" sz="667" err="1">
                <a:solidFill>
                  <a:srgbClr val="FFFFFF"/>
                </a:solidFill>
                <a:latin typeface="Segoe UI"/>
                <a:ea typeface="Segoe UI" pitchFamily="34" charset="0"/>
                <a:cs typeface="Segoe UI" pitchFamily="34" charset="0"/>
              </a:endParaRPr>
            </a:p>
          </p:txBody>
        </p:sp>
        <p:pic>
          <p:nvPicPr>
            <p:cNvPr id="38" name="Graphic 37">
              <a:extLst>
                <a:ext uri="{FF2B5EF4-FFF2-40B4-BE49-F238E27FC236}">
                  <a16:creationId xmlns:a16="http://schemas.microsoft.com/office/drawing/2014/main" id="{B3205B56-5063-0EC0-99BF-4197B525DFC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276790" y="6074031"/>
              <a:ext cx="1241169" cy="1241169"/>
            </a:xfrm>
            <a:prstGeom prst="rect">
              <a:avLst/>
            </a:prstGeom>
          </p:spPr>
        </p:pic>
        <p:sp>
          <p:nvSpPr>
            <p:cNvPr id="39" name="Arc 38">
              <a:extLst>
                <a:ext uri="{FF2B5EF4-FFF2-40B4-BE49-F238E27FC236}">
                  <a16:creationId xmlns:a16="http://schemas.microsoft.com/office/drawing/2014/main" id="{B42ACEDD-2537-34DC-7365-471237381005}"/>
                </a:ext>
              </a:extLst>
            </p:cNvPr>
            <p:cNvSpPr/>
            <p:nvPr/>
          </p:nvSpPr>
          <p:spPr bwMode="auto">
            <a:xfrm>
              <a:off x="24276790" y="5924744"/>
              <a:ext cx="1241169" cy="1241169"/>
            </a:xfrm>
            <a:prstGeom prst="arc">
              <a:avLst>
                <a:gd name="adj1" fmla="val 12604291"/>
                <a:gd name="adj2" fmla="val 19358624"/>
              </a:avLst>
            </a:prstGeom>
            <a:noFill/>
            <a:ln w="63500">
              <a:solidFill>
                <a:srgbClr val="091F2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48768" rIns="60960" bIns="48768" numCol="1" spcCol="0" rtlCol="0" fromWordArt="0" anchor="t" anchorCtr="0" forceAA="0" compatLnSpc="1">
              <a:prstTxWarp prst="textNoShape">
                <a:avLst/>
              </a:prstTxWarp>
              <a:noAutofit/>
            </a:bodyPr>
            <a:lstStyle/>
            <a:p>
              <a:pPr defTabSz="310863" fontAlgn="base">
                <a:spcBef>
                  <a:spcPct val="0"/>
                </a:spcBef>
                <a:spcAft>
                  <a:spcPct val="0"/>
                </a:spcAft>
              </a:pPr>
              <a:endParaRPr lang="en-US" sz="667" err="1">
                <a:solidFill>
                  <a:srgbClr val="FFFFFF"/>
                </a:solidFill>
                <a:latin typeface="Segoe UI"/>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036F3315-A0F6-13F5-792D-E4E07AA106D8}"/>
              </a:ext>
            </a:extLst>
          </p:cNvPr>
          <p:cNvGrpSpPr/>
          <p:nvPr/>
        </p:nvGrpSpPr>
        <p:grpSpPr>
          <a:xfrm>
            <a:off x="8527721" y="2603481"/>
            <a:ext cx="649357" cy="649357"/>
            <a:chOff x="8725863" y="5678436"/>
            <a:chExt cx="1826316" cy="1826316"/>
          </a:xfrm>
        </p:grpSpPr>
        <p:sp>
          <p:nvSpPr>
            <p:cNvPr id="41" name="Oval 40">
              <a:extLst>
                <a:ext uri="{FF2B5EF4-FFF2-40B4-BE49-F238E27FC236}">
                  <a16:creationId xmlns:a16="http://schemas.microsoft.com/office/drawing/2014/main" id="{1142E5DA-0B5E-71C2-7F62-9B205DC6710A}"/>
                </a:ext>
              </a:extLst>
            </p:cNvPr>
            <p:cNvSpPr/>
            <p:nvPr/>
          </p:nvSpPr>
          <p:spPr bwMode="auto">
            <a:xfrm>
              <a:off x="8725863" y="5678436"/>
              <a:ext cx="1826316" cy="18263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48768" rIns="60960" bIns="48768" numCol="1" spcCol="0" rtlCol="0" fromWordArt="0" anchor="t" anchorCtr="0" forceAA="0" compatLnSpc="1">
              <a:prstTxWarp prst="textNoShape">
                <a:avLst/>
              </a:prstTxWarp>
              <a:noAutofit/>
            </a:bodyPr>
            <a:lstStyle/>
            <a:p>
              <a:pPr defTabSz="310863" fontAlgn="base">
                <a:spcBef>
                  <a:spcPct val="0"/>
                </a:spcBef>
                <a:spcAft>
                  <a:spcPct val="0"/>
                </a:spcAft>
              </a:pPr>
              <a:endParaRPr lang="en-US" sz="667" err="1">
                <a:solidFill>
                  <a:srgbClr val="FFFFFF"/>
                </a:solidFill>
                <a:latin typeface="Segoe UI"/>
                <a:ea typeface="Segoe UI" pitchFamily="34" charset="0"/>
                <a:cs typeface="Segoe UI" pitchFamily="34" charset="0"/>
              </a:endParaRPr>
            </a:p>
          </p:txBody>
        </p:sp>
        <p:grpSp>
          <p:nvGrpSpPr>
            <p:cNvPr id="42" name="Group 41">
              <a:extLst>
                <a:ext uri="{FF2B5EF4-FFF2-40B4-BE49-F238E27FC236}">
                  <a16:creationId xmlns:a16="http://schemas.microsoft.com/office/drawing/2014/main" id="{0122ACE9-26D2-8060-9220-A28477A1972A}"/>
                </a:ext>
              </a:extLst>
            </p:cNvPr>
            <p:cNvGrpSpPr/>
            <p:nvPr/>
          </p:nvGrpSpPr>
          <p:grpSpPr>
            <a:xfrm>
              <a:off x="8886172" y="6109658"/>
              <a:ext cx="1505711" cy="998284"/>
              <a:chOff x="10573536" y="3286089"/>
              <a:chExt cx="1606091" cy="1064836"/>
            </a:xfrm>
          </p:grpSpPr>
          <p:pic>
            <p:nvPicPr>
              <p:cNvPr id="43" name="Graphic 42">
                <a:extLst>
                  <a:ext uri="{FF2B5EF4-FFF2-40B4-BE49-F238E27FC236}">
                    <a16:creationId xmlns:a16="http://schemas.microsoft.com/office/drawing/2014/main" id="{925DCBE1-671B-E032-8100-DC2E2075D0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14791" y="3286089"/>
                <a:ext cx="1064836" cy="1064836"/>
              </a:xfrm>
              <a:prstGeom prst="rect">
                <a:avLst/>
              </a:prstGeom>
            </p:spPr>
          </p:pic>
          <p:sp>
            <p:nvSpPr>
              <p:cNvPr id="44" name="Graphic 25">
                <a:extLst>
                  <a:ext uri="{FF2B5EF4-FFF2-40B4-BE49-F238E27FC236}">
                    <a16:creationId xmlns:a16="http://schemas.microsoft.com/office/drawing/2014/main" id="{9E45B9F8-9EEA-E1B9-2EA3-482236EF6387}"/>
                  </a:ext>
                  <a:ext uri="{C183D7F6-B498-43B3-948B-1728B52AA6E4}">
                    <adec:decorative xmlns:adec="http://schemas.microsoft.com/office/drawing/2017/decorative" val="1"/>
                  </a:ext>
                </a:extLst>
              </p:cNvPr>
              <p:cNvSpPr/>
              <p:nvPr/>
            </p:nvSpPr>
            <p:spPr>
              <a:xfrm>
                <a:off x="10573536" y="3371506"/>
                <a:ext cx="685939" cy="857295"/>
              </a:xfrm>
              <a:custGeom>
                <a:avLst/>
                <a:gdLst>
                  <a:gd name="connsiteX0" fmla="*/ 737325 w 857978"/>
                  <a:gd name="connsiteY0" fmla="*/ 643270 h 1072312"/>
                  <a:gd name="connsiteX1" fmla="*/ 857979 w 857978"/>
                  <a:gd name="connsiteY1" fmla="*/ 763815 h 1072312"/>
                  <a:gd name="connsiteX2" fmla="*/ 857979 w 857978"/>
                  <a:gd name="connsiteY2" fmla="*/ 763869 h 1072312"/>
                  <a:gd name="connsiteX3" fmla="*/ 857979 w 857978"/>
                  <a:gd name="connsiteY3" fmla="*/ 794703 h 1072312"/>
                  <a:gd name="connsiteX4" fmla="*/ 809610 w 857978"/>
                  <a:gd name="connsiteY4" fmla="*/ 925437 h 1072312"/>
                  <a:gd name="connsiteX5" fmla="*/ 428775 w 857978"/>
                  <a:gd name="connsiteY5" fmla="*/ 1072312 h 1072312"/>
                  <a:gd name="connsiteX6" fmla="*/ 48154 w 857978"/>
                  <a:gd name="connsiteY6" fmla="*/ 925384 h 1072312"/>
                  <a:gd name="connsiteX7" fmla="*/ 0 w 857978"/>
                  <a:gd name="connsiteY7" fmla="*/ 794810 h 1072312"/>
                  <a:gd name="connsiteX8" fmla="*/ 0 w 857978"/>
                  <a:gd name="connsiteY8" fmla="*/ 763869 h 1072312"/>
                  <a:gd name="connsiteX9" fmla="*/ 120546 w 857978"/>
                  <a:gd name="connsiteY9" fmla="*/ 643216 h 1072312"/>
                  <a:gd name="connsiteX10" fmla="*/ 120600 w 857978"/>
                  <a:gd name="connsiteY10" fmla="*/ 643216 h 1072312"/>
                  <a:gd name="connsiteX11" fmla="*/ 737325 w 857978"/>
                  <a:gd name="connsiteY11" fmla="*/ 643216 h 1072312"/>
                  <a:gd name="connsiteX12" fmla="*/ 737325 w 857978"/>
                  <a:gd name="connsiteY12" fmla="*/ 723705 h 1072312"/>
                  <a:gd name="connsiteX13" fmla="*/ 120600 w 857978"/>
                  <a:gd name="connsiteY13" fmla="*/ 723705 h 1072312"/>
                  <a:gd name="connsiteX14" fmla="*/ 80382 w 857978"/>
                  <a:gd name="connsiteY14" fmla="*/ 763815 h 1072312"/>
                  <a:gd name="connsiteX15" fmla="*/ 80382 w 857978"/>
                  <a:gd name="connsiteY15" fmla="*/ 763869 h 1072312"/>
                  <a:gd name="connsiteX16" fmla="*/ 80382 w 857978"/>
                  <a:gd name="connsiteY16" fmla="*/ 794810 h 1072312"/>
                  <a:gd name="connsiteX17" fmla="*/ 109339 w 857978"/>
                  <a:gd name="connsiteY17" fmla="*/ 873154 h 1072312"/>
                  <a:gd name="connsiteX18" fmla="*/ 428775 w 857978"/>
                  <a:gd name="connsiteY18" fmla="*/ 991877 h 1072312"/>
                  <a:gd name="connsiteX19" fmla="*/ 748479 w 857978"/>
                  <a:gd name="connsiteY19" fmla="*/ 873154 h 1072312"/>
                  <a:gd name="connsiteX20" fmla="*/ 777490 w 857978"/>
                  <a:gd name="connsiteY20" fmla="*/ 794703 h 1072312"/>
                  <a:gd name="connsiteX21" fmla="*/ 777490 w 857978"/>
                  <a:gd name="connsiteY21" fmla="*/ 763869 h 1072312"/>
                  <a:gd name="connsiteX22" fmla="*/ 737379 w 857978"/>
                  <a:gd name="connsiteY22" fmla="*/ 723651 h 1072312"/>
                  <a:gd name="connsiteX23" fmla="*/ 737325 w 857978"/>
                  <a:gd name="connsiteY23" fmla="*/ 723651 h 1072312"/>
                  <a:gd name="connsiteX24" fmla="*/ 428775 w 857978"/>
                  <a:gd name="connsiteY24" fmla="*/ 0 h 1072312"/>
                  <a:gd name="connsiteX25" fmla="*/ 696893 w 857978"/>
                  <a:gd name="connsiteY25" fmla="*/ 268118 h 1072312"/>
                  <a:gd name="connsiteX26" fmla="*/ 428775 w 857978"/>
                  <a:gd name="connsiteY26" fmla="*/ 536237 h 1072312"/>
                  <a:gd name="connsiteX27" fmla="*/ 160657 w 857978"/>
                  <a:gd name="connsiteY27" fmla="*/ 268118 h 1072312"/>
                  <a:gd name="connsiteX28" fmla="*/ 428775 w 857978"/>
                  <a:gd name="connsiteY28" fmla="*/ 0 h 1072312"/>
                  <a:gd name="connsiteX29" fmla="*/ 428775 w 857978"/>
                  <a:gd name="connsiteY29" fmla="*/ 80436 h 1072312"/>
                  <a:gd name="connsiteX30" fmla="*/ 241092 w 857978"/>
                  <a:gd name="connsiteY30" fmla="*/ 268118 h 1072312"/>
                  <a:gd name="connsiteX31" fmla="*/ 428775 w 857978"/>
                  <a:gd name="connsiteY31" fmla="*/ 455801 h 1072312"/>
                  <a:gd name="connsiteX32" fmla="*/ 616458 w 857978"/>
                  <a:gd name="connsiteY32" fmla="*/ 268118 h 1072312"/>
                  <a:gd name="connsiteX33" fmla="*/ 428775 w 857978"/>
                  <a:gd name="connsiteY33" fmla="*/ 80436 h 107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57978" h="1072312">
                    <a:moveTo>
                      <a:pt x="737325" y="643270"/>
                    </a:moveTo>
                    <a:cubicBezTo>
                      <a:pt x="803931" y="643237"/>
                      <a:pt x="857947" y="697210"/>
                      <a:pt x="857979" y="763815"/>
                    </a:cubicBezTo>
                    <a:cubicBezTo>
                      <a:pt x="857979" y="763832"/>
                      <a:pt x="857979" y="763853"/>
                      <a:pt x="857979" y="763869"/>
                    </a:cubicBezTo>
                    <a:lnTo>
                      <a:pt x="857979" y="794703"/>
                    </a:lnTo>
                    <a:cubicBezTo>
                      <a:pt x="857979" y="842642"/>
                      <a:pt x="840819" y="889080"/>
                      <a:pt x="809610" y="925437"/>
                    </a:cubicBezTo>
                    <a:cubicBezTo>
                      <a:pt x="725421" y="1023783"/>
                      <a:pt x="597421" y="1072312"/>
                      <a:pt x="428775" y="1072312"/>
                    </a:cubicBezTo>
                    <a:cubicBezTo>
                      <a:pt x="260075" y="1072312"/>
                      <a:pt x="132129" y="1023783"/>
                      <a:pt x="48154" y="925384"/>
                    </a:cubicBezTo>
                    <a:cubicBezTo>
                      <a:pt x="17073" y="888979"/>
                      <a:pt x="-2" y="842680"/>
                      <a:pt x="0" y="794810"/>
                    </a:cubicBezTo>
                    <a:lnTo>
                      <a:pt x="0" y="763869"/>
                    </a:lnTo>
                    <a:cubicBezTo>
                      <a:pt x="-29" y="697263"/>
                      <a:pt x="53941" y="643248"/>
                      <a:pt x="120546" y="643216"/>
                    </a:cubicBezTo>
                    <a:cubicBezTo>
                      <a:pt x="120564" y="643216"/>
                      <a:pt x="120582" y="643216"/>
                      <a:pt x="120600" y="643216"/>
                    </a:cubicBezTo>
                    <a:lnTo>
                      <a:pt x="737325" y="643216"/>
                    </a:lnTo>
                    <a:close/>
                    <a:moveTo>
                      <a:pt x="737325" y="723705"/>
                    </a:moveTo>
                    <a:lnTo>
                      <a:pt x="120600" y="723705"/>
                    </a:lnTo>
                    <a:cubicBezTo>
                      <a:pt x="98418" y="723673"/>
                      <a:pt x="80411" y="741631"/>
                      <a:pt x="80382" y="763815"/>
                    </a:cubicBezTo>
                    <a:cubicBezTo>
                      <a:pt x="80382" y="763832"/>
                      <a:pt x="80382" y="763853"/>
                      <a:pt x="80382" y="763869"/>
                    </a:cubicBezTo>
                    <a:lnTo>
                      <a:pt x="80382" y="794810"/>
                    </a:lnTo>
                    <a:cubicBezTo>
                      <a:pt x="80382" y="823552"/>
                      <a:pt x="90678" y="851329"/>
                      <a:pt x="109339" y="873154"/>
                    </a:cubicBezTo>
                    <a:cubicBezTo>
                      <a:pt x="176529" y="951874"/>
                      <a:pt x="281953" y="991877"/>
                      <a:pt x="428775" y="991877"/>
                    </a:cubicBezTo>
                    <a:cubicBezTo>
                      <a:pt x="575596" y="991877"/>
                      <a:pt x="681128" y="951874"/>
                      <a:pt x="748479" y="873154"/>
                    </a:cubicBezTo>
                    <a:cubicBezTo>
                      <a:pt x="767194" y="851297"/>
                      <a:pt x="777484" y="823477"/>
                      <a:pt x="777490" y="794703"/>
                    </a:cubicBezTo>
                    <a:lnTo>
                      <a:pt x="777490" y="763869"/>
                    </a:lnTo>
                    <a:cubicBezTo>
                      <a:pt x="777522" y="741685"/>
                      <a:pt x="759563" y="723684"/>
                      <a:pt x="737379" y="723651"/>
                    </a:cubicBezTo>
                    <a:cubicBezTo>
                      <a:pt x="737363" y="723651"/>
                      <a:pt x="737341" y="723651"/>
                      <a:pt x="737325" y="723651"/>
                    </a:cubicBezTo>
                    <a:close/>
                    <a:moveTo>
                      <a:pt x="428775" y="0"/>
                    </a:moveTo>
                    <a:cubicBezTo>
                      <a:pt x="576851" y="0"/>
                      <a:pt x="696893" y="120041"/>
                      <a:pt x="696893" y="268118"/>
                    </a:cubicBezTo>
                    <a:cubicBezTo>
                      <a:pt x="696893" y="416196"/>
                      <a:pt x="576851" y="536237"/>
                      <a:pt x="428775" y="536237"/>
                    </a:cubicBezTo>
                    <a:cubicBezTo>
                      <a:pt x="280697" y="536237"/>
                      <a:pt x="160657" y="416196"/>
                      <a:pt x="160657" y="268118"/>
                    </a:cubicBezTo>
                    <a:cubicBezTo>
                      <a:pt x="160657" y="120041"/>
                      <a:pt x="280697" y="0"/>
                      <a:pt x="428775" y="0"/>
                    </a:cubicBezTo>
                    <a:close/>
                    <a:moveTo>
                      <a:pt x="428775" y="80436"/>
                    </a:moveTo>
                    <a:cubicBezTo>
                      <a:pt x="325120" y="80436"/>
                      <a:pt x="241092" y="164464"/>
                      <a:pt x="241092" y="268118"/>
                    </a:cubicBezTo>
                    <a:cubicBezTo>
                      <a:pt x="241092" y="371773"/>
                      <a:pt x="325120" y="455801"/>
                      <a:pt x="428775" y="455801"/>
                    </a:cubicBezTo>
                    <a:cubicBezTo>
                      <a:pt x="532429" y="455801"/>
                      <a:pt x="616458" y="371773"/>
                      <a:pt x="616458" y="268118"/>
                    </a:cubicBezTo>
                    <a:cubicBezTo>
                      <a:pt x="616458" y="164464"/>
                      <a:pt x="532429" y="80436"/>
                      <a:pt x="428775" y="80436"/>
                    </a:cubicBezTo>
                    <a:close/>
                  </a:path>
                </a:pathLst>
              </a:custGeom>
              <a:solidFill>
                <a:srgbClr val="091F2C"/>
              </a:solidFill>
              <a:ln w="53578" cap="flat">
                <a:noFill/>
                <a:prstDash val="solid"/>
                <a:miter/>
              </a:ln>
            </p:spPr>
            <p:txBody>
              <a:bodyPr rtlCol="0" anchor="ctr"/>
              <a:lstStyle/>
              <a:p>
                <a:pPr defTabSz="749650"/>
                <a:endParaRPr lang="en-US" sz="1476">
                  <a:solidFill>
                    <a:srgbClr val="000000"/>
                  </a:solidFill>
                  <a:latin typeface="Segoe UI"/>
                </a:endParaRPr>
              </a:p>
            </p:txBody>
          </p:sp>
        </p:grpSp>
      </p:grpSp>
      <p:sp>
        <p:nvSpPr>
          <p:cNvPr id="48" name="Title 1">
            <a:extLst>
              <a:ext uri="{FF2B5EF4-FFF2-40B4-BE49-F238E27FC236}">
                <a16:creationId xmlns:a16="http://schemas.microsoft.com/office/drawing/2014/main" id="{0C78A4A9-B717-2AC4-F8B6-5E387C862AED}"/>
              </a:ext>
            </a:extLst>
          </p:cNvPr>
          <p:cNvSpPr txBox="1">
            <a:spLocks/>
          </p:cNvSpPr>
          <p:nvPr/>
        </p:nvSpPr>
        <p:spPr>
          <a:xfrm>
            <a:off x="1918280" y="1174834"/>
            <a:ext cx="8357751" cy="420218"/>
          </a:xfrm>
          <a:prstGeom prst="rect">
            <a:avLst/>
          </a:prstGeom>
        </p:spPr>
        <p:txBody>
          <a:bodyPr/>
          <a:lstStyle>
            <a:defPPr>
              <a:defRPr lang="en-US"/>
            </a:defPPr>
            <a:lvl1pPr algn="ctr" defTabSz="502765" fontAlgn="base">
              <a:lnSpc>
                <a:spcPct val="100000"/>
              </a:lnSpc>
              <a:spcBef>
                <a:spcPct val="0"/>
              </a:spcBef>
              <a:spcAft>
                <a:spcPct val="0"/>
              </a:spcAft>
              <a:buNone/>
              <a:tabLst>
                <a:tab pos="613748" algn="l"/>
              </a:tabLst>
              <a:defRPr sz="4000" b="0" kern="0" cap="none" spc="0" baseline="0">
                <a:ln>
                  <a:noFill/>
                </a:ln>
                <a:gradFill>
                  <a:gsLst>
                    <a:gs pos="70874">
                      <a:srgbClr val="291817"/>
                    </a:gs>
                    <a:gs pos="52448">
                      <a:srgbClr val="291817"/>
                    </a:gs>
                  </a:gsLst>
                  <a:lin ang="5400000" scaled="1"/>
                </a:gradFill>
                <a:effectLst/>
                <a:latin typeface="Segoe UI Variable Display Semib" pitchFamily="2" charset="0"/>
                <a:cs typeface="Segoe UI" pitchFamily="34" charset="0"/>
              </a:defRPr>
            </a:lvl1pPr>
          </a:lstStyle>
          <a:p>
            <a:pPr defTabSz="178783">
              <a:tabLst>
                <a:tab pos="218249" algn="l"/>
              </a:tabLst>
              <a:defRPr/>
            </a:pPr>
            <a:r>
              <a:rPr lang="en-US" sz="2731">
                <a:gradFill>
                  <a:gsLst>
                    <a:gs pos="70874">
                      <a:srgbClr val="FFFFFF"/>
                    </a:gs>
                    <a:gs pos="52448">
                      <a:srgbClr val="FFFFFF"/>
                    </a:gs>
                  </a:gsLst>
                  <a:lin ang="5400000" scaled="1"/>
                </a:gradFill>
              </a:rPr>
              <a:t>Protecting our world in the era of AI</a:t>
            </a:r>
          </a:p>
        </p:txBody>
      </p:sp>
    </p:spTree>
    <p:extLst>
      <p:ext uri="{BB962C8B-B14F-4D97-AF65-F5344CB8AC3E}">
        <p14:creationId xmlns:p14="http://schemas.microsoft.com/office/powerpoint/2010/main" val="5415287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42" presetClass="path" presetSubtype="0" decel="100000" fill="hold" grpId="1" nodeType="withEffect">
                                  <p:stCondLst>
                                    <p:cond delay="0"/>
                                  </p:stCondLst>
                                  <p:childTnLst>
                                    <p:animMotion origin="layout" path="M -2.59259E-6 2.15278E-6 L -2.59259E-6 0.03537 " pathEditMode="relative" rAng="0" ptsTypes="AA">
                                      <p:cBhvr>
                                        <p:cTn id="9" dur="700" spd="-100000" fill="hold"/>
                                        <p:tgtEl>
                                          <p:spTgt spid="48"/>
                                        </p:tgtEl>
                                        <p:attrNameLst>
                                          <p:attrName>ppt_x</p:attrName>
                                          <p:attrName>ppt_y</p:attrName>
                                        </p:attrNameLst>
                                      </p:cBhvr>
                                      <p:rCtr x="0" y="17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8"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7DFE4-A883-35FF-B408-13F8E90C5ABE}"/>
            </a:ext>
          </a:extLst>
        </p:cNvPr>
        <p:cNvGrpSpPr/>
        <p:nvPr/>
      </p:nvGrpSpPr>
      <p:grpSpPr>
        <a:xfrm>
          <a:off x="0" y="0"/>
          <a:ext cx="0" cy="0"/>
          <a:chOff x="0" y="0"/>
          <a:chExt cx="0" cy="0"/>
        </a:xfrm>
      </p:grpSpPr>
      <p:sp>
        <p:nvSpPr>
          <p:cNvPr id="18" name="Safety">
            <a:extLst>
              <a:ext uri="{FF2B5EF4-FFF2-40B4-BE49-F238E27FC236}">
                <a16:creationId xmlns:a16="http://schemas.microsoft.com/office/drawing/2014/main" id="{C236D8C5-8930-8607-D72F-B8F97729D81B}"/>
              </a:ext>
              <a:ext uri="{C183D7F6-B498-43B3-948B-1728B52AA6E4}">
                <adec:decorative xmlns:adec="http://schemas.microsoft.com/office/drawing/2017/decorative" val="1"/>
              </a:ext>
            </a:extLst>
          </p:cNvPr>
          <p:cNvSpPr txBox="1"/>
          <p:nvPr/>
        </p:nvSpPr>
        <p:spPr>
          <a:xfrm>
            <a:off x="7374718" y="3171382"/>
            <a:ext cx="2381055" cy="873399"/>
          </a:xfrm>
          <a:prstGeom prst="roundRect">
            <a:avLst>
              <a:gd name="adj" fmla="val 13343"/>
            </a:avLst>
          </a:prstGeom>
          <a:gradFill flip="none" rotWithShape="1">
            <a:gsLst>
              <a:gs pos="95000">
                <a:srgbClr val="C03BC4"/>
              </a:gs>
              <a:gs pos="19000">
                <a:srgbClr val="515ECD"/>
              </a:gs>
            </a:gsLst>
            <a:path path="circle">
              <a:fillToRect r="100000" b="100000"/>
            </a:path>
            <a:tileRect l="-100000" t="-100000"/>
          </a:gradFill>
          <a:effectLst/>
        </p:spPr>
        <p:txBody>
          <a:bodyPr spcFirstLastPara="1" wrap="square" lIns="136533" tIns="54613" rIns="136533" bIns="54613" numCol="1" anchor="ctr" anchorCtr="0">
            <a:spAutoFit/>
          </a:bodyPr>
          <a:lstStyle>
            <a:defPPr>
              <a:defRPr lang="en-US"/>
            </a:defPPr>
            <a:lvl1pPr marR="0" lvl="0" indent="0" algn="ctr" defTabSz="1788081" fontAlgn="base">
              <a:lnSpc>
                <a:spcPct val="100000"/>
              </a:lnSpc>
              <a:spcBef>
                <a:spcPct val="0"/>
              </a:spcBef>
              <a:spcAft>
                <a:spcPct val="0"/>
              </a:spcAft>
              <a:buClrTx/>
              <a:buSzTx/>
              <a:buFontTx/>
              <a:buNone/>
              <a:tabLst/>
              <a:defRPr kumimoji="0" sz="3793" b="1" i="0" u="none" strike="noStrike" kern="0" cap="none" spc="0" normalizeH="0" baseline="0">
                <a:ln>
                  <a:noFill/>
                </a:ln>
                <a:gradFill>
                  <a:gsLst>
                    <a:gs pos="38532">
                      <a:srgbClr val="FFFFFF"/>
                    </a:gs>
                    <a:gs pos="70000">
                      <a:srgbClr val="FFFFFF"/>
                    </a:gs>
                  </a:gsLst>
                  <a:lin ang="5400000" scaled="1"/>
                </a:gradFill>
                <a:effectLst/>
                <a:uLnTx/>
                <a:uFillTx/>
                <a:latin typeface="Segoe UI Variable Display Semibold" pitchFamily="2" charset="0"/>
                <a:cs typeface="Segoe UI" panose="020B0502040204020203" pitchFamily="34" charset="0"/>
              </a:defRPr>
            </a:lvl1pPr>
          </a:lstStyle>
          <a:p>
            <a:pPr defTabSz="635842">
              <a:defRPr/>
            </a:pPr>
            <a:r>
              <a:rPr lang="en-US" sz="1517"/>
              <a:t>Data Security, Governance, Compliance &amp; Privacy</a:t>
            </a:r>
          </a:p>
        </p:txBody>
      </p:sp>
      <p:sp>
        <p:nvSpPr>
          <p:cNvPr id="19" name="Safety">
            <a:extLst>
              <a:ext uri="{FF2B5EF4-FFF2-40B4-BE49-F238E27FC236}">
                <a16:creationId xmlns:a16="http://schemas.microsoft.com/office/drawing/2014/main" id="{3DC5F2B3-DD75-AB64-03EC-F90910A7C3FF}"/>
              </a:ext>
              <a:ext uri="{C183D7F6-B498-43B3-948B-1728B52AA6E4}">
                <adec:decorative xmlns:adec="http://schemas.microsoft.com/office/drawing/2017/decorative" val="1"/>
              </a:ext>
            </a:extLst>
          </p:cNvPr>
          <p:cNvSpPr txBox="1"/>
          <p:nvPr/>
        </p:nvSpPr>
        <p:spPr>
          <a:xfrm>
            <a:off x="7374718" y="2409976"/>
            <a:ext cx="2381056" cy="585012"/>
          </a:xfrm>
          <a:prstGeom prst="roundRect">
            <a:avLst>
              <a:gd name="adj" fmla="val 12176"/>
            </a:avLst>
          </a:prstGeom>
          <a:gradFill flip="none" rotWithShape="1">
            <a:gsLst>
              <a:gs pos="0">
                <a:srgbClr val="0078D4"/>
              </a:gs>
              <a:gs pos="80000">
                <a:srgbClr val="399A91"/>
              </a:gs>
            </a:gsLst>
            <a:path path="circle">
              <a:fillToRect l="100000" t="100000"/>
            </a:path>
            <a:tileRect r="-100000" b="-100000"/>
          </a:gradFill>
          <a:effectLst/>
        </p:spPr>
        <p:txBody>
          <a:bodyPr spcFirstLastPara="1" wrap="square" lIns="136533" tIns="25600" rIns="136533" bIns="54613" numCol="1" anchor="ctr" anchorCtr="0">
            <a:spAutoFit/>
          </a:bodyPr>
          <a:lstStyle>
            <a:defPPr>
              <a:defRPr lang="en-US"/>
            </a:defPPr>
            <a:lvl1pPr marR="0" lvl="0" indent="0" algn="ctr" defTabSz="1788081" fontAlgn="base">
              <a:lnSpc>
                <a:spcPct val="100000"/>
              </a:lnSpc>
              <a:spcBef>
                <a:spcPct val="0"/>
              </a:spcBef>
              <a:spcAft>
                <a:spcPct val="0"/>
              </a:spcAft>
              <a:buClrTx/>
              <a:buSzTx/>
              <a:buFontTx/>
              <a:buNone/>
              <a:tabLst/>
              <a:defRPr kumimoji="0" sz="3793" b="1" i="0" u="none" strike="noStrike" kern="0" cap="none" spc="0" normalizeH="0" baseline="0">
                <a:ln>
                  <a:noFill/>
                </a:ln>
                <a:gradFill>
                  <a:gsLst>
                    <a:gs pos="38532">
                      <a:srgbClr val="FFFFFF"/>
                    </a:gs>
                    <a:gs pos="70000">
                      <a:srgbClr val="FFFFFF"/>
                    </a:gs>
                  </a:gsLst>
                  <a:lin ang="5400000" scaled="1"/>
                </a:gradFill>
                <a:effectLst/>
                <a:uLnTx/>
                <a:uFillTx/>
                <a:latin typeface="Segoe UI Variable Display Semibold" pitchFamily="2" charset="0"/>
                <a:cs typeface="Segoe UI" panose="020B0502040204020203" pitchFamily="34" charset="0"/>
              </a:defRPr>
            </a:lvl1pPr>
          </a:lstStyle>
          <a:p>
            <a:pPr defTabSz="635842">
              <a:defRPr/>
            </a:pPr>
            <a:r>
              <a:rPr lang="en-US" sz="1517"/>
              <a:t>Threat Protection &amp; Security Operations</a:t>
            </a:r>
          </a:p>
        </p:txBody>
      </p:sp>
      <p:sp>
        <p:nvSpPr>
          <p:cNvPr id="20" name="Safety">
            <a:extLst>
              <a:ext uri="{FF2B5EF4-FFF2-40B4-BE49-F238E27FC236}">
                <a16:creationId xmlns:a16="http://schemas.microsoft.com/office/drawing/2014/main" id="{F1981D07-9DDC-DE22-B6D1-3082AC293759}"/>
              </a:ext>
              <a:ext uri="{C183D7F6-B498-43B3-948B-1728B52AA6E4}">
                <adec:decorative xmlns:adec="http://schemas.microsoft.com/office/drawing/2017/decorative" val="1"/>
              </a:ext>
            </a:extLst>
          </p:cNvPr>
          <p:cNvSpPr txBox="1"/>
          <p:nvPr/>
        </p:nvSpPr>
        <p:spPr>
          <a:xfrm>
            <a:off x="7374718" y="4183802"/>
            <a:ext cx="2381054" cy="860051"/>
          </a:xfrm>
          <a:prstGeom prst="roundRect">
            <a:avLst>
              <a:gd name="adj" fmla="val 14426"/>
            </a:avLst>
          </a:prstGeom>
          <a:gradFill flip="none" rotWithShape="1">
            <a:gsLst>
              <a:gs pos="0">
                <a:srgbClr val="FF5C39"/>
              </a:gs>
              <a:gs pos="80000">
                <a:srgbClr val="C03BC4"/>
              </a:gs>
            </a:gsLst>
            <a:path path="circle">
              <a:fillToRect l="100000" t="100000"/>
            </a:path>
            <a:tileRect r="-100000" b="-100000"/>
          </a:gradFill>
          <a:effectLst/>
        </p:spPr>
        <p:txBody>
          <a:bodyPr spcFirstLastPara="1" wrap="none" lIns="136533" tIns="54613" rIns="136533" bIns="54613" numCol="1" anchor="ctr" anchorCtr="0">
            <a:noAutofit/>
          </a:bodyPr>
          <a:lstStyle>
            <a:defPPr>
              <a:defRPr lang="en-US"/>
            </a:defPPr>
            <a:lvl1pPr marR="0" lvl="0" indent="0" algn="ctr" defTabSz="1877469" fontAlgn="base">
              <a:lnSpc>
                <a:spcPct val="100000"/>
              </a:lnSpc>
              <a:spcBef>
                <a:spcPct val="0"/>
              </a:spcBef>
              <a:spcAft>
                <a:spcPct val="0"/>
              </a:spcAft>
              <a:buClrTx/>
              <a:buSzTx/>
              <a:buFontTx/>
              <a:buNone/>
              <a:tabLst/>
              <a:defRPr kumimoji="0" sz="3810" b="0" i="0" u="none" strike="noStrike" kern="0" cap="none" spc="0" normalizeH="0" baseline="0">
                <a:ln>
                  <a:noFill/>
                </a:ln>
                <a:gradFill>
                  <a:gsLst>
                    <a:gs pos="38532">
                      <a:srgbClr val="FFFFFF"/>
                    </a:gs>
                    <a:gs pos="70000">
                      <a:srgbClr val="FFFFFF"/>
                    </a:gs>
                  </a:gsLst>
                  <a:lin ang="5400000" scaled="1"/>
                </a:gradFill>
                <a:effectLst/>
                <a:uLnTx/>
                <a:uFillTx/>
                <a:latin typeface="Segoe UI Semibold"/>
                <a:cs typeface="Segoe UI" panose="020B0502040204020203" pitchFamily="34" charset="0"/>
              </a:defRPr>
            </a:lvl1pPr>
          </a:lstStyle>
          <a:p>
            <a:pPr defTabSz="667628">
              <a:defRPr/>
            </a:pPr>
            <a:r>
              <a:rPr lang="en-US" sz="1517" b="1">
                <a:latin typeface="Segoe UI Variable Display Semib" pitchFamily="2" charset="0"/>
              </a:rPr>
              <a:t>Identity, Access &amp; </a:t>
            </a:r>
          </a:p>
          <a:p>
            <a:pPr defTabSz="667628">
              <a:defRPr/>
            </a:pPr>
            <a:r>
              <a:rPr lang="en-US" sz="1517" b="1">
                <a:latin typeface="Segoe UI Variable Display Semib" pitchFamily="2" charset="0"/>
              </a:rPr>
              <a:t>Device Management </a:t>
            </a:r>
          </a:p>
        </p:txBody>
      </p:sp>
      <p:sp>
        <p:nvSpPr>
          <p:cNvPr id="24" name="Rectangle: Rounded Corners 33">
            <a:extLst>
              <a:ext uri="{FF2B5EF4-FFF2-40B4-BE49-F238E27FC236}">
                <a16:creationId xmlns:a16="http://schemas.microsoft.com/office/drawing/2014/main" id="{81CF5910-D3E7-7C66-F80C-17CEBDCDF08B}"/>
              </a:ext>
            </a:extLst>
          </p:cNvPr>
          <p:cNvSpPr/>
          <p:nvPr/>
        </p:nvSpPr>
        <p:spPr bwMode="auto">
          <a:xfrm>
            <a:off x="4280854" y="3861296"/>
            <a:ext cx="1129938" cy="397959"/>
          </a:xfrm>
          <a:prstGeom prst="roundRect">
            <a:avLst>
              <a:gd name="adj" fmla="val 19116"/>
            </a:avLst>
          </a:prstGeom>
          <a:gradFill flip="none" rotWithShape="1">
            <a:gsLst>
              <a:gs pos="0">
                <a:srgbClr val="F65567"/>
              </a:gs>
              <a:gs pos="32000">
                <a:srgbClr val="AC35AF"/>
              </a:gs>
              <a:gs pos="68000">
                <a:srgbClr val="0A6BBA"/>
              </a:gs>
              <a:gs pos="100000">
                <a:srgbClr val="318581"/>
              </a:gs>
            </a:gsLst>
            <a:path path="circle">
              <a:fillToRect l="100000" t="100000"/>
            </a:path>
            <a:tileRect r="-100000" b="-100000"/>
          </a:gradFill>
          <a:ln>
            <a:noFill/>
          </a:ln>
        </p:spPr>
        <p:txBody>
          <a:bodyPr wrap="none" lIns="181138" tIns="36228" rIns="181138" bIns="72456" rtlCol="0" anchor="ctr">
            <a:noAutofit/>
          </a:bodyPr>
          <a:lstStyle/>
          <a:p>
            <a:pPr algn="ctr" defTabSz="693693" fontAlgn="base">
              <a:spcBef>
                <a:spcPct val="0"/>
              </a:spcBef>
              <a:spcAft>
                <a:spcPct val="0"/>
              </a:spcAft>
              <a:tabLst>
                <a:tab pos="1128160" algn="l"/>
              </a:tabLst>
              <a:defRPr/>
            </a:pPr>
            <a:endParaRPr lang="en-US" sz="2731" err="1">
              <a:ln w="3175">
                <a:noFill/>
              </a:ln>
              <a:solidFill>
                <a:srgbClr val="FFFFFF"/>
              </a:solidFill>
              <a:latin typeface="Segoe UI Semibold"/>
              <a:cs typeface="Segoe UI" pitchFamily="34" charset="0"/>
            </a:endParaRPr>
          </a:p>
        </p:txBody>
      </p:sp>
      <p:sp>
        <p:nvSpPr>
          <p:cNvPr id="45" name="TextBox 44">
            <a:extLst>
              <a:ext uri="{FF2B5EF4-FFF2-40B4-BE49-F238E27FC236}">
                <a16:creationId xmlns:a16="http://schemas.microsoft.com/office/drawing/2014/main" id="{AE551AFD-2FBD-6DCD-0561-74FE1ECBA7BE}"/>
              </a:ext>
            </a:extLst>
          </p:cNvPr>
          <p:cNvSpPr txBox="1"/>
          <p:nvPr/>
        </p:nvSpPr>
        <p:spPr>
          <a:xfrm>
            <a:off x="3600575" y="3500111"/>
            <a:ext cx="2490496" cy="675185"/>
          </a:xfrm>
          <a:prstGeom prst="rect">
            <a:avLst/>
          </a:prstGeom>
        </p:spPr>
        <p:txBody>
          <a:bodyPr vert="horz" wrap="square" lIns="0" tIns="0" rIns="0" bIns="0" rtlCol="0" anchor="ctr">
            <a:spAutoFit/>
          </a:bodyPr>
          <a:lstStyle>
            <a:lvl1pPr defTabSz="932742">
              <a:lnSpc>
                <a:spcPct val="100000"/>
              </a:lnSpc>
              <a:spcBef>
                <a:spcPct val="0"/>
              </a:spcBef>
              <a:buNone/>
              <a:defRPr lang="en-US" sz="3600" b="0" cap="none" spc="-50" baseline="0" dirty="0" smtClean="0">
                <a:ln w="3175">
                  <a:noFill/>
                </a:ln>
                <a:effectLst/>
                <a:latin typeface="+mj-lt"/>
                <a:cs typeface="Segoe UI" pitchFamily="34" charset="0"/>
              </a:defRPr>
            </a:lvl1pPr>
          </a:lstStyle>
          <a:p>
            <a:pPr algn="ctr" defTabSz="707580">
              <a:spcAft>
                <a:spcPts val="427"/>
              </a:spcAft>
              <a:defRPr/>
            </a:pPr>
            <a:r>
              <a:rPr lang="en-US" sz="1920" b="1" spc="-38">
                <a:gradFill>
                  <a:gsLst>
                    <a:gs pos="0">
                      <a:srgbClr val="FF5C39"/>
                    </a:gs>
                    <a:gs pos="75000">
                      <a:srgbClr val="C03BC4"/>
                    </a:gs>
                  </a:gsLst>
                  <a:path path="circle">
                    <a:fillToRect l="100000" t="100000"/>
                  </a:path>
                </a:gradFill>
                <a:latin typeface="Segoe UI Variable Display Semib"/>
                <a:cs typeface="Segoe UI"/>
              </a:rPr>
              <a:t>Protecting</a:t>
            </a:r>
            <a:endParaRPr lang="en-US" sz="1920" b="1" spc="-38">
              <a:gradFill>
                <a:gsLst>
                  <a:gs pos="0">
                    <a:srgbClr val="FF5C39"/>
                  </a:gs>
                  <a:gs pos="75000">
                    <a:srgbClr val="C03BC4"/>
                  </a:gs>
                </a:gsLst>
                <a:path path="circle">
                  <a:fillToRect l="100000" t="100000"/>
                </a:path>
              </a:gradFill>
              <a:latin typeface="Segoe UI Variable Display Semib"/>
            </a:endParaRPr>
          </a:p>
          <a:p>
            <a:pPr algn="ctr" defTabSz="707580">
              <a:defRPr/>
            </a:pPr>
            <a:r>
              <a:rPr lang="en-US" sz="2134" b="1" spc="-38">
                <a:solidFill>
                  <a:srgbClr val="FFFFFF"/>
                </a:solidFill>
                <a:latin typeface="Segoe UI Variable Display Semib"/>
                <a:cs typeface="Segoe UI"/>
              </a:rPr>
              <a:t>your AI</a:t>
            </a:r>
          </a:p>
        </p:txBody>
      </p:sp>
      <p:sp useBgFill="1">
        <p:nvSpPr>
          <p:cNvPr id="4" name="Hide">
            <a:extLst>
              <a:ext uri="{FF2B5EF4-FFF2-40B4-BE49-F238E27FC236}">
                <a16:creationId xmlns:a16="http://schemas.microsoft.com/office/drawing/2014/main" id="{DBCACCA2-9520-504B-44E8-6C3701F817F0}"/>
              </a:ext>
            </a:extLst>
          </p:cNvPr>
          <p:cNvSpPr/>
          <p:nvPr/>
        </p:nvSpPr>
        <p:spPr bwMode="auto">
          <a:xfrm>
            <a:off x="3022463" y="1973836"/>
            <a:ext cx="3616711" cy="3616709"/>
          </a:xfrm>
          <a:prstGeom prst="donut">
            <a:avLst>
              <a:gd name="adj" fmla="val 11959"/>
            </a:avLst>
          </a:prstGeom>
        </p:spPr>
        <p:txBody>
          <a:bodyPr wrap="square" lIns="136533" tIns="191146" rIns="136533" bIns="136533" rtlCol="0" anchor="t" anchorCtr="0">
            <a:noAutofit/>
          </a:bodyPr>
          <a:lstStyle/>
          <a:p>
            <a:pPr defTabSz="1320456" fontAlgn="base">
              <a:spcBef>
                <a:spcPts val="910"/>
              </a:spcBef>
              <a:spcAft>
                <a:spcPct val="0"/>
              </a:spcAft>
              <a:buSzPts val="1000"/>
              <a:tabLst>
                <a:tab pos="139358" algn="l"/>
              </a:tabLst>
              <a:defRPr/>
            </a:pPr>
            <a:endParaRPr lang="en-US" sz="910"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grpSp>
        <p:nvGrpSpPr>
          <p:cNvPr id="5" name="Group 4">
            <a:extLst>
              <a:ext uri="{FF2B5EF4-FFF2-40B4-BE49-F238E27FC236}">
                <a16:creationId xmlns:a16="http://schemas.microsoft.com/office/drawing/2014/main" id="{DC765679-2924-8296-713B-FBE19863E0AF}"/>
              </a:ext>
            </a:extLst>
          </p:cNvPr>
          <p:cNvGrpSpPr/>
          <p:nvPr/>
        </p:nvGrpSpPr>
        <p:grpSpPr>
          <a:xfrm>
            <a:off x="2885693" y="1877786"/>
            <a:ext cx="3863179" cy="3846268"/>
            <a:chOff x="14557525" y="479730"/>
            <a:chExt cx="5718409" cy="5687560"/>
          </a:xfrm>
        </p:grpSpPr>
        <p:sp>
          <p:nvSpPr>
            <p:cNvPr id="6" name="Donut 57">
              <a:extLst>
                <a:ext uri="{FF2B5EF4-FFF2-40B4-BE49-F238E27FC236}">
                  <a16:creationId xmlns:a16="http://schemas.microsoft.com/office/drawing/2014/main" id="{4D2AB8A7-A716-4D9D-B7E9-F4B78D75F6FD}"/>
                </a:ext>
              </a:extLst>
            </p:cNvPr>
            <p:cNvSpPr/>
            <p:nvPr/>
          </p:nvSpPr>
          <p:spPr bwMode="auto">
            <a:xfrm>
              <a:off x="14607483" y="489429"/>
              <a:ext cx="5668166" cy="5668162"/>
            </a:xfrm>
            <a:prstGeom prst="donut">
              <a:avLst>
                <a:gd name="adj" fmla="val 14634"/>
              </a:avLst>
            </a:prstGeom>
            <a:gradFill flip="none" rotWithShape="1">
              <a:gsLst>
                <a:gs pos="75000">
                  <a:schemeClr val="tx1">
                    <a:alpha val="0"/>
                  </a:schemeClr>
                </a:gs>
                <a:gs pos="12000">
                  <a:schemeClr val="tx1">
                    <a:alpha val="16881"/>
                  </a:schemeClr>
                </a:gs>
              </a:gsLst>
              <a:path path="circle">
                <a:fillToRect l="50000" t="50000" r="50000" b="50000"/>
              </a:path>
              <a:tileRect/>
            </a:gradFill>
          </p:spPr>
          <p:txBody>
            <a:bodyPr wrap="square" lIns="136533" tIns="191146" rIns="136533" bIns="136533" rtlCol="0" anchor="t" anchorCtr="0">
              <a:noAutofit/>
            </a:bodyPr>
            <a:lstStyle/>
            <a:p>
              <a:pPr defTabSz="1320456" fontAlgn="base">
                <a:spcBef>
                  <a:spcPts val="910"/>
                </a:spcBef>
                <a:spcAft>
                  <a:spcPct val="0"/>
                </a:spcAft>
                <a:buSzPts val="1000"/>
                <a:tabLst>
                  <a:tab pos="139358" algn="l"/>
                </a:tabLst>
                <a:defRPr/>
              </a:pPr>
              <a:endParaRPr lang="en-US" sz="910"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grpSp>
          <p:nvGrpSpPr>
            <p:cNvPr id="7" name="Group 6">
              <a:extLst>
                <a:ext uri="{FF2B5EF4-FFF2-40B4-BE49-F238E27FC236}">
                  <a16:creationId xmlns:a16="http://schemas.microsoft.com/office/drawing/2014/main" id="{99A51EFE-E273-6B4E-08E1-87E84332E37C}"/>
                </a:ext>
              </a:extLst>
            </p:cNvPr>
            <p:cNvGrpSpPr/>
            <p:nvPr/>
          </p:nvGrpSpPr>
          <p:grpSpPr>
            <a:xfrm>
              <a:off x="14557525" y="479730"/>
              <a:ext cx="5718409" cy="5687560"/>
              <a:chOff x="5465209" y="480334"/>
              <a:chExt cx="5718409" cy="5687560"/>
            </a:xfrm>
          </p:grpSpPr>
          <p:sp>
            <p:nvSpPr>
              <p:cNvPr id="8" name="TextBox 7">
                <a:extLst>
                  <a:ext uri="{FF2B5EF4-FFF2-40B4-BE49-F238E27FC236}">
                    <a16:creationId xmlns:a16="http://schemas.microsoft.com/office/drawing/2014/main" id="{ACB899C4-2616-3638-4E76-8F9F5DF34886}"/>
                  </a:ext>
                </a:extLst>
              </p:cNvPr>
              <p:cNvSpPr txBox="1"/>
              <p:nvPr/>
            </p:nvSpPr>
            <p:spPr>
              <a:xfrm>
                <a:off x="5465209" y="480334"/>
                <a:ext cx="5687567" cy="5687560"/>
              </a:xfrm>
              <a:prstGeom prst="rect">
                <a:avLst/>
              </a:prstGeom>
              <a:noFill/>
            </p:spPr>
            <p:txBody>
              <a:bodyPr spcFirstLastPara="1" wrap="square" lIns="0" tIns="0" rIns="0" bIns="0" numCol="1" rtlCol="0">
                <a:prstTxWarp prst="textArchDown">
                  <a:avLst/>
                </a:prstTxWarp>
                <a:spAutoFit/>
              </a:bodyPr>
              <a:lstStyle/>
              <a:p>
                <a:pPr algn="ctr" defTabSz="693640">
                  <a:defRPr/>
                </a:pPr>
                <a:r>
                  <a:rPr lang="en-US" sz="1565" b="1">
                    <a:gradFill flip="none" rotWithShape="1">
                      <a:gsLst>
                        <a:gs pos="0">
                          <a:srgbClr val="FF5C39"/>
                        </a:gs>
                        <a:gs pos="75000">
                          <a:srgbClr val="C03BC4"/>
                        </a:gs>
                      </a:gsLst>
                      <a:path path="circle">
                        <a:fillToRect l="100000" t="100000"/>
                      </a:path>
                      <a:tileRect r="-100000" b="-100000"/>
                    </a:gradFill>
                    <a:latin typeface="Segoe UI Variable Display Semib" pitchFamily="2" charset="0"/>
                  </a:rPr>
                  <a:t>      Microsoft Security  </a:t>
                </a:r>
              </a:p>
            </p:txBody>
          </p:sp>
          <p:sp>
            <p:nvSpPr>
              <p:cNvPr id="9" name="Freeform 60" descr="Diagram representing Microsoft's approach to Trustworthy AI, emphasizing the importance of trust in unlocking human potential. The central text states 'Microsoft Trustworthy AI' with the tagline 'Unlocking human potential starts with trust.' Surrounding the central text is a circular framework divided into three key components: 'Safety,' 'Security,' and 'Privacy.' The outer circle connects these components to 'Commitments' on the left and 'Capabilities' on the right, symbolizing a continuous cycle of trust, responsibility, and innovation in AI.">
                <a:extLst>
                  <a:ext uri="{FF2B5EF4-FFF2-40B4-BE49-F238E27FC236}">
                    <a16:creationId xmlns:a16="http://schemas.microsoft.com/office/drawing/2014/main" id="{FCF8A1C2-37A2-C966-1AB1-FBE50AE0A1BD}"/>
                  </a:ext>
                </a:extLst>
              </p:cNvPr>
              <p:cNvSpPr/>
              <p:nvPr/>
            </p:nvSpPr>
            <p:spPr>
              <a:xfrm>
                <a:off x="5502562" y="484449"/>
                <a:ext cx="5681056" cy="5351395"/>
              </a:xfrm>
              <a:custGeom>
                <a:avLst/>
                <a:gdLst>
                  <a:gd name="connsiteX0" fmla="*/ 2840528 w 5681056"/>
                  <a:gd name="connsiteY0" fmla="*/ 0 h 5351395"/>
                  <a:gd name="connsiteX1" fmla="*/ 5681056 w 5681056"/>
                  <a:gd name="connsiteY1" fmla="*/ 2840528 h 5351395"/>
                  <a:gd name="connsiteX2" fmla="*/ 4194492 w 5681056"/>
                  <a:gd name="connsiteY2" fmla="*/ 5338220 h 5351395"/>
                  <a:gd name="connsiteX3" fmla="*/ 4167142 w 5681056"/>
                  <a:gd name="connsiteY3" fmla="*/ 5351395 h 5351395"/>
                  <a:gd name="connsiteX4" fmla="*/ 4153849 w 5681056"/>
                  <a:gd name="connsiteY4" fmla="*/ 5346389 h 5351395"/>
                  <a:gd name="connsiteX5" fmla="*/ 4148226 w 5681056"/>
                  <a:gd name="connsiteY5" fmla="*/ 5334048 h 5351395"/>
                  <a:gd name="connsiteX6" fmla="*/ 4148741 w 5681056"/>
                  <a:gd name="connsiteY6" fmla="*/ 5332918 h 5351395"/>
                  <a:gd name="connsiteX7" fmla="*/ 4182740 w 5681056"/>
                  <a:gd name="connsiteY7" fmla="*/ 5316540 h 5351395"/>
                  <a:gd name="connsiteX8" fmla="*/ 5656400 w 5681056"/>
                  <a:gd name="connsiteY8" fmla="*/ 2840528 h 5351395"/>
                  <a:gd name="connsiteX9" fmla="*/ 2840528 w 5681056"/>
                  <a:gd name="connsiteY9" fmla="*/ 24656 h 5351395"/>
                  <a:gd name="connsiteX10" fmla="*/ 24656 w 5681056"/>
                  <a:gd name="connsiteY10" fmla="*/ 2840528 h 5351395"/>
                  <a:gd name="connsiteX11" fmla="*/ 1498317 w 5681056"/>
                  <a:gd name="connsiteY11" fmla="*/ 5316540 h 5351395"/>
                  <a:gd name="connsiteX12" fmla="*/ 1523995 w 5681056"/>
                  <a:gd name="connsiteY12" fmla="*/ 5328909 h 5351395"/>
                  <a:gd name="connsiteX13" fmla="*/ 1526335 w 5681056"/>
                  <a:gd name="connsiteY13" fmla="*/ 5334047 h 5351395"/>
                  <a:gd name="connsiteX14" fmla="*/ 1520713 w 5681056"/>
                  <a:gd name="connsiteY14" fmla="*/ 5346388 h 5351395"/>
                  <a:gd name="connsiteX15" fmla="*/ 1511063 w 5681056"/>
                  <a:gd name="connsiteY15" fmla="*/ 5350021 h 5351395"/>
                  <a:gd name="connsiteX16" fmla="*/ 1486564 w 5681056"/>
                  <a:gd name="connsiteY16" fmla="*/ 5338220 h 5351395"/>
                  <a:gd name="connsiteX17" fmla="*/ 0 w 5681056"/>
                  <a:gd name="connsiteY17" fmla="*/ 2840528 h 5351395"/>
                  <a:gd name="connsiteX18" fmla="*/ 2840528 w 5681056"/>
                  <a:gd name="connsiteY18" fmla="*/ 0 h 5351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81056" h="5351395">
                    <a:moveTo>
                      <a:pt x="2840528" y="0"/>
                    </a:moveTo>
                    <a:cubicBezTo>
                      <a:pt x="4409308" y="0"/>
                      <a:pt x="5681056" y="1271748"/>
                      <a:pt x="5681056" y="2840528"/>
                    </a:cubicBezTo>
                    <a:cubicBezTo>
                      <a:pt x="5681056" y="3919065"/>
                      <a:pt x="5079956" y="4857207"/>
                      <a:pt x="4194492" y="5338220"/>
                    </a:cubicBezTo>
                    <a:lnTo>
                      <a:pt x="4167142" y="5351395"/>
                    </a:lnTo>
                    <a:lnTo>
                      <a:pt x="4153849" y="5346389"/>
                    </a:lnTo>
                    <a:cubicBezTo>
                      <a:pt x="4150375" y="5343231"/>
                      <a:pt x="4148226" y="5338868"/>
                      <a:pt x="4148226" y="5334048"/>
                    </a:cubicBezTo>
                    <a:lnTo>
                      <a:pt x="4148741" y="5332918"/>
                    </a:lnTo>
                    <a:lnTo>
                      <a:pt x="4182740" y="5316540"/>
                    </a:lnTo>
                    <a:cubicBezTo>
                      <a:pt x="5060518" y="4839702"/>
                      <a:pt x="5656400" y="3909703"/>
                      <a:pt x="5656400" y="2840528"/>
                    </a:cubicBezTo>
                    <a:cubicBezTo>
                      <a:pt x="5656400" y="1285365"/>
                      <a:pt x="4395691" y="24656"/>
                      <a:pt x="2840528" y="24656"/>
                    </a:cubicBezTo>
                    <a:cubicBezTo>
                      <a:pt x="1285365" y="24656"/>
                      <a:pt x="24656" y="1285365"/>
                      <a:pt x="24656" y="2840528"/>
                    </a:cubicBezTo>
                    <a:cubicBezTo>
                      <a:pt x="24656" y="3909703"/>
                      <a:pt x="620538" y="4839702"/>
                      <a:pt x="1498317" y="5316540"/>
                    </a:cubicBezTo>
                    <a:lnTo>
                      <a:pt x="1523995" y="5328909"/>
                    </a:lnTo>
                    <a:lnTo>
                      <a:pt x="1526335" y="5334047"/>
                    </a:lnTo>
                    <a:cubicBezTo>
                      <a:pt x="1526335" y="5338866"/>
                      <a:pt x="1524187" y="5343229"/>
                      <a:pt x="1520713" y="5346388"/>
                    </a:cubicBezTo>
                    <a:lnTo>
                      <a:pt x="1511063" y="5350021"/>
                    </a:lnTo>
                    <a:lnTo>
                      <a:pt x="1486564" y="5338220"/>
                    </a:lnTo>
                    <a:cubicBezTo>
                      <a:pt x="601100" y="4857207"/>
                      <a:pt x="0" y="3919065"/>
                      <a:pt x="0" y="2840528"/>
                    </a:cubicBezTo>
                    <a:cubicBezTo>
                      <a:pt x="0" y="1271748"/>
                      <a:pt x="1271748" y="0"/>
                      <a:pt x="2840528" y="0"/>
                    </a:cubicBezTo>
                    <a:close/>
                  </a:path>
                </a:pathLst>
              </a:custGeom>
              <a:gradFill flip="none" rotWithShape="1">
                <a:gsLst>
                  <a:gs pos="94000">
                    <a:srgbClr val="C03BC4"/>
                  </a:gs>
                  <a:gs pos="0">
                    <a:srgbClr val="F4364C"/>
                  </a:gs>
                </a:gsLst>
                <a:lin ang="13500000" scaled="1"/>
                <a:tileRect/>
              </a:gradFill>
              <a:ln w="76200" cap="rnd">
                <a:noFill/>
                <a:headEnd type="none" w="lg" len="med"/>
                <a:tailEnd type="arrow" w="lg" len="sm"/>
              </a:ln>
              <a:effectLst/>
            </p:spPr>
            <p:style>
              <a:lnRef idx="1">
                <a:schemeClr val="accent1"/>
              </a:lnRef>
              <a:fillRef idx="0">
                <a:schemeClr val="accent1"/>
              </a:fillRef>
              <a:effectRef idx="0">
                <a:schemeClr val="accent1"/>
              </a:effectRef>
              <a:fontRef idx="minor">
                <a:schemeClr val="tx1"/>
              </a:fontRef>
            </p:style>
            <p:txBody>
              <a:bodyPr wrap="square" lIns="0" tIns="0" rIns="0" bIns="52025" rtlCol="0" anchor="ctr">
                <a:noAutofit/>
              </a:bodyPr>
              <a:lstStyle/>
              <a:p>
                <a:pPr algn="ctr" defTabSz="457784" fontAlgn="base">
                  <a:spcBef>
                    <a:spcPts val="569"/>
                  </a:spcBef>
                  <a:spcAft>
                    <a:spcPct val="0"/>
                  </a:spcAft>
                  <a:tabLst>
                    <a:tab pos="465734" algn="l"/>
                  </a:tabLst>
                  <a:defRPr/>
                </a:pPr>
                <a:endParaRPr lang="en-US" sz="910" spc="-10">
                  <a:ln w="3175">
                    <a:noFill/>
                  </a:ln>
                  <a:gradFill flip="none" rotWithShape="1">
                    <a:gsLst>
                      <a:gs pos="32000">
                        <a:srgbClr val="C03BC4"/>
                      </a:gs>
                      <a:gs pos="0">
                        <a:srgbClr val="D33244"/>
                      </a:gs>
                      <a:gs pos="100000">
                        <a:srgbClr val="297071"/>
                      </a:gs>
                      <a:gs pos="68000">
                        <a:srgbClr val="0078D4"/>
                      </a:gs>
                    </a:gsLst>
                    <a:path path="circle">
                      <a:fillToRect l="100000" t="100000"/>
                    </a:path>
                    <a:tileRect r="-100000" b="-100000"/>
                  </a:gradFill>
                  <a:latin typeface="Segoe UI Variable Display Semib" pitchFamily="2" charset="0"/>
                  <a:cs typeface="Segoe UI" panose="020B0502040204020203" pitchFamily="34" charset="0"/>
                </a:endParaRPr>
              </a:p>
            </p:txBody>
          </p:sp>
        </p:grpSp>
      </p:grpSp>
      <p:sp>
        <p:nvSpPr>
          <p:cNvPr id="10" name="Oval 9">
            <a:extLst>
              <a:ext uri="{FF2B5EF4-FFF2-40B4-BE49-F238E27FC236}">
                <a16:creationId xmlns:a16="http://schemas.microsoft.com/office/drawing/2014/main" id="{4C6A4F0A-5CD6-33F0-94BF-9946C7503CA7}"/>
              </a:ext>
            </a:extLst>
          </p:cNvPr>
          <p:cNvSpPr/>
          <p:nvPr/>
        </p:nvSpPr>
        <p:spPr bwMode="auto">
          <a:xfrm>
            <a:off x="2615771" y="3811534"/>
            <a:ext cx="731321" cy="744588"/>
          </a:xfrm>
          <a:prstGeom prst="ellipse">
            <a:avLst/>
          </a:prstGeom>
          <a:solidFill>
            <a:srgbClr val="22364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8718" tIns="110974" rIns="138718" bIns="110974" numCol="1" spcCol="0" rtlCol="0" fromWordArt="0" anchor="t" anchorCtr="0" forceAA="0" compatLnSpc="1">
            <a:prstTxWarp prst="textNoShape">
              <a:avLst/>
            </a:prstTxWarp>
            <a:noAutofit/>
          </a:bodyPr>
          <a:lstStyle/>
          <a:p>
            <a:pPr defTabSz="707375" fontAlgn="base">
              <a:spcBef>
                <a:spcPct val="0"/>
              </a:spcBef>
              <a:spcAft>
                <a:spcPct val="0"/>
              </a:spcAft>
              <a:defRPr/>
            </a:pPr>
            <a:endParaRPr lang="en-US" sz="3481" err="1">
              <a:solidFill>
                <a:srgbClr val="FFFFFF"/>
              </a:solidFill>
              <a:latin typeface="Segoe UI"/>
              <a:cs typeface="Segoe UI" pitchFamily="34" charset="0"/>
            </a:endParaRPr>
          </a:p>
        </p:txBody>
      </p:sp>
      <p:grpSp>
        <p:nvGrpSpPr>
          <p:cNvPr id="11" name="Group 10">
            <a:extLst>
              <a:ext uri="{FF2B5EF4-FFF2-40B4-BE49-F238E27FC236}">
                <a16:creationId xmlns:a16="http://schemas.microsoft.com/office/drawing/2014/main" id="{713FAD6E-AC14-DB37-967E-0ECA5721868F}"/>
              </a:ext>
            </a:extLst>
          </p:cNvPr>
          <p:cNvGrpSpPr/>
          <p:nvPr/>
        </p:nvGrpSpPr>
        <p:grpSpPr>
          <a:xfrm>
            <a:off x="3304135" y="2299788"/>
            <a:ext cx="3020448" cy="3020448"/>
            <a:chOff x="6145089" y="1163435"/>
            <a:chExt cx="4380240" cy="4380240"/>
          </a:xfrm>
        </p:grpSpPr>
        <p:sp>
          <p:nvSpPr>
            <p:cNvPr id="12" name="TextBox 11">
              <a:extLst>
                <a:ext uri="{FF2B5EF4-FFF2-40B4-BE49-F238E27FC236}">
                  <a16:creationId xmlns:a16="http://schemas.microsoft.com/office/drawing/2014/main" id="{6C23D278-4397-F16A-0B44-F742642AF6B4}"/>
                </a:ext>
              </a:extLst>
            </p:cNvPr>
            <p:cNvSpPr txBox="1"/>
            <p:nvPr/>
          </p:nvSpPr>
          <p:spPr>
            <a:xfrm rot="19983295">
              <a:off x="6145330" y="1163437"/>
              <a:ext cx="4379760" cy="4380238"/>
            </a:xfrm>
            <a:prstGeom prst="rect">
              <a:avLst/>
            </a:prstGeom>
            <a:noFill/>
          </p:spPr>
          <p:txBody>
            <a:bodyPr spcFirstLastPara="1" wrap="none" lIns="0" tIns="0" rIns="0" bIns="0" numCol="1" rtlCol="0">
              <a:prstTxWarp prst="textArchDown">
                <a:avLst/>
              </a:prstTxWarp>
              <a:spAutoFit/>
            </a:bodyPr>
            <a:lstStyle/>
            <a:p>
              <a:pPr defTabSz="693640">
                <a:defRPr/>
              </a:pPr>
              <a:r>
                <a:rPr lang="en-US" sz="1214" b="1">
                  <a:solidFill>
                    <a:srgbClr val="FFFFFF"/>
                  </a:solidFill>
                  <a:latin typeface="Segoe UI Variable Display Semib" pitchFamily="2" charset="0"/>
                </a:rPr>
                <a:t>Microsoft Entra</a:t>
              </a:r>
            </a:p>
          </p:txBody>
        </p:sp>
        <p:sp>
          <p:nvSpPr>
            <p:cNvPr id="13" name="TextBox 12">
              <a:extLst>
                <a:ext uri="{FF2B5EF4-FFF2-40B4-BE49-F238E27FC236}">
                  <a16:creationId xmlns:a16="http://schemas.microsoft.com/office/drawing/2014/main" id="{2B34FEBE-3198-6CB3-0C00-D775EC3A77A3}"/>
                </a:ext>
              </a:extLst>
            </p:cNvPr>
            <p:cNvSpPr txBox="1"/>
            <p:nvPr/>
          </p:nvSpPr>
          <p:spPr>
            <a:xfrm rot="56756">
              <a:off x="6145330" y="1163437"/>
              <a:ext cx="4379760" cy="4380238"/>
            </a:xfrm>
            <a:prstGeom prst="rect">
              <a:avLst/>
            </a:prstGeom>
            <a:noFill/>
          </p:spPr>
          <p:txBody>
            <a:bodyPr spcFirstLastPara="1" wrap="none" lIns="0" tIns="0" rIns="0" bIns="0" numCol="1" rtlCol="0">
              <a:prstTxWarp prst="textArchUp">
                <a:avLst/>
              </a:prstTxWarp>
              <a:spAutoFit/>
            </a:bodyPr>
            <a:lstStyle/>
            <a:p>
              <a:pPr defTabSz="693640">
                <a:defRPr/>
              </a:pPr>
              <a:r>
                <a:rPr lang="en-US" sz="1214" b="1">
                  <a:solidFill>
                    <a:srgbClr val="FFFFFF"/>
                  </a:solidFill>
                  <a:latin typeface="Segoe UI Variable Display Semib" pitchFamily="2" charset="0"/>
                </a:rPr>
                <a:t>Microsoft Purview</a:t>
              </a:r>
            </a:p>
          </p:txBody>
        </p:sp>
        <p:sp>
          <p:nvSpPr>
            <p:cNvPr id="14" name="TextBox 13">
              <a:extLst>
                <a:ext uri="{FF2B5EF4-FFF2-40B4-BE49-F238E27FC236}">
                  <a16:creationId xmlns:a16="http://schemas.microsoft.com/office/drawing/2014/main" id="{45D7DEAC-1924-C782-B4F7-8C9A27806D09}"/>
                </a:ext>
              </a:extLst>
            </p:cNvPr>
            <p:cNvSpPr txBox="1"/>
            <p:nvPr/>
          </p:nvSpPr>
          <p:spPr>
            <a:xfrm rot="15195527">
              <a:off x="6145330" y="1163435"/>
              <a:ext cx="4379760" cy="4380238"/>
            </a:xfrm>
            <a:prstGeom prst="rect">
              <a:avLst/>
            </a:prstGeom>
            <a:noFill/>
          </p:spPr>
          <p:txBody>
            <a:bodyPr spcFirstLastPara="1" wrap="none" lIns="0" tIns="0" rIns="0" bIns="0" numCol="1" rtlCol="0">
              <a:prstTxWarp prst="textArchDown">
                <a:avLst/>
              </a:prstTxWarp>
              <a:spAutoFit/>
            </a:bodyPr>
            <a:lstStyle/>
            <a:p>
              <a:pPr defTabSz="693640">
                <a:defRPr/>
              </a:pPr>
              <a:r>
                <a:rPr lang="en-US" sz="1214" b="1">
                  <a:solidFill>
                    <a:srgbClr val="FFFFFF"/>
                  </a:solidFill>
                  <a:latin typeface="Segoe UI Variable Display Semib" pitchFamily="2" charset="0"/>
                </a:rPr>
                <a:t>Microsoft Intune</a:t>
              </a:r>
            </a:p>
          </p:txBody>
        </p:sp>
        <p:sp>
          <p:nvSpPr>
            <p:cNvPr id="15" name="TextBox 14">
              <a:extLst>
                <a:ext uri="{FF2B5EF4-FFF2-40B4-BE49-F238E27FC236}">
                  <a16:creationId xmlns:a16="http://schemas.microsoft.com/office/drawing/2014/main" id="{801F95BB-374F-1D4E-8A95-7B5DD1F4187C}"/>
                </a:ext>
              </a:extLst>
            </p:cNvPr>
            <p:cNvSpPr txBox="1"/>
            <p:nvPr/>
          </p:nvSpPr>
          <p:spPr>
            <a:xfrm rot="4123301">
              <a:off x="6145329" y="1163435"/>
              <a:ext cx="4379758" cy="4380238"/>
            </a:xfrm>
            <a:prstGeom prst="rect">
              <a:avLst/>
            </a:prstGeom>
            <a:noFill/>
          </p:spPr>
          <p:txBody>
            <a:bodyPr spcFirstLastPara="1" wrap="none" lIns="0" tIns="0" rIns="0" bIns="0" numCol="1" rtlCol="0">
              <a:prstTxWarp prst="textArchUp">
                <a:avLst/>
              </a:prstTxWarp>
              <a:spAutoFit/>
            </a:bodyPr>
            <a:lstStyle>
              <a:defPPr>
                <a:defRPr lang="en-US"/>
              </a:defPPr>
              <a:lvl1pPr marR="0" lvl="0" indent="0" fontAlgn="auto">
                <a:lnSpc>
                  <a:spcPct val="100000"/>
                </a:lnSpc>
                <a:spcBef>
                  <a:spcPts val="0"/>
                </a:spcBef>
                <a:spcAft>
                  <a:spcPts val="0"/>
                </a:spcAft>
                <a:buClrTx/>
                <a:buSzTx/>
                <a:buFontTx/>
                <a:buNone/>
                <a:tabLst/>
                <a:defRPr kumimoji="0" sz="2000" b="1" i="0" u="none" strike="noStrike" cap="none" spc="0" normalizeH="0" baseline="0">
                  <a:ln>
                    <a:noFill/>
                  </a:ln>
                  <a:gradFill>
                    <a:gsLst>
                      <a:gs pos="100000">
                        <a:srgbClr val="000000"/>
                      </a:gs>
                      <a:gs pos="0">
                        <a:srgbClr val="000000"/>
                      </a:gs>
                    </a:gsLst>
                    <a:path path="circle">
                      <a:fillToRect l="100000" t="100000"/>
                    </a:path>
                  </a:gradFill>
                  <a:effectLst/>
                  <a:uLnTx/>
                  <a:uFillTx/>
                  <a:latin typeface="Segoe UI Variable Display Semib" pitchFamily="2" charset="0"/>
                </a:defRPr>
              </a:lvl1pPr>
            </a:lstStyle>
            <a:p>
              <a:pPr defTabSz="693640">
                <a:defRPr/>
              </a:pPr>
              <a:r>
                <a:rPr lang="en-US" sz="1214">
                  <a:solidFill>
                    <a:srgbClr val="FFFFFF"/>
                  </a:solidFill>
                </a:rPr>
                <a:t>Microsoft Defender</a:t>
              </a:r>
            </a:p>
          </p:txBody>
        </p:sp>
        <p:sp>
          <p:nvSpPr>
            <p:cNvPr id="16" name="TextBox 15">
              <a:extLst>
                <a:ext uri="{FF2B5EF4-FFF2-40B4-BE49-F238E27FC236}">
                  <a16:creationId xmlns:a16="http://schemas.microsoft.com/office/drawing/2014/main" id="{D10671A9-E3D3-CFD0-4E81-00759FD79F18}"/>
                </a:ext>
              </a:extLst>
            </p:cNvPr>
            <p:cNvSpPr txBox="1"/>
            <p:nvPr/>
          </p:nvSpPr>
          <p:spPr>
            <a:xfrm rot="8374547">
              <a:off x="6145330" y="1163435"/>
              <a:ext cx="4379760" cy="4380240"/>
            </a:xfrm>
            <a:prstGeom prst="rect">
              <a:avLst/>
            </a:prstGeom>
            <a:noFill/>
          </p:spPr>
          <p:txBody>
            <a:bodyPr spcFirstLastPara="1" wrap="none" lIns="0" tIns="0" rIns="0" bIns="0" numCol="1" rtlCol="0">
              <a:prstTxWarp prst="textArchUp">
                <a:avLst/>
              </a:prstTxWarp>
              <a:spAutoFit/>
            </a:bodyPr>
            <a:lstStyle/>
            <a:p>
              <a:pPr defTabSz="693640">
                <a:defRPr/>
              </a:pPr>
              <a:r>
                <a:rPr lang="en-US" sz="1214" b="1">
                  <a:solidFill>
                    <a:srgbClr val="FFFFFF"/>
                  </a:solidFill>
                  <a:latin typeface="Segoe UI Variable Display Semib" pitchFamily="2" charset="0"/>
                </a:rPr>
                <a:t>Microsoft Sentinel</a:t>
              </a:r>
            </a:p>
          </p:txBody>
        </p:sp>
      </p:grpSp>
      <p:sp>
        <p:nvSpPr>
          <p:cNvPr id="17" name="Circle: Hollow 6" descr="Diagram representing Microsoft's approach to Trustworthy AI, emphasizing the importance of trust in unlocking human potential. The central text states 'Microsoft Trustworthy AI' with the tagline 'Unlocking human potential starts with trust.' Surrounding the central text is a circular framework divided into three key components: 'Safety,' 'Security,' and 'Privacy.' The outer circle connects these components to 'Commitments' on the left and 'Capabilities' on the right, symbolizing a continuous cycle of trust, responsibility, and innovation in AI.">
            <a:extLst>
              <a:ext uri="{FF2B5EF4-FFF2-40B4-BE49-F238E27FC236}">
                <a16:creationId xmlns:a16="http://schemas.microsoft.com/office/drawing/2014/main" id="{92E46114-F1CC-3DC6-6B6D-7A7D6C5A129C}"/>
              </a:ext>
            </a:extLst>
          </p:cNvPr>
          <p:cNvSpPr>
            <a:spLocks noChangeAspect="1"/>
          </p:cNvSpPr>
          <p:nvPr/>
        </p:nvSpPr>
        <p:spPr>
          <a:xfrm>
            <a:off x="3455577" y="2429505"/>
            <a:ext cx="2742831" cy="2742831"/>
          </a:xfrm>
          <a:prstGeom prst="donut">
            <a:avLst>
              <a:gd name="adj" fmla="val 318"/>
            </a:avLst>
          </a:prstGeom>
          <a:gradFill flip="none" rotWithShape="1">
            <a:gsLst>
              <a:gs pos="94000">
                <a:srgbClr val="C03BC4"/>
              </a:gs>
              <a:gs pos="0">
                <a:srgbClr val="F4364C"/>
              </a:gs>
            </a:gsLst>
            <a:lin ang="13500000" scaled="1"/>
            <a:tileRect/>
          </a:gradFill>
          <a:ln w="76200" cap="rnd">
            <a:noFill/>
            <a:headEnd type="none" w="lg" len="med"/>
            <a:tailEnd type="arrow" w="lg" len="sm"/>
          </a:ln>
          <a:effectLst/>
        </p:spPr>
        <p:style>
          <a:lnRef idx="1">
            <a:schemeClr val="accent1"/>
          </a:lnRef>
          <a:fillRef idx="0">
            <a:schemeClr val="accent1"/>
          </a:fillRef>
          <a:effectRef idx="0">
            <a:schemeClr val="accent1"/>
          </a:effectRef>
          <a:fontRef idx="minor">
            <a:schemeClr val="tx1"/>
          </a:fontRef>
        </p:style>
        <p:txBody>
          <a:bodyPr lIns="0" tIns="0" rIns="0" bIns="52025" rtlCol="0" anchor="ctr"/>
          <a:lstStyle/>
          <a:p>
            <a:pPr algn="ctr" defTabSz="457784" fontAlgn="base">
              <a:spcBef>
                <a:spcPts val="569"/>
              </a:spcBef>
              <a:spcAft>
                <a:spcPct val="0"/>
              </a:spcAft>
              <a:tabLst>
                <a:tab pos="465734" algn="l"/>
              </a:tabLst>
              <a:defRPr/>
            </a:pPr>
            <a:endParaRPr lang="en-US" sz="910" spc="-10">
              <a:ln w="3175">
                <a:noFill/>
              </a:ln>
              <a:gradFill flip="none" rotWithShape="1">
                <a:gsLst>
                  <a:gs pos="32000">
                    <a:srgbClr val="C03BC4"/>
                  </a:gs>
                  <a:gs pos="0">
                    <a:srgbClr val="D33244"/>
                  </a:gs>
                  <a:gs pos="100000">
                    <a:srgbClr val="297071"/>
                  </a:gs>
                  <a:gs pos="68000">
                    <a:srgbClr val="0078D4"/>
                  </a:gs>
                </a:gsLst>
                <a:path path="circle">
                  <a:fillToRect l="100000" t="100000"/>
                </a:path>
                <a:tileRect r="-100000" b="-100000"/>
              </a:gradFill>
              <a:latin typeface="Segoe UI Variable Display Semib" pitchFamily="2" charset="0"/>
              <a:cs typeface="Segoe UI" panose="020B0502040204020203" pitchFamily="34" charset="0"/>
            </a:endParaRPr>
          </a:p>
        </p:txBody>
      </p:sp>
      <p:pic>
        <p:nvPicPr>
          <p:cNvPr id="21" name="Picture 20">
            <a:extLst>
              <a:ext uri="{FF2B5EF4-FFF2-40B4-BE49-F238E27FC236}">
                <a16:creationId xmlns:a16="http://schemas.microsoft.com/office/drawing/2014/main" id="{26C4F588-6DD3-184A-6D14-1945E4BE65D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rot="2773740">
            <a:off x="3497795" y="4854927"/>
            <a:ext cx="175156" cy="17827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6">
            <a:extLst>
              <a:ext uri="{FF2B5EF4-FFF2-40B4-BE49-F238E27FC236}">
                <a16:creationId xmlns:a16="http://schemas.microsoft.com/office/drawing/2014/main" id="{FF0D1A8A-D178-CD49-3A92-5F7E23875BD1}"/>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4884063">
            <a:off x="6412745" y="3189712"/>
            <a:ext cx="160013" cy="194302"/>
          </a:xfrm>
          <a:prstGeom prst="rect">
            <a:avLst/>
          </a:prstGeom>
        </p:spPr>
      </p:pic>
      <p:pic>
        <p:nvPicPr>
          <p:cNvPr id="23" name="Graphic 22">
            <a:extLst>
              <a:ext uri="{FF2B5EF4-FFF2-40B4-BE49-F238E27FC236}">
                <a16:creationId xmlns:a16="http://schemas.microsoft.com/office/drawing/2014/main" id="{995E9907-6E8D-82E1-7262-0D9850F7BDD4}"/>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rot="17691851">
            <a:off x="3141580" y="2993884"/>
            <a:ext cx="173435" cy="169896"/>
          </a:xfrm>
          <a:prstGeom prst="rect">
            <a:avLst/>
          </a:prstGeom>
        </p:spPr>
      </p:pic>
      <p:pic>
        <p:nvPicPr>
          <p:cNvPr id="32" name="Graphic 31">
            <a:extLst>
              <a:ext uri="{FF2B5EF4-FFF2-40B4-BE49-F238E27FC236}">
                <a16:creationId xmlns:a16="http://schemas.microsoft.com/office/drawing/2014/main" id="{81C196ED-5D7C-6361-C60C-D51EBD2D296B}"/>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9253140">
            <a:off x="5827979" y="5022396"/>
            <a:ext cx="180575" cy="177420"/>
          </a:xfrm>
          <a:prstGeom prst="rect">
            <a:avLst/>
          </a:prstGeom>
        </p:spPr>
      </p:pic>
      <p:pic>
        <p:nvPicPr>
          <p:cNvPr id="44" name="purview">
            <a:extLst>
              <a:ext uri="{FF2B5EF4-FFF2-40B4-BE49-F238E27FC236}">
                <a16:creationId xmlns:a16="http://schemas.microsoft.com/office/drawing/2014/main" id="{EDF04EAA-8D32-9B0F-B995-F541F372A521}"/>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4749531" y="1949638"/>
            <a:ext cx="172982" cy="200503"/>
          </a:xfrm>
          <a:prstGeom prst="rect">
            <a:avLst/>
          </a:prstGeom>
        </p:spPr>
      </p:pic>
      <p:pic>
        <p:nvPicPr>
          <p:cNvPr id="46" name="Picture 45">
            <a:extLst>
              <a:ext uri="{FF2B5EF4-FFF2-40B4-BE49-F238E27FC236}">
                <a16:creationId xmlns:a16="http://schemas.microsoft.com/office/drawing/2014/main" id="{EF83538F-D3B3-8109-91C8-F382575B9D45}"/>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2848951" y="3938419"/>
            <a:ext cx="260817" cy="236247"/>
          </a:xfrm>
          <a:prstGeom prst="rect">
            <a:avLst/>
          </a:prstGeom>
        </p:spPr>
      </p:pic>
      <p:sp>
        <p:nvSpPr>
          <p:cNvPr id="47" name="Rectangle 46">
            <a:extLst>
              <a:ext uri="{FF2B5EF4-FFF2-40B4-BE49-F238E27FC236}">
                <a16:creationId xmlns:a16="http://schemas.microsoft.com/office/drawing/2014/main" id="{B70F58FF-024B-4725-E615-3306C99D1465}"/>
              </a:ext>
            </a:extLst>
          </p:cNvPr>
          <p:cNvSpPr/>
          <p:nvPr/>
        </p:nvSpPr>
        <p:spPr bwMode="auto">
          <a:xfrm>
            <a:off x="2608937" y="4234014"/>
            <a:ext cx="742309" cy="70163"/>
          </a:xfrm>
          <a:prstGeom prst="rect">
            <a:avLst/>
          </a:prstGeom>
          <a:noFill/>
          <a:ln w="2286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760585" fontAlgn="base">
              <a:spcBef>
                <a:spcPct val="0"/>
              </a:spcBef>
              <a:spcAft>
                <a:spcPct val="0"/>
              </a:spcAft>
              <a:defRPr/>
            </a:pPr>
            <a:r>
              <a:rPr lang="en-US" sz="607" kern="0">
                <a:solidFill>
                  <a:srgbClr val="FFFFFF"/>
                </a:solidFill>
                <a:latin typeface="Segoe UI Semibold"/>
                <a:ea typeface="Segoe UI" pitchFamily="34" charset="0"/>
                <a:cs typeface="Segoe UI" pitchFamily="34" charset="0"/>
              </a:rPr>
              <a:t>Microsoft </a:t>
            </a:r>
            <a:br>
              <a:rPr lang="en-US" sz="607" kern="0">
                <a:solidFill>
                  <a:srgbClr val="FFFFFF"/>
                </a:solidFill>
                <a:latin typeface="Segoe UI Semibold"/>
                <a:ea typeface="Segoe UI" pitchFamily="34" charset="0"/>
                <a:cs typeface="Segoe UI" pitchFamily="34" charset="0"/>
              </a:rPr>
            </a:br>
            <a:r>
              <a:rPr lang="en-US" sz="607" kern="0">
                <a:solidFill>
                  <a:srgbClr val="FFFFFF"/>
                </a:solidFill>
                <a:latin typeface="Segoe UI Semibold"/>
                <a:ea typeface="Segoe UI" pitchFamily="34" charset="0"/>
                <a:cs typeface="Segoe UI" pitchFamily="34" charset="0"/>
              </a:rPr>
              <a:t>Security Copilot</a:t>
            </a:r>
          </a:p>
        </p:txBody>
      </p:sp>
      <p:sp>
        <p:nvSpPr>
          <p:cNvPr id="48" name="Title 1">
            <a:extLst>
              <a:ext uri="{FF2B5EF4-FFF2-40B4-BE49-F238E27FC236}">
                <a16:creationId xmlns:a16="http://schemas.microsoft.com/office/drawing/2014/main" id="{189E93E5-62AC-3A89-8C7B-32489772084B}"/>
              </a:ext>
            </a:extLst>
          </p:cNvPr>
          <p:cNvSpPr txBox="1">
            <a:spLocks/>
          </p:cNvSpPr>
          <p:nvPr/>
        </p:nvSpPr>
        <p:spPr>
          <a:xfrm>
            <a:off x="1641856" y="1174834"/>
            <a:ext cx="8908288" cy="420218"/>
          </a:xfrm>
          <a:prstGeom prst="rect">
            <a:avLst/>
          </a:prstGeom>
        </p:spPr>
        <p:txBody>
          <a:bodyPr/>
          <a:lstStyle>
            <a:defPPr>
              <a:defRPr lang="en-US"/>
            </a:defPPr>
            <a:lvl1pPr algn="ctr" defTabSz="502765" fontAlgn="base">
              <a:lnSpc>
                <a:spcPct val="100000"/>
              </a:lnSpc>
              <a:spcBef>
                <a:spcPct val="0"/>
              </a:spcBef>
              <a:spcAft>
                <a:spcPct val="0"/>
              </a:spcAft>
              <a:buNone/>
              <a:tabLst>
                <a:tab pos="613748" algn="l"/>
              </a:tabLst>
              <a:defRPr sz="4000" b="0" kern="0" cap="none" spc="0" baseline="0">
                <a:ln>
                  <a:noFill/>
                </a:ln>
                <a:gradFill>
                  <a:gsLst>
                    <a:gs pos="70874">
                      <a:srgbClr val="291817"/>
                    </a:gs>
                    <a:gs pos="52448">
                      <a:srgbClr val="291817"/>
                    </a:gs>
                  </a:gsLst>
                  <a:lin ang="5400000" scaled="1"/>
                </a:gradFill>
                <a:effectLst/>
                <a:latin typeface="Segoe UI Variable Display Semib" pitchFamily="2" charset="0"/>
                <a:cs typeface="Segoe UI" pitchFamily="34" charset="0"/>
              </a:defRPr>
            </a:lvl1pPr>
          </a:lstStyle>
          <a:p>
            <a:pPr defTabSz="178783">
              <a:tabLst>
                <a:tab pos="218249" algn="l"/>
              </a:tabLst>
              <a:defRPr/>
            </a:pPr>
            <a:r>
              <a:rPr lang="en-US" sz="2731">
                <a:gradFill>
                  <a:gsLst>
                    <a:gs pos="70874">
                      <a:srgbClr val="FFFFFF"/>
                    </a:gs>
                    <a:gs pos="52448">
                      <a:srgbClr val="FFFFFF"/>
                    </a:gs>
                  </a:gsLst>
                  <a:lin ang="5400000" scaled="1"/>
                </a:gradFill>
              </a:rPr>
              <a:t>Protecting our customers across their AI transformation</a:t>
            </a:r>
          </a:p>
        </p:txBody>
      </p:sp>
    </p:spTree>
    <p:extLst>
      <p:ext uri="{BB962C8B-B14F-4D97-AF65-F5344CB8AC3E}">
        <p14:creationId xmlns:p14="http://schemas.microsoft.com/office/powerpoint/2010/main" val="21717753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42" presetClass="path" presetSubtype="0" decel="100000" fill="hold" grpId="1" nodeType="withEffect">
                                  <p:stCondLst>
                                    <p:cond delay="500"/>
                                  </p:stCondLst>
                                  <p:childTnLst>
                                    <p:animMotion origin="layout" path="M 0 -1.5625E-6 L 0 0.03548 " pathEditMode="relative" rAng="0" ptsTypes="AA">
                                      <p:cBhvr>
                                        <p:cTn id="9" dur="700" spd="-100000" fill="hold"/>
                                        <p:tgtEl>
                                          <p:spTgt spid="19"/>
                                        </p:tgtEl>
                                        <p:attrNameLst>
                                          <p:attrName>ppt_x</p:attrName>
                                          <p:attrName>ppt_y</p:attrName>
                                        </p:attrNameLst>
                                      </p:cBhvr>
                                      <p:rCtr x="0" y="1769"/>
                                    </p:animMotion>
                                  </p:childTnLst>
                                </p:cTn>
                              </p:par>
                              <p:par>
                                <p:cTn id="10" presetID="10" presetClass="entr" presetSubtype="0" fill="hold" grpId="0" nodeType="withEffect">
                                  <p:stCondLst>
                                    <p:cond delay="60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42" presetClass="path" presetSubtype="0" decel="100000" fill="hold" grpId="1" nodeType="withEffect">
                                  <p:stCondLst>
                                    <p:cond delay="600"/>
                                  </p:stCondLst>
                                  <p:childTnLst>
                                    <p:animMotion origin="layout" path="M 0 3.29861E-6 L 0 0.03548 " pathEditMode="relative" rAng="0" ptsTypes="AA">
                                      <p:cBhvr>
                                        <p:cTn id="14" dur="700" spd="-100000" fill="hold"/>
                                        <p:tgtEl>
                                          <p:spTgt spid="18"/>
                                        </p:tgtEl>
                                        <p:attrNameLst>
                                          <p:attrName>ppt_x</p:attrName>
                                          <p:attrName>ppt_y</p:attrName>
                                        </p:attrNameLst>
                                      </p:cBhvr>
                                      <p:rCtr x="0" y="1769"/>
                                    </p:animMotion>
                                  </p:childTnLst>
                                </p:cTn>
                              </p:par>
                              <p:par>
                                <p:cTn id="15" presetID="10" presetClass="entr" presetSubtype="0" fill="hold" grpId="0" nodeType="withEffect">
                                  <p:stCondLst>
                                    <p:cond delay="70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par>
                                <p:cTn id="18" presetID="42" presetClass="path" presetSubtype="0" decel="100000" fill="hold" grpId="1" nodeType="withEffect">
                                  <p:stCondLst>
                                    <p:cond delay="700"/>
                                  </p:stCondLst>
                                  <p:childTnLst>
                                    <p:animMotion origin="layout" path="M 0 3.92361E-6 L 0 0.03548 " pathEditMode="relative" rAng="0" ptsTypes="AA">
                                      <p:cBhvr>
                                        <p:cTn id="19" dur="700" spd="-100000" fill="hold"/>
                                        <p:tgtEl>
                                          <p:spTgt spid="20"/>
                                        </p:tgtEl>
                                        <p:attrNameLst>
                                          <p:attrName>ppt_x</p:attrName>
                                          <p:attrName>ppt_y</p:attrName>
                                        </p:attrNameLst>
                                      </p:cBhvr>
                                      <p:rCtr x="0" y="1769"/>
                                    </p:animMotion>
                                  </p:childTnLst>
                                </p:cTn>
                              </p:par>
                              <p:par>
                                <p:cTn id="20" presetID="10" presetClass="entr" presetSubtype="0" fill="hold" grpId="0" nodeType="withEffect">
                                  <p:stCondLst>
                                    <p:cond delay="0"/>
                                  </p:stCondLst>
                                  <p:childTnLst>
                                    <p:set>
                                      <p:cBhvr>
                                        <p:cTn id="21" dur="1" fill="hold">
                                          <p:stCondLst>
                                            <p:cond delay="0"/>
                                          </p:stCondLst>
                                        </p:cTn>
                                        <p:tgtEl>
                                          <p:spTgt spid="48"/>
                                        </p:tgtEl>
                                        <p:attrNameLst>
                                          <p:attrName>style.visibility</p:attrName>
                                        </p:attrNameLst>
                                      </p:cBhvr>
                                      <p:to>
                                        <p:strVal val="visible"/>
                                      </p:to>
                                    </p:set>
                                    <p:animEffect transition="in" filter="fade">
                                      <p:cBhvr>
                                        <p:cTn id="22" dur="500"/>
                                        <p:tgtEl>
                                          <p:spTgt spid="48"/>
                                        </p:tgtEl>
                                      </p:cBhvr>
                                    </p:animEffect>
                                  </p:childTnLst>
                                </p:cTn>
                              </p:par>
                              <p:par>
                                <p:cTn id="23" presetID="42" presetClass="path" presetSubtype="0" decel="100000" fill="hold" grpId="1" nodeType="withEffect">
                                  <p:stCondLst>
                                    <p:cond delay="0"/>
                                  </p:stCondLst>
                                  <p:childTnLst>
                                    <p:animMotion origin="layout" path="M 0 2.15278E-6 L 0 0.03537 " pathEditMode="relative" rAng="0" ptsTypes="AA">
                                      <p:cBhvr>
                                        <p:cTn id="24" dur="700" spd="-100000" fill="hold"/>
                                        <p:tgtEl>
                                          <p:spTgt spid="48"/>
                                        </p:tgtEl>
                                        <p:attrNameLst>
                                          <p:attrName>ppt_x</p:attrName>
                                          <p:attrName>ppt_y</p:attrName>
                                        </p:attrNameLst>
                                      </p:cBhvr>
                                      <p:rCtr x="0" y="17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P spid="19" grpId="0" animBg="1"/>
      <p:bldP spid="19" grpId="1" animBg="1"/>
      <p:bldP spid="20" grpId="0" animBg="1"/>
      <p:bldP spid="20" grpId="1" animBg="1"/>
      <p:bldP spid="48" grpId="0"/>
      <p:bldP spid="48"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365-template02" id="{8CD60818-3BDF-4157-BF00-520498D987C1}" vid="{35700F2D-8368-4E4E-884E-289E89CDC575}"/>
    </a:ext>
  </a:extLst>
</a:theme>
</file>

<file path=ppt/theme/theme2.xml><?xml version="1.0" encoding="utf-8"?>
<a:theme xmlns:a="http://schemas.openxmlformats.org/drawingml/2006/main" name="1_Microsoft AI Tour 16:9 Template Dark">
  <a:themeElements>
    <a:clrScheme name="Custom 4">
      <a:dk1>
        <a:srgbClr val="091F2C"/>
      </a:dk1>
      <a:lt1>
        <a:srgbClr val="FFFFFF"/>
      </a:lt1>
      <a:dk2>
        <a:srgbClr val="091F2C"/>
      </a:dk2>
      <a:lt2>
        <a:srgbClr val="E8E6DF"/>
      </a:lt2>
      <a:accent1>
        <a:srgbClr val="8661C5"/>
      </a:accent1>
      <a:accent2>
        <a:srgbClr val="8DE971"/>
      </a:accent2>
      <a:accent3>
        <a:srgbClr val="0078D4"/>
      </a:accent3>
      <a:accent4>
        <a:srgbClr val="D7D2CB"/>
      </a:accent4>
      <a:accent5>
        <a:srgbClr val="FFE399"/>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4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4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_2024_3-1 Event-template" id="{B02A0D40-CCEF-4C97-8236-C1ABD5710464}" vid="{0156D5B3-1003-43A0-97E5-DCFA2B735232}"/>
    </a:ext>
  </a:extLst>
</a:theme>
</file>

<file path=ppt/theme/theme3.xml><?xml version="1.0" encoding="utf-8"?>
<a:theme xmlns:a="http://schemas.openxmlformats.org/drawingml/2006/main" name="1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0c00efa8-99df-4343-9c36-3998544861d9" xsi:nil="true"/>
    <lcf76f155ced4ddcb4097134ff3c332f xmlns="bf2380a9-f059-4440-9b0c-00bda5ce37de">
      <Terms xmlns="http://schemas.microsoft.com/office/infopath/2007/PartnerControls"/>
    </lcf76f155ced4ddcb4097134ff3c332f>
    <_ApprovalAssignedTo xmlns="bf2380a9-f059-4440-9b0c-00bda5ce37de">
      <UserInfo>
        <DisplayName/>
        <AccountId xsi:nil="true"/>
        <AccountType/>
      </UserInfo>
    </_ApprovalAssignedTo>
    <_ApprovalSentBy xmlns="bf2380a9-f059-4440-9b0c-00bda5ce37de">
      <UserInfo>
        <DisplayName/>
        <AccountId xsi:nil="true"/>
        <AccountType/>
      </UserInfo>
    </_ApprovalSentBy>
    <_ApprovalStatus xmlns="bf2380a9-f059-4440-9b0c-00bda5ce37de">0</_ApprovalStatus>
    <_ApprovalRespondedBy xmlns="bf2380a9-f059-4440-9b0c-00bda5ce37de">
      <UserInfo>
        <DisplayName/>
        <AccountId xsi:nil="true"/>
        <AccountType/>
      </UserInfo>
    </_ApprovalRespondedBy>
    <Uploaded xmlns="bf2380a9-f059-4440-9b0c-00bda5ce37de">false</Uploaded>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F47F01F51197143A101EDD3465A5C22" ma:contentTypeVersion="23" ma:contentTypeDescription="Create a new document." ma:contentTypeScope="" ma:versionID="4f80143f3abd8f4ecd66fbdea9995069">
  <xsd:schema xmlns:xsd="http://www.w3.org/2001/XMLSchema" xmlns:xs="http://www.w3.org/2001/XMLSchema" xmlns:p="http://schemas.microsoft.com/office/2006/metadata/properties" xmlns:ns1="http://schemas.microsoft.com/sharepoint/v3" xmlns:ns2="0c00efa8-99df-4343-9c36-3998544861d9" xmlns:ns3="bf2380a9-f059-4440-9b0c-00bda5ce37de" targetNamespace="http://schemas.microsoft.com/office/2006/metadata/properties" ma:root="true" ma:fieldsID="0a368d1e669ba1b0ae20c5e4bcc587a9" ns1:_="" ns2:_="" ns3:_="">
    <xsd:import namespace="http://schemas.microsoft.com/sharepoint/v3"/>
    <xsd:import namespace="0c00efa8-99df-4343-9c36-3998544861d9"/>
    <xsd:import namespace="bf2380a9-f059-4440-9b0c-00bda5ce37de"/>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ObjectDetectorVersions" minOccurs="0"/>
                <xsd:element ref="ns1:_ip_UnifiedCompliancePolicyProperties" minOccurs="0"/>
                <xsd:element ref="ns1:_ip_UnifiedCompliancePolicyUIAction"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element ref="ns3:MediaServiceBillingMetadata" minOccurs="0"/>
                <xsd:element ref="ns3:_ApprovalAssignedTo" minOccurs="0"/>
                <xsd:element ref="ns3:_ApprovalRespondedBy" minOccurs="0"/>
                <xsd:element ref="ns3:_ApprovalSentBy" minOccurs="0"/>
                <xsd:element ref="ns3:_ApprovalStatus" minOccurs="0"/>
                <xsd:element ref="ns3:Uploade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c00efa8-99df-4343-9c36-3998544861d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fbc9abd2-b4d5-495e-904c-cf4a4a486960}" ma:internalName="TaxCatchAll" ma:showField="CatchAllData" ma:web="0c00efa8-99df-4343-9c36-3998544861d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f2380a9-f059-4440-9b0c-00bda5ce37de"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DateTaken" ma:index="22" nillable="true" ma:displayName="MediaServiceDateTaken" ma:hidden="true" ma:indexed="true" ma:internalName="MediaServiceDateTaken"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element name="MediaServiceLocation" ma:index="24" nillable="true" ma:displayName="Location" ma:indexed="true" ma:internalName="MediaServiceLocation" ma:readOnly="true">
      <xsd:simpleType>
        <xsd:restriction base="dms:Text"/>
      </xsd:simpleType>
    </xsd:element>
    <xsd:element name="MediaServiceBillingMetadata" ma:index="25" nillable="true" ma:displayName="MediaServiceBillingMetadata" ma:hidden="true" ma:internalName="MediaServiceBillingMetadata" ma:readOnly="true">
      <xsd:simpleType>
        <xsd:restriction base="dms:Text"/>
      </xsd:simpleType>
    </xsd:element>
    <xsd:element name="_ApprovalAssignedTo" ma:index="26" nillable="true" ma:displayName="Approvers" ma:list="UserInfo" ma:internalName="_ApprovalAssignedTo"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ApprovalRespondedBy" ma:index="27" nillable="true" ma:displayName="Responses" ma:list="UserInfo" ma:internalName="_ApprovalRespondedBy"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ApprovalSentBy" ma:index="28" nillable="true" ma:displayName="Approval Creator" ma:list="UserInfo" ma:internalName="_ApprovalSentBy"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ApprovalStatus" ma:index="29" nillable="true" ma:displayName="Approval status" ma:internalName="_ApprovalStatus" ma:readOnly="true">
      <xsd:simpleType>
        <xsd:restriction base="dms:Unknown"/>
      </xsd:simpleType>
    </xsd:element>
    <xsd:element name="Uploaded" ma:index="30" nillable="true" ma:displayName="Uploaded" ma:default="0" ma:format="Dropdown" ma:internalName="Uploaded">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9A540A9-8C5E-4F15-9EEC-FA709D8E03C3}">
  <ds:schemaRefs>
    <ds:schemaRef ds:uri="0c00efa8-99df-4343-9c36-3998544861d9"/>
    <ds:schemaRef ds:uri="bf2380a9-f059-4440-9b0c-00bda5ce37d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A10D1D69-9DF2-43A6-880F-5351547DA2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c00efa8-99df-4343-9c36-3998544861d9"/>
    <ds:schemaRef ds:uri="bf2380a9-f059-4440-9b0c-00bda5ce37d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2D3363A-E147-4C8C-99BF-EA5C68A91F6B}">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4775</Words>
  <Application>Microsoft Office PowerPoint</Application>
  <PresentationFormat>Widescreen</PresentationFormat>
  <Paragraphs>684</Paragraphs>
  <Slides>71</Slides>
  <Notes>64</Notes>
  <HiddenSlides>1</HiddenSlides>
  <MMClips>1</MMClips>
  <ScaleCrop>false</ScaleCrop>
  <HeadingPairs>
    <vt:vector size="4" baseType="variant">
      <vt:variant>
        <vt:lpstr>Theme</vt:lpstr>
      </vt:variant>
      <vt:variant>
        <vt:i4>3</vt:i4>
      </vt:variant>
      <vt:variant>
        <vt:lpstr>Slide Titles</vt:lpstr>
      </vt:variant>
      <vt:variant>
        <vt:i4>71</vt:i4>
      </vt:variant>
    </vt:vector>
  </HeadingPairs>
  <TitlesOfParts>
    <vt:vector size="74" baseType="lpstr">
      <vt:lpstr>Office Theme</vt:lpstr>
      <vt:lpstr>1_Microsoft AI Tour 16:9 Template Dark</vt:lpstr>
      <vt:lpstr>1_Microsoft Security template</vt:lpstr>
      <vt:lpstr>Securing AI Apps and Agents with Microsoft Purview</vt:lpstr>
      <vt:lpstr>Securing AI Apps and Agents with Microsoft Purview</vt:lpstr>
      <vt:lpstr>Microsoft 365 Community Conference</vt:lpstr>
      <vt:lpstr>Join the event app to access:</vt:lpstr>
      <vt:lpstr>Agenda</vt:lpstr>
      <vt:lpstr>PowerPoint Presentation</vt:lpstr>
      <vt:lpstr>Securing AI Apps and Agents with Microsoft Purview</vt:lpstr>
      <vt:lpstr>PowerPoint Presentation</vt:lpstr>
      <vt:lpstr>PowerPoint Presentation</vt:lpstr>
      <vt:lpstr>Microsoft Purview</vt:lpstr>
      <vt:lpstr>Securing AI Apps and Agents with Microsoft Purview</vt:lpstr>
      <vt:lpstr>Copilot is the UI for AI</vt:lpstr>
      <vt:lpstr>Copilot hub &amp; community</vt:lpstr>
      <vt:lpstr>AI transformation with Copilot is happening now</vt:lpstr>
      <vt:lpstr>Microsoft Purview</vt:lpstr>
      <vt:lpstr>PowerPoint Presentation</vt:lpstr>
      <vt:lpstr>M365 Copilot + Microsoft Purview:  Enterprise ready on day 0</vt:lpstr>
      <vt:lpstr>Audit</vt:lpstr>
      <vt:lpstr>Demo</vt:lpstr>
      <vt:lpstr>Demo</vt:lpstr>
      <vt:lpstr>Demo</vt:lpstr>
      <vt:lpstr>Demo</vt:lpstr>
      <vt:lpstr>Microsoft Purview: Unlock visibility into AI usage and data security posture</vt:lpstr>
      <vt:lpstr>Microsoft Purview</vt:lpstr>
      <vt:lpstr>Reports </vt:lpstr>
      <vt:lpstr>Microsoft Purview</vt:lpstr>
      <vt:lpstr>Microsoft Purview</vt:lpstr>
      <vt:lpstr>Microsoft Purview</vt:lpstr>
      <vt:lpstr>Microsoft Purview: Deploy Copilot, faster</vt:lpstr>
      <vt:lpstr>PowerPoint Presentation</vt:lpstr>
      <vt:lpstr>Oversharing Assessment for the week of November </vt:lpstr>
      <vt:lpstr>Oversharing Assessment for the week of November   </vt:lpstr>
      <vt:lpstr>Approaching oversharing risk requires  a comprehensive approach</vt:lpstr>
      <vt:lpstr>Securing AI Apps and Agents with Microsoft Purview</vt:lpstr>
      <vt:lpstr>M365 Copilot Agents + Microsoft Purview:  Enterprise ready today!</vt:lpstr>
      <vt:lpstr>Microsoft Purview</vt:lpstr>
      <vt:lpstr>PowerPoint Presentation</vt:lpstr>
      <vt:lpstr>PowerPoint Presentation</vt:lpstr>
      <vt:lpstr>PowerPoint Presentation</vt:lpstr>
      <vt:lpstr>PowerPoint Presentation</vt:lpstr>
      <vt:lpstr>PowerPoint Presentation</vt:lpstr>
      <vt:lpstr>PowerPoint Presentation</vt:lpstr>
      <vt:lpstr>Microsoft Purview</vt:lpstr>
      <vt:lpstr>PowerPoint Presentation</vt:lpstr>
      <vt:lpstr>PowerPoint Presentation</vt:lpstr>
      <vt:lpstr>PowerPoint Presentation</vt:lpstr>
      <vt:lpstr>PowerPoint Presentation</vt:lpstr>
      <vt:lpstr>PowerPoint Presentation</vt:lpstr>
      <vt:lpstr>Data Assessment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Purview:  your trusted partner to secure &amp; govern AI agents</vt:lpstr>
      <vt:lpstr>Securing AI Apps and Agents with Microsoft Purview</vt:lpstr>
      <vt:lpstr>Purview for AI Public Previews</vt:lpstr>
      <vt:lpstr>Securing AI Apps and Agents with Microsoft Purview at Microsoft </vt:lpstr>
      <vt:lpstr>Security is a team sport</vt:lpstr>
      <vt:lpstr>Ten Steps for Getting Tenant Data Governance Right with Microsoft 365 Copilot</vt:lpstr>
      <vt:lpstr>Securing AI Apps and Agents with Microsoft Purview</vt:lpstr>
      <vt:lpstr>EPIQ facilitated a holistic responsible AI-readiness program leveraging Microsoft Purview workloads for a leading renewable energy company</vt:lpstr>
      <vt:lpstr>Case study: Implementation in 8 Weeks</vt:lpstr>
      <vt:lpstr>Protiviti Services &amp; Approach: Microsoft Purview for AI</vt:lpstr>
      <vt:lpstr>Call to Action </vt:lpstr>
      <vt:lpstr>Additional resources </vt:lpstr>
      <vt:lpstr>News &amp; community content</vt:lpstr>
      <vt:lpstr>Session feedback survey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Heather Cook</dc:creator>
  <cp:lastModifiedBy>Safeena Begum Lepakshi</cp:lastModifiedBy>
  <cp:revision>3</cp:revision>
  <dcterms:created xsi:type="dcterms:W3CDTF">2025-04-08T16:47:37Z</dcterms:created>
  <dcterms:modified xsi:type="dcterms:W3CDTF">2025-05-13T15:3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F47F01F51197143A101EDD3465A5C22</vt:lpwstr>
  </property>
  <property fmtid="{D5CDD505-2E9C-101B-9397-08002B2CF9AE}" pid="3" name="MediaServiceImageTags">
    <vt:lpwstr/>
  </property>
</Properties>
</file>